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56"/>
  </p:sldMasterIdLst>
  <p:notesMasterIdLst>
    <p:notesMasterId r:id="rId78"/>
  </p:notesMasterIdLst>
  <p:sldIdLst>
    <p:sldId id="256" r:id="rId57"/>
    <p:sldId id="303" r:id="rId58"/>
    <p:sldId id="300" r:id="rId59"/>
    <p:sldId id="290" r:id="rId60"/>
    <p:sldId id="289" r:id="rId61"/>
    <p:sldId id="299" r:id="rId62"/>
    <p:sldId id="304" r:id="rId63"/>
    <p:sldId id="305" r:id="rId64"/>
    <p:sldId id="306" r:id="rId65"/>
    <p:sldId id="295" r:id="rId66"/>
    <p:sldId id="302" r:id="rId67"/>
    <p:sldId id="288" r:id="rId68"/>
    <p:sldId id="301" r:id="rId69"/>
    <p:sldId id="297" r:id="rId70"/>
    <p:sldId id="298" r:id="rId71"/>
    <p:sldId id="309" r:id="rId72"/>
    <p:sldId id="310" r:id="rId73"/>
    <p:sldId id="311" r:id="rId74"/>
    <p:sldId id="312" r:id="rId75"/>
    <p:sldId id="293" r:id="rId76"/>
    <p:sldId id="257" r:id="rId77"/>
  </p:sldIdLst>
  <p:sldSz cx="9144000" cy="5143500" type="screen16x9"/>
  <p:notesSz cx="6858000" cy="9144000"/>
  <p:custDataLst>
    <p:tags r:id="rId79"/>
  </p:custDataLst>
  <p:defaultTextStyle>
    <a:defPPr>
      <a:defRPr lang="es-CO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F8299D6-D16C-481C-861C-A94C7170670B}">
          <p14:sldIdLst>
            <p14:sldId id="256"/>
            <p14:sldId id="303"/>
            <p14:sldId id="300"/>
            <p14:sldId id="290"/>
            <p14:sldId id="289"/>
            <p14:sldId id="299"/>
            <p14:sldId id="304"/>
            <p14:sldId id="305"/>
            <p14:sldId id="306"/>
            <p14:sldId id="295"/>
            <p14:sldId id="302"/>
            <p14:sldId id="288"/>
            <p14:sldId id="301"/>
            <p14:sldId id="297"/>
            <p14:sldId id="298"/>
            <p14:sldId id="309"/>
            <p14:sldId id="310"/>
            <p14:sldId id="311"/>
            <p14:sldId id="312"/>
            <p14:sldId id="293"/>
            <p14:sldId id="257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FFFF"/>
    <a:srgbClr val="079B84"/>
    <a:srgbClr val="008AB3"/>
    <a:srgbClr val="0FB795"/>
    <a:srgbClr val="F04E45"/>
    <a:srgbClr val="092566"/>
    <a:srgbClr val="6B28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95"/>
    <p:restoredTop sz="96140" autoAdjust="0"/>
  </p:normalViewPr>
  <p:slideViewPr>
    <p:cSldViewPr snapToGrid="0" snapToObjects="1">
      <p:cViewPr varScale="1">
        <p:scale>
          <a:sx n="142" d="100"/>
          <a:sy n="142" d="100"/>
        </p:scale>
        <p:origin x="63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customXml" Target="../customXml/item47.xml"/><Relationship Id="rId63" Type="http://schemas.openxmlformats.org/officeDocument/2006/relationships/slide" Target="slides/slide7.xml"/><Relationship Id="rId68" Type="http://schemas.openxmlformats.org/officeDocument/2006/relationships/slide" Target="slides/slide12.xml"/><Relationship Id="rId16" Type="http://schemas.openxmlformats.org/officeDocument/2006/relationships/customXml" Target="../customXml/item16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customXml" Target="../customXml/item53.xml"/><Relationship Id="rId58" Type="http://schemas.openxmlformats.org/officeDocument/2006/relationships/slide" Target="slides/slide2.xml"/><Relationship Id="rId74" Type="http://schemas.openxmlformats.org/officeDocument/2006/relationships/slide" Target="slides/slide18.xml"/><Relationship Id="rId79" Type="http://schemas.openxmlformats.org/officeDocument/2006/relationships/tags" Target="tags/tag1.xml"/><Relationship Id="rId5" Type="http://schemas.openxmlformats.org/officeDocument/2006/relationships/customXml" Target="../customXml/item5.xml"/><Relationship Id="rId61" Type="http://schemas.openxmlformats.org/officeDocument/2006/relationships/slide" Target="slides/slide5.xml"/><Relationship Id="rId82" Type="http://schemas.openxmlformats.org/officeDocument/2006/relationships/theme" Target="theme/theme1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customXml" Target="../customXml/item43.xml"/><Relationship Id="rId48" Type="http://schemas.openxmlformats.org/officeDocument/2006/relationships/customXml" Target="../customXml/item48.xml"/><Relationship Id="rId56" Type="http://schemas.openxmlformats.org/officeDocument/2006/relationships/slideMaster" Target="slideMasters/slideMaster1.xml"/><Relationship Id="rId64" Type="http://schemas.openxmlformats.org/officeDocument/2006/relationships/slide" Target="slides/slide8.xml"/><Relationship Id="rId69" Type="http://schemas.openxmlformats.org/officeDocument/2006/relationships/slide" Target="slides/slide13.xml"/><Relationship Id="rId77" Type="http://schemas.openxmlformats.org/officeDocument/2006/relationships/slide" Target="slides/slide21.xml"/><Relationship Id="rId8" Type="http://schemas.openxmlformats.org/officeDocument/2006/relationships/customXml" Target="../customXml/item8.xml"/><Relationship Id="rId51" Type="http://schemas.openxmlformats.org/officeDocument/2006/relationships/customXml" Target="../customXml/item51.xml"/><Relationship Id="rId72" Type="http://schemas.openxmlformats.org/officeDocument/2006/relationships/slide" Target="slides/slide16.xml"/><Relationship Id="rId80" Type="http://schemas.openxmlformats.org/officeDocument/2006/relationships/presProps" Target="presProp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customXml" Target="../customXml/item46.xml"/><Relationship Id="rId59" Type="http://schemas.openxmlformats.org/officeDocument/2006/relationships/slide" Target="slides/slide3.xml"/><Relationship Id="rId67" Type="http://schemas.openxmlformats.org/officeDocument/2006/relationships/slide" Target="slides/slide11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customXml" Target="../customXml/item54.xml"/><Relationship Id="rId62" Type="http://schemas.openxmlformats.org/officeDocument/2006/relationships/slide" Target="slides/slide6.xml"/><Relationship Id="rId70" Type="http://schemas.openxmlformats.org/officeDocument/2006/relationships/slide" Target="slides/slide14.xml"/><Relationship Id="rId75" Type="http://schemas.openxmlformats.org/officeDocument/2006/relationships/slide" Target="slides/slide19.xml"/><Relationship Id="rId83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ustomXml" Target="../customXml/item49.xml"/><Relationship Id="rId57" Type="http://schemas.openxmlformats.org/officeDocument/2006/relationships/slide" Target="slides/slide1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customXml" Target="../customXml/item44.xml"/><Relationship Id="rId52" Type="http://schemas.openxmlformats.org/officeDocument/2006/relationships/customXml" Target="../customXml/item52.xml"/><Relationship Id="rId60" Type="http://schemas.openxmlformats.org/officeDocument/2006/relationships/slide" Target="slides/slide4.xml"/><Relationship Id="rId65" Type="http://schemas.openxmlformats.org/officeDocument/2006/relationships/slide" Target="slides/slide9.xml"/><Relationship Id="rId73" Type="http://schemas.openxmlformats.org/officeDocument/2006/relationships/slide" Target="slides/slide17.xml"/><Relationship Id="rId78" Type="http://schemas.openxmlformats.org/officeDocument/2006/relationships/notesMaster" Target="notesMasters/notesMaster1.xml"/><Relationship Id="rId81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34" Type="http://schemas.openxmlformats.org/officeDocument/2006/relationships/customXml" Target="../customXml/item34.xml"/><Relationship Id="rId50" Type="http://schemas.openxmlformats.org/officeDocument/2006/relationships/customXml" Target="../customXml/item50.xml"/><Relationship Id="rId55" Type="http://schemas.openxmlformats.org/officeDocument/2006/relationships/customXml" Target="../customXml/item55.xml"/><Relationship Id="rId76" Type="http://schemas.openxmlformats.org/officeDocument/2006/relationships/slide" Target="slides/slide20.xml"/><Relationship Id="rId7" Type="http://schemas.openxmlformats.org/officeDocument/2006/relationships/customXml" Target="../customXml/item7.xml"/><Relationship Id="rId71" Type="http://schemas.openxmlformats.org/officeDocument/2006/relationships/slide" Target="slides/slide15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customXml" Target="../customXml/item45.xml"/><Relationship Id="rId66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B0EFA7-8D28-4005-9DFC-26610E6A12E0}" type="datetimeFigureOut">
              <a:rPr lang="en-US" smtClean="0"/>
              <a:t>10/1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DCBF2D-E332-4734-9E7F-0E8AE97E6C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4348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CBF2D-E332-4734-9E7F-0E8AE97E6CD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569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CBF2D-E332-4734-9E7F-0E8AE97E6CD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2586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CBF2D-E332-4734-9E7F-0E8AE97E6CDA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0378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elect Themes Notes: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Linkage to business services: Managing all assets (hardware, software, data, etc.) based on their connection to business processes and the business outcomes they suppor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asurement and transparency: Providing Board and senior management with the information they need to make key cyber risk management decision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curity by design: Considering cyber risk upfront in all business decisions and technology design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hird party risk management: Implementing appropriate assurance mechanisms to gain visibility into and manage cyber risk from third parties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20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esponse and recovery: Developing core capabilities to restore normal operations in the event of a cyber-related incident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US" sz="1200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lang="en-US" sz="1200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CBF2D-E332-4734-9E7F-0E8AE97E6CD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09099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CBF2D-E332-4734-9E7F-0E8AE97E6CDA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798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CBF2D-E332-4734-9E7F-0E8AE97E6CDA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63819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CBF2D-E332-4734-9E7F-0E8AE97E6CDA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5098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DCBF2D-E332-4734-9E7F-0E8AE97E6CDA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6562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15/10/2018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#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2836413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15/10/2018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#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0545605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15/10/2018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#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3415777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93E18D-E936-4B87-B62A-8FBD0C39C3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002642"/>
              </p:ext>
            </p:extLst>
          </p:nvPr>
        </p:nvGraphicFramePr>
        <p:xfrm>
          <a:off x="1513" y="1192"/>
          <a:ext cx="1511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93E18D-E936-4B87-B62A-8FBD0C39C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13" y="1192"/>
                        <a:ext cx="1511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6ACB8FEF-0CAC-4BEC-AB6D-0AFA3D2646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3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35429" y="1049274"/>
            <a:ext cx="8273143" cy="27432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00" b="1" baseline="0">
                <a:solidFill>
                  <a:schemeClr val="accent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00" baseline="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900" baseline="0">
                <a:latin typeface="+mj-lt"/>
                <a:ea typeface="+mj-ea"/>
              </a:defRPr>
            </a:lvl9pPr>
          </a:lstStyle>
          <a:p>
            <a:pPr lvl="0"/>
            <a:r>
              <a:rPr dirty="0"/>
              <a:t>Heading 12 pt</a:t>
            </a:r>
          </a:p>
          <a:p>
            <a:pPr lvl="1"/>
            <a:r>
              <a:rPr dirty="0"/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41672286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orient="horz" pos="118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4105EA0-1997-4B59-8089-4E60E2D1CF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5780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15/10/2018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#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564131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15/10/2018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#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8456271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15/10/2018</a:t>
            </a:fld>
            <a:endParaRPr lang="es-ES_trad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#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7611765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15/10/2018</a:t>
            </a:fld>
            <a:endParaRPr lang="es-ES_tradnl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#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8210483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15/10/2018</a:t>
            </a:fld>
            <a:endParaRPr lang="es-ES_trad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#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6988567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15/10/2018</a:t>
            </a:fld>
            <a:endParaRPr lang="es-ES_tradnl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#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6789929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15/10/2018</a:t>
            </a:fld>
            <a:endParaRPr lang="es-ES_trad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#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31976975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s-ES" dirty="0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12186D-0790-4E47-ACB4-3D79A6FDD269}" type="datetimeFigureOut">
              <a:rPr lang="es-ES_tradnl" smtClean="0"/>
              <a:t>15/10/2018</a:t>
            </a:fld>
            <a:endParaRPr lang="es-ES_trad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673F97-0264-1647-9C44-F05A69A018F9}" type="slidenum">
              <a:rPr lang="es-ES_tradnl" smtClean="0"/>
              <a:t>‹#›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29343902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1037555-C1CD-4B82-B862-C36C5FBD9C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49610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Editar los estilos de texto del patrón
Segundo nivel
Tercer nivel
Cuarto nivel
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12186D-0790-4E47-ACB4-3D79A6FDD269}" type="datetimeFigureOut">
              <a:rPr lang="es-ES_tradnl" smtClean="0"/>
              <a:t>15/10/2018</a:t>
            </a:fld>
            <a:endParaRPr lang="es-ES_trad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673F97-0264-1647-9C44-F05A69A018F9}" type="slidenum">
              <a:rPr lang="es-ES_tradnl" smtClean="0"/>
              <a:t>‹#›</a:t>
            </a:fld>
            <a:endParaRPr lang="es-ES_tradnl" dirty="0"/>
          </a:p>
        </p:txBody>
      </p:sp>
      <p:pic>
        <p:nvPicPr>
          <p:cNvPr id="7" name="Marcador de contenido 4">
            <a:extLst>
              <a:ext uri="{FF2B5EF4-FFF2-40B4-BE49-F238E27FC236}">
                <a16:creationId xmlns:a16="http://schemas.microsoft.com/office/drawing/2014/main" id="{C74D4FA1-24D1-4D4B-B852-20A2D4030103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0" y="-1"/>
            <a:ext cx="9222059" cy="5187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902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customXml" Target="../../customXml/item1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customXml" Target="../../customXml/item22.xml"/><Relationship Id="rId11" Type="http://schemas.openxmlformats.org/officeDocument/2006/relationships/image" Target="../media/image19.emf"/><Relationship Id="rId5" Type="http://schemas.openxmlformats.org/officeDocument/2006/relationships/customXml" Target="../../customXml/item3.xml"/><Relationship Id="rId10" Type="http://schemas.openxmlformats.org/officeDocument/2006/relationships/image" Target="../media/image1.emf"/><Relationship Id="rId4" Type="http://schemas.openxmlformats.org/officeDocument/2006/relationships/customXml" Target="../../customXml/item31.xml"/><Relationship Id="rId9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13" Type="http://schemas.openxmlformats.org/officeDocument/2006/relationships/image" Target="../media/image24.svg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2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customXml" Target="../../customXml/item34.xml"/><Relationship Id="rId11" Type="http://schemas.openxmlformats.org/officeDocument/2006/relationships/image" Target="../media/image22.svg"/><Relationship Id="rId5" Type="http://schemas.openxmlformats.org/officeDocument/2006/relationships/customXml" Target="../../customXml/item13.xml"/><Relationship Id="rId10" Type="http://schemas.openxmlformats.org/officeDocument/2006/relationships/image" Target="../media/image21.png"/><Relationship Id="rId4" Type="http://schemas.openxmlformats.org/officeDocument/2006/relationships/customXml" Target="../../customXml/item45.xml"/><Relationship Id="rId9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9.jp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jp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6.jp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4643883-72DF-4C45-92C8-14B2BB6ED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9226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2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5C58DE7B-508D-EE44-BF73-42D0963896E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s-ES_tradnl" dirty="0"/>
              <a:t>-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03526CB-8175-934A-8F43-62978E348D9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ES_tradnl" dirty="0"/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42E52465-D097-1C44-8A4E-5B7658AF95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-1"/>
            <a:ext cx="9220840" cy="5186723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3D229062-6C30-B94C-8DC7-08C5BDA18C7A}"/>
              </a:ext>
            </a:extLst>
          </p:cNvPr>
          <p:cNvSpPr txBox="1"/>
          <p:nvPr/>
        </p:nvSpPr>
        <p:spPr>
          <a:xfrm>
            <a:off x="5497550" y="841772"/>
            <a:ext cx="313392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092566"/>
                </a:solidFill>
                <a:latin typeface="Helvetica" pitchFamily="2" charset="0"/>
              </a:rPr>
              <a:t>Building Cyber Resilience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D61D5647-68FE-1D41-8871-68CE016BC333}"/>
              </a:ext>
            </a:extLst>
          </p:cNvPr>
          <p:cNvSpPr/>
          <p:nvPr/>
        </p:nvSpPr>
        <p:spPr>
          <a:xfrm>
            <a:off x="5497549" y="2032218"/>
            <a:ext cx="324384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rgbClr val="6B2870"/>
                </a:solidFill>
                <a:latin typeface="Helvetica" pitchFamily="2" charset="0"/>
              </a:rPr>
              <a:t>Risks, Regulation, and Strategies</a:t>
            </a:r>
            <a:endParaRPr lang="es-CO" sz="2400" b="1" i="0" dirty="0">
              <a:solidFill>
                <a:srgbClr val="222222"/>
              </a:solidFill>
              <a:effectLst/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4124374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04C374-B575-4AD5-81ED-768AB2813EA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4903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67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804C374-B575-4AD5-81ED-768AB2813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F412CF7A-0BA6-B447-8E99-BF8B882474FC}"/>
              </a:ext>
            </a:extLst>
          </p:cNvPr>
          <p:cNvSpPr txBox="1"/>
          <p:nvPr/>
        </p:nvSpPr>
        <p:spPr>
          <a:xfrm>
            <a:off x="619160" y="338006"/>
            <a:ext cx="84290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cap="all" dirty="0">
                <a:solidFill>
                  <a:srgbClr val="092566"/>
                </a:solidFill>
                <a:latin typeface="Helvetica" pitchFamily="2" charset="0"/>
              </a:rPr>
              <a:t>Cyber program &amp; Regulation</a:t>
            </a:r>
            <a:endParaRPr lang="es-ES_tradnl" sz="3600" b="1" cap="all" dirty="0">
              <a:solidFill>
                <a:srgbClr val="092566"/>
              </a:solidFill>
              <a:latin typeface="Helvetica" pitchFamily="2" charset="0"/>
            </a:endParaRPr>
          </a:p>
        </p:txBody>
      </p:sp>
      <p:sp>
        <p:nvSpPr>
          <p:cNvPr id="56" name="Content Placeholder 5">
            <a:extLst>
              <a:ext uri="{FF2B5EF4-FFF2-40B4-BE49-F238E27FC236}">
                <a16:creationId xmlns:a16="http://schemas.microsoft.com/office/drawing/2014/main" id="{B7F72569-C46B-491C-B3C0-178453C9E243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419671" y="1363759"/>
            <a:ext cx="2410436" cy="3425653"/>
          </a:xfrm>
        </p:spPr>
        <p:txBody>
          <a:bodyPr lIns="127444" anchor="t"/>
          <a:lstStyle/>
          <a:p>
            <a:pPr algn="l">
              <a:buSzPct val="100000"/>
            </a:pPr>
            <a:r>
              <a:rPr lang="en-US" sz="16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YBER RESILIENCE FRAMEWORK</a:t>
            </a:r>
          </a:p>
          <a:p>
            <a:pPr algn="l">
              <a:buSzPct val="100000"/>
            </a:pPr>
            <a:endParaRPr lang="en-US" sz="1600" b="1" dirty="0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l">
              <a:buSzPct val="100000"/>
            </a:pPr>
            <a:r>
              <a:rPr lang="en-US" sz="16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USINESS SERVICE Focus</a:t>
            </a:r>
          </a:p>
          <a:p>
            <a:pPr algn="l">
              <a:buSzPct val="100000"/>
            </a:pPr>
            <a:endParaRPr lang="en-US" sz="1600" b="1" dirty="0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l">
              <a:buSzPct val="100000"/>
            </a:pPr>
            <a:r>
              <a:rPr lang="en-US" sz="16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EASUREMENT &amp; TRANSPARENCY</a:t>
            </a:r>
          </a:p>
          <a:p>
            <a:pPr algn="l">
              <a:buSzPct val="100000"/>
            </a:pPr>
            <a:endParaRPr lang="en-US" sz="1600" b="1" dirty="0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l">
              <a:buSzPct val="100000"/>
            </a:pPr>
            <a:r>
              <a:rPr lang="en-US" sz="16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HIRD PARTY RISK MANAGEMENT</a:t>
            </a:r>
          </a:p>
          <a:p>
            <a:pPr algn="l">
              <a:buSzPct val="100000"/>
            </a:pPr>
            <a:endParaRPr lang="en-US" sz="1600" b="1" dirty="0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l">
              <a:buSzPct val="100000"/>
            </a:pPr>
            <a:r>
              <a:rPr lang="en-US" sz="16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ESPONSE &amp; </a:t>
            </a:r>
          </a:p>
          <a:p>
            <a:pPr algn="l">
              <a:buSzPct val="100000"/>
            </a:pPr>
            <a:r>
              <a:rPr lang="en-US" sz="16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ECOVERY</a:t>
            </a:r>
            <a:endParaRPr lang="en-US" sz="1400" b="1" dirty="0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68" name="Freeform 4">
            <a:extLst>
              <a:ext uri="{FF2B5EF4-FFF2-40B4-BE49-F238E27FC236}">
                <a16:creationId xmlns:a16="http://schemas.microsoft.com/office/drawing/2014/main" id="{C3950C36-D6B0-4E7F-8844-E52153C191E9}"/>
              </a:ext>
            </a:extLst>
          </p:cNvPr>
          <p:cNvSpPr>
            <a:spLocks/>
          </p:cNvSpPr>
          <p:nvPr/>
        </p:nvSpPr>
        <p:spPr bwMode="gray">
          <a:xfrm>
            <a:off x="2334159" y="1565609"/>
            <a:ext cx="120556" cy="54744"/>
          </a:xfrm>
          <a:custGeom>
            <a:avLst/>
            <a:gdLst>
              <a:gd name="T0" fmla="*/ 14 w 166"/>
              <a:gd name="T1" fmla="*/ 28 h 82"/>
              <a:gd name="T2" fmla="*/ 0 w 166"/>
              <a:gd name="T3" fmla="*/ 28 h 82"/>
              <a:gd name="T4" fmla="*/ 6 w 166"/>
              <a:gd name="T5" fmla="*/ 18 h 82"/>
              <a:gd name="T6" fmla="*/ 10 w 166"/>
              <a:gd name="T7" fmla="*/ 10 h 82"/>
              <a:gd name="T8" fmla="*/ 20 w 166"/>
              <a:gd name="T9" fmla="*/ 2 h 82"/>
              <a:gd name="T10" fmla="*/ 30 w 166"/>
              <a:gd name="T11" fmla="*/ 6 h 82"/>
              <a:gd name="T12" fmla="*/ 42 w 166"/>
              <a:gd name="T13" fmla="*/ 14 h 82"/>
              <a:gd name="T14" fmla="*/ 44 w 166"/>
              <a:gd name="T15" fmla="*/ 24 h 82"/>
              <a:gd name="T16" fmla="*/ 48 w 166"/>
              <a:gd name="T17" fmla="*/ 28 h 82"/>
              <a:gd name="T18" fmla="*/ 54 w 166"/>
              <a:gd name="T19" fmla="*/ 24 h 82"/>
              <a:gd name="T20" fmla="*/ 58 w 166"/>
              <a:gd name="T21" fmla="*/ 18 h 82"/>
              <a:gd name="T22" fmla="*/ 64 w 166"/>
              <a:gd name="T23" fmla="*/ 12 h 82"/>
              <a:gd name="T24" fmla="*/ 68 w 166"/>
              <a:gd name="T25" fmla="*/ 16 h 82"/>
              <a:gd name="T26" fmla="*/ 72 w 166"/>
              <a:gd name="T27" fmla="*/ 22 h 82"/>
              <a:gd name="T28" fmla="*/ 80 w 166"/>
              <a:gd name="T29" fmla="*/ 14 h 82"/>
              <a:gd name="T30" fmla="*/ 86 w 166"/>
              <a:gd name="T31" fmla="*/ 8 h 82"/>
              <a:gd name="T32" fmla="*/ 92 w 166"/>
              <a:gd name="T33" fmla="*/ 12 h 82"/>
              <a:gd name="T34" fmla="*/ 104 w 166"/>
              <a:gd name="T35" fmla="*/ 14 h 82"/>
              <a:gd name="T36" fmla="*/ 118 w 166"/>
              <a:gd name="T37" fmla="*/ 8 h 82"/>
              <a:gd name="T38" fmla="*/ 128 w 166"/>
              <a:gd name="T39" fmla="*/ 0 h 82"/>
              <a:gd name="T40" fmla="*/ 140 w 166"/>
              <a:gd name="T41" fmla="*/ 12 h 82"/>
              <a:gd name="T42" fmla="*/ 150 w 166"/>
              <a:gd name="T43" fmla="*/ 16 h 82"/>
              <a:gd name="T44" fmla="*/ 158 w 166"/>
              <a:gd name="T45" fmla="*/ 24 h 82"/>
              <a:gd name="T46" fmla="*/ 166 w 166"/>
              <a:gd name="T47" fmla="*/ 34 h 82"/>
              <a:gd name="T48" fmla="*/ 166 w 166"/>
              <a:gd name="T49" fmla="*/ 42 h 82"/>
              <a:gd name="T50" fmla="*/ 156 w 166"/>
              <a:gd name="T51" fmla="*/ 50 h 82"/>
              <a:gd name="T52" fmla="*/ 140 w 166"/>
              <a:gd name="T53" fmla="*/ 60 h 82"/>
              <a:gd name="T54" fmla="*/ 120 w 166"/>
              <a:gd name="T55" fmla="*/ 68 h 82"/>
              <a:gd name="T56" fmla="*/ 102 w 166"/>
              <a:gd name="T57" fmla="*/ 74 h 82"/>
              <a:gd name="T58" fmla="*/ 88 w 166"/>
              <a:gd name="T59" fmla="*/ 82 h 82"/>
              <a:gd name="T60" fmla="*/ 74 w 166"/>
              <a:gd name="T61" fmla="*/ 82 h 82"/>
              <a:gd name="T62" fmla="*/ 58 w 166"/>
              <a:gd name="T63" fmla="*/ 76 h 82"/>
              <a:gd name="T64" fmla="*/ 48 w 166"/>
              <a:gd name="T65" fmla="*/ 70 h 82"/>
              <a:gd name="T66" fmla="*/ 18 w 166"/>
              <a:gd name="T67" fmla="*/ 70 h 82"/>
              <a:gd name="T68" fmla="*/ 32 w 166"/>
              <a:gd name="T69" fmla="*/ 62 h 82"/>
              <a:gd name="T70" fmla="*/ 34 w 166"/>
              <a:gd name="T71" fmla="*/ 52 h 82"/>
              <a:gd name="T72" fmla="*/ 26 w 166"/>
              <a:gd name="T73" fmla="*/ 48 h 82"/>
              <a:gd name="T74" fmla="*/ 14 w 166"/>
              <a:gd name="T75" fmla="*/ 46 h 82"/>
              <a:gd name="T76" fmla="*/ 2 w 166"/>
              <a:gd name="T77" fmla="*/ 44 h 82"/>
              <a:gd name="T78" fmla="*/ 18 w 166"/>
              <a:gd name="T79" fmla="*/ 38 h 82"/>
              <a:gd name="T80" fmla="*/ 30 w 166"/>
              <a:gd name="T81" fmla="*/ 32 h 82"/>
              <a:gd name="T82" fmla="*/ 24 w 166"/>
              <a:gd name="T83" fmla="*/ 28 h 82"/>
              <a:gd name="T84" fmla="*/ 14 w 166"/>
              <a:gd name="T85" fmla="*/ 28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66" h="82">
                <a:moveTo>
                  <a:pt x="14" y="28"/>
                </a:moveTo>
                <a:lnTo>
                  <a:pt x="0" y="28"/>
                </a:lnTo>
                <a:lnTo>
                  <a:pt x="6" y="18"/>
                </a:lnTo>
                <a:lnTo>
                  <a:pt x="10" y="10"/>
                </a:lnTo>
                <a:lnTo>
                  <a:pt x="20" y="2"/>
                </a:lnTo>
                <a:lnTo>
                  <a:pt x="30" y="6"/>
                </a:lnTo>
                <a:lnTo>
                  <a:pt x="42" y="14"/>
                </a:lnTo>
                <a:lnTo>
                  <a:pt x="44" y="24"/>
                </a:lnTo>
                <a:lnTo>
                  <a:pt x="48" y="28"/>
                </a:lnTo>
                <a:lnTo>
                  <a:pt x="54" y="24"/>
                </a:lnTo>
                <a:lnTo>
                  <a:pt x="58" y="18"/>
                </a:lnTo>
                <a:lnTo>
                  <a:pt x="64" y="12"/>
                </a:lnTo>
                <a:lnTo>
                  <a:pt x="68" y="16"/>
                </a:lnTo>
                <a:lnTo>
                  <a:pt x="72" y="22"/>
                </a:lnTo>
                <a:lnTo>
                  <a:pt x="80" y="14"/>
                </a:lnTo>
                <a:lnTo>
                  <a:pt x="86" y="8"/>
                </a:lnTo>
                <a:lnTo>
                  <a:pt x="92" y="12"/>
                </a:lnTo>
                <a:lnTo>
                  <a:pt x="104" y="14"/>
                </a:lnTo>
                <a:lnTo>
                  <a:pt x="118" y="8"/>
                </a:lnTo>
                <a:lnTo>
                  <a:pt x="128" y="0"/>
                </a:lnTo>
                <a:lnTo>
                  <a:pt x="140" y="12"/>
                </a:lnTo>
                <a:lnTo>
                  <a:pt x="150" y="16"/>
                </a:lnTo>
                <a:lnTo>
                  <a:pt x="158" y="24"/>
                </a:lnTo>
                <a:lnTo>
                  <a:pt x="166" y="34"/>
                </a:lnTo>
                <a:lnTo>
                  <a:pt x="166" y="42"/>
                </a:lnTo>
                <a:lnTo>
                  <a:pt x="156" y="50"/>
                </a:lnTo>
                <a:lnTo>
                  <a:pt x="140" y="60"/>
                </a:lnTo>
                <a:lnTo>
                  <a:pt x="120" y="68"/>
                </a:lnTo>
                <a:lnTo>
                  <a:pt x="102" y="74"/>
                </a:lnTo>
                <a:lnTo>
                  <a:pt x="88" y="82"/>
                </a:lnTo>
                <a:lnTo>
                  <a:pt x="74" y="82"/>
                </a:lnTo>
                <a:lnTo>
                  <a:pt x="58" y="76"/>
                </a:lnTo>
                <a:lnTo>
                  <a:pt x="48" y="70"/>
                </a:lnTo>
                <a:lnTo>
                  <a:pt x="18" y="70"/>
                </a:lnTo>
                <a:lnTo>
                  <a:pt x="32" y="62"/>
                </a:lnTo>
                <a:lnTo>
                  <a:pt x="34" y="52"/>
                </a:lnTo>
                <a:lnTo>
                  <a:pt x="26" y="48"/>
                </a:lnTo>
                <a:lnTo>
                  <a:pt x="14" y="46"/>
                </a:lnTo>
                <a:lnTo>
                  <a:pt x="2" y="44"/>
                </a:lnTo>
                <a:lnTo>
                  <a:pt x="18" y="38"/>
                </a:lnTo>
                <a:lnTo>
                  <a:pt x="30" y="32"/>
                </a:lnTo>
                <a:lnTo>
                  <a:pt x="24" y="28"/>
                </a:lnTo>
                <a:lnTo>
                  <a:pt x="14" y="28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86" name="Freeform 5">
            <a:extLst>
              <a:ext uri="{FF2B5EF4-FFF2-40B4-BE49-F238E27FC236}">
                <a16:creationId xmlns:a16="http://schemas.microsoft.com/office/drawing/2014/main" id="{C7E072E9-5771-4ED2-B06E-FF2913069F94}"/>
              </a:ext>
            </a:extLst>
          </p:cNvPr>
          <p:cNvSpPr>
            <a:spLocks/>
          </p:cNvSpPr>
          <p:nvPr/>
        </p:nvSpPr>
        <p:spPr bwMode="gray">
          <a:xfrm>
            <a:off x="1773502" y="1197087"/>
            <a:ext cx="698643" cy="478010"/>
          </a:xfrm>
          <a:custGeom>
            <a:avLst/>
            <a:gdLst>
              <a:gd name="T0" fmla="*/ 676 w 962"/>
              <a:gd name="T1" fmla="*/ 508 h 716"/>
              <a:gd name="T2" fmla="*/ 628 w 962"/>
              <a:gd name="T3" fmla="*/ 526 h 716"/>
              <a:gd name="T4" fmla="*/ 546 w 962"/>
              <a:gd name="T5" fmla="*/ 572 h 716"/>
              <a:gd name="T6" fmla="*/ 510 w 962"/>
              <a:gd name="T7" fmla="*/ 592 h 716"/>
              <a:gd name="T8" fmla="*/ 502 w 962"/>
              <a:gd name="T9" fmla="*/ 636 h 716"/>
              <a:gd name="T10" fmla="*/ 482 w 962"/>
              <a:gd name="T11" fmla="*/ 664 h 716"/>
              <a:gd name="T12" fmla="*/ 428 w 962"/>
              <a:gd name="T13" fmla="*/ 702 h 716"/>
              <a:gd name="T14" fmla="*/ 390 w 962"/>
              <a:gd name="T15" fmla="*/ 700 h 716"/>
              <a:gd name="T16" fmla="*/ 348 w 962"/>
              <a:gd name="T17" fmla="*/ 634 h 716"/>
              <a:gd name="T18" fmla="*/ 340 w 962"/>
              <a:gd name="T19" fmla="*/ 600 h 716"/>
              <a:gd name="T20" fmla="*/ 312 w 962"/>
              <a:gd name="T21" fmla="*/ 546 h 716"/>
              <a:gd name="T22" fmla="*/ 312 w 962"/>
              <a:gd name="T23" fmla="*/ 516 h 716"/>
              <a:gd name="T24" fmla="*/ 346 w 962"/>
              <a:gd name="T25" fmla="*/ 522 h 716"/>
              <a:gd name="T26" fmla="*/ 356 w 962"/>
              <a:gd name="T27" fmla="*/ 466 h 716"/>
              <a:gd name="T28" fmla="*/ 296 w 962"/>
              <a:gd name="T29" fmla="*/ 436 h 716"/>
              <a:gd name="T30" fmla="*/ 330 w 962"/>
              <a:gd name="T31" fmla="*/ 414 h 716"/>
              <a:gd name="T32" fmla="*/ 274 w 962"/>
              <a:gd name="T33" fmla="*/ 414 h 716"/>
              <a:gd name="T34" fmla="*/ 238 w 962"/>
              <a:gd name="T35" fmla="*/ 306 h 716"/>
              <a:gd name="T36" fmla="*/ 148 w 962"/>
              <a:gd name="T37" fmla="*/ 262 h 716"/>
              <a:gd name="T38" fmla="*/ 100 w 962"/>
              <a:gd name="T39" fmla="*/ 272 h 716"/>
              <a:gd name="T40" fmla="*/ 68 w 962"/>
              <a:gd name="T41" fmla="*/ 256 h 716"/>
              <a:gd name="T42" fmla="*/ 24 w 962"/>
              <a:gd name="T43" fmla="*/ 240 h 716"/>
              <a:gd name="T44" fmla="*/ 102 w 962"/>
              <a:gd name="T45" fmla="*/ 222 h 716"/>
              <a:gd name="T46" fmla="*/ 8 w 962"/>
              <a:gd name="T47" fmla="*/ 206 h 716"/>
              <a:gd name="T48" fmla="*/ 58 w 962"/>
              <a:gd name="T49" fmla="*/ 180 h 716"/>
              <a:gd name="T50" fmla="*/ 124 w 962"/>
              <a:gd name="T51" fmla="*/ 134 h 716"/>
              <a:gd name="T52" fmla="*/ 128 w 962"/>
              <a:gd name="T53" fmla="*/ 102 h 716"/>
              <a:gd name="T54" fmla="*/ 182 w 962"/>
              <a:gd name="T55" fmla="*/ 70 h 716"/>
              <a:gd name="T56" fmla="*/ 230 w 962"/>
              <a:gd name="T57" fmla="*/ 68 h 716"/>
              <a:gd name="T58" fmla="*/ 296 w 962"/>
              <a:gd name="T59" fmla="*/ 50 h 716"/>
              <a:gd name="T60" fmla="*/ 344 w 962"/>
              <a:gd name="T61" fmla="*/ 66 h 716"/>
              <a:gd name="T62" fmla="*/ 374 w 962"/>
              <a:gd name="T63" fmla="*/ 44 h 716"/>
              <a:gd name="T64" fmla="*/ 400 w 962"/>
              <a:gd name="T65" fmla="*/ 40 h 716"/>
              <a:gd name="T66" fmla="*/ 478 w 962"/>
              <a:gd name="T67" fmla="*/ 14 h 716"/>
              <a:gd name="T68" fmla="*/ 618 w 962"/>
              <a:gd name="T69" fmla="*/ 0 h 716"/>
              <a:gd name="T70" fmla="*/ 756 w 962"/>
              <a:gd name="T71" fmla="*/ 18 h 716"/>
              <a:gd name="T72" fmla="*/ 738 w 962"/>
              <a:gd name="T73" fmla="*/ 56 h 716"/>
              <a:gd name="T74" fmla="*/ 754 w 962"/>
              <a:gd name="T75" fmla="*/ 66 h 716"/>
              <a:gd name="T76" fmla="*/ 760 w 962"/>
              <a:gd name="T77" fmla="*/ 76 h 716"/>
              <a:gd name="T78" fmla="*/ 806 w 962"/>
              <a:gd name="T79" fmla="*/ 66 h 716"/>
              <a:gd name="T80" fmla="*/ 792 w 962"/>
              <a:gd name="T81" fmla="*/ 102 h 716"/>
              <a:gd name="T82" fmla="*/ 884 w 962"/>
              <a:gd name="T83" fmla="*/ 68 h 716"/>
              <a:gd name="T84" fmla="*/ 948 w 962"/>
              <a:gd name="T85" fmla="*/ 90 h 716"/>
              <a:gd name="T86" fmla="*/ 872 w 962"/>
              <a:gd name="T87" fmla="*/ 110 h 716"/>
              <a:gd name="T88" fmla="*/ 888 w 962"/>
              <a:gd name="T89" fmla="*/ 130 h 716"/>
              <a:gd name="T90" fmla="*/ 866 w 962"/>
              <a:gd name="T91" fmla="*/ 138 h 716"/>
              <a:gd name="T92" fmla="*/ 842 w 962"/>
              <a:gd name="T93" fmla="*/ 170 h 716"/>
              <a:gd name="T94" fmla="*/ 848 w 962"/>
              <a:gd name="T95" fmla="*/ 212 h 716"/>
              <a:gd name="T96" fmla="*/ 840 w 962"/>
              <a:gd name="T97" fmla="*/ 228 h 716"/>
              <a:gd name="T98" fmla="*/ 860 w 962"/>
              <a:gd name="T99" fmla="*/ 258 h 716"/>
              <a:gd name="T100" fmla="*/ 814 w 962"/>
              <a:gd name="T101" fmla="*/ 248 h 716"/>
              <a:gd name="T102" fmla="*/ 848 w 962"/>
              <a:gd name="T103" fmla="*/ 296 h 716"/>
              <a:gd name="T104" fmla="*/ 850 w 962"/>
              <a:gd name="T105" fmla="*/ 324 h 716"/>
              <a:gd name="T106" fmla="*/ 830 w 962"/>
              <a:gd name="T107" fmla="*/ 350 h 716"/>
              <a:gd name="T108" fmla="*/ 756 w 962"/>
              <a:gd name="T109" fmla="*/ 360 h 716"/>
              <a:gd name="T110" fmla="*/ 800 w 962"/>
              <a:gd name="T111" fmla="*/ 400 h 716"/>
              <a:gd name="T112" fmla="*/ 804 w 962"/>
              <a:gd name="T113" fmla="*/ 410 h 716"/>
              <a:gd name="T114" fmla="*/ 756 w 962"/>
              <a:gd name="T115" fmla="*/ 416 h 716"/>
              <a:gd name="T116" fmla="*/ 778 w 962"/>
              <a:gd name="T117" fmla="*/ 452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62" h="716">
                <a:moveTo>
                  <a:pt x="790" y="462"/>
                </a:moveTo>
                <a:lnTo>
                  <a:pt x="752" y="484"/>
                </a:lnTo>
                <a:lnTo>
                  <a:pt x="736" y="496"/>
                </a:lnTo>
                <a:lnTo>
                  <a:pt x="676" y="508"/>
                </a:lnTo>
                <a:lnTo>
                  <a:pt x="658" y="512"/>
                </a:lnTo>
                <a:lnTo>
                  <a:pt x="646" y="506"/>
                </a:lnTo>
                <a:lnTo>
                  <a:pt x="642" y="514"/>
                </a:lnTo>
                <a:lnTo>
                  <a:pt x="628" y="526"/>
                </a:lnTo>
                <a:lnTo>
                  <a:pt x="608" y="552"/>
                </a:lnTo>
                <a:lnTo>
                  <a:pt x="582" y="564"/>
                </a:lnTo>
                <a:lnTo>
                  <a:pt x="560" y="572"/>
                </a:lnTo>
                <a:lnTo>
                  <a:pt x="546" y="572"/>
                </a:lnTo>
                <a:lnTo>
                  <a:pt x="524" y="576"/>
                </a:lnTo>
                <a:lnTo>
                  <a:pt x="518" y="582"/>
                </a:lnTo>
                <a:lnTo>
                  <a:pt x="518" y="588"/>
                </a:lnTo>
                <a:lnTo>
                  <a:pt x="510" y="592"/>
                </a:lnTo>
                <a:lnTo>
                  <a:pt x="512" y="606"/>
                </a:lnTo>
                <a:lnTo>
                  <a:pt x="504" y="612"/>
                </a:lnTo>
                <a:lnTo>
                  <a:pt x="508" y="620"/>
                </a:lnTo>
                <a:lnTo>
                  <a:pt x="502" y="636"/>
                </a:lnTo>
                <a:lnTo>
                  <a:pt x="486" y="648"/>
                </a:lnTo>
                <a:lnTo>
                  <a:pt x="474" y="650"/>
                </a:lnTo>
                <a:lnTo>
                  <a:pt x="480" y="658"/>
                </a:lnTo>
                <a:lnTo>
                  <a:pt x="482" y="664"/>
                </a:lnTo>
                <a:lnTo>
                  <a:pt x="476" y="686"/>
                </a:lnTo>
                <a:lnTo>
                  <a:pt x="462" y="716"/>
                </a:lnTo>
                <a:lnTo>
                  <a:pt x="444" y="714"/>
                </a:lnTo>
                <a:lnTo>
                  <a:pt x="428" y="702"/>
                </a:lnTo>
                <a:lnTo>
                  <a:pt x="426" y="690"/>
                </a:lnTo>
                <a:lnTo>
                  <a:pt x="416" y="694"/>
                </a:lnTo>
                <a:lnTo>
                  <a:pt x="406" y="694"/>
                </a:lnTo>
                <a:lnTo>
                  <a:pt x="390" y="700"/>
                </a:lnTo>
                <a:lnTo>
                  <a:pt x="374" y="672"/>
                </a:lnTo>
                <a:lnTo>
                  <a:pt x="356" y="654"/>
                </a:lnTo>
                <a:lnTo>
                  <a:pt x="362" y="644"/>
                </a:lnTo>
                <a:lnTo>
                  <a:pt x="348" y="634"/>
                </a:lnTo>
                <a:lnTo>
                  <a:pt x="348" y="618"/>
                </a:lnTo>
                <a:lnTo>
                  <a:pt x="360" y="604"/>
                </a:lnTo>
                <a:lnTo>
                  <a:pt x="354" y="594"/>
                </a:lnTo>
                <a:lnTo>
                  <a:pt x="340" y="600"/>
                </a:lnTo>
                <a:lnTo>
                  <a:pt x="324" y="588"/>
                </a:lnTo>
                <a:lnTo>
                  <a:pt x="312" y="572"/>
                </a:lnTo>
                <a:lnTo>
                  <a:pt x="304" y="560"/>
                </a:lnTo>
                <a:lnTo>
                  <a:pt x="312" y="546"/>
                </a:lnTo>
                <a:lnTo>
                  <a:pt x="316" y="540"/>
                </a:lnTo>
                <a:lnTo>
                  <a:pt x="304" y="540"/>
                </a:lnTo>
                <a:lnTo>
                  <a:pt x="302" y="528"/>
                </a:lnTo>
                <a:lnTo>
                  <a:pt x="312" y="516"/>
                </a:lnTo>
                <a:lnTo>
                  <a:pt x="318" y="516"/>
                </a:lnTo>
                <a:lnTo>
                  <a:pt x="336" y="520"/>
                </a:lnTo>
                <a:lnTo>
                  <a:pt x="342" y="522"/>
                </a:lnTo>
                <a:lnTo>
                  <a:pt x="346" y="522"/>
                </a:lnTo>
                <a:lnTo>
                  <a:pt x="348" y="520"/>
                </a:lnTo>
                <a:lnTo>
                  <a:pt x="344" y="500"/>
                </a:lnTo>
                <a:lnTo>
                  <a:pt x="344" y="478"/>
                </a:lnTo>
                <a:lnTo>
                  <a:pt x="356" y="466"/>
                </a:lnTo>
                <a:lnTo>
                  <a:pt x="352" y="456"/>
                </a:lnTo>
                <a:lnTo>
                  <a:pt x="330" y="456"/>
                </a:lnTo>
                <a:lnTo>
                  <a:pt x="310" y="444"/>
                </a:lnTo>
                <a:lnTo>
                  <a:pt x="296" y="436"/>
                </a:lnTo>
                <a:lnTo>
                  <a:pt x="318" y="434"/>
                </a:lnTo>
                <a:lnTo>
                  <a:pt x="342" y="442"/>
                </a:lnTo>
                <a:lnTo>
                  <a:pt x="344" y="430"/>
                </a:lnTo>
                <a:lnTo>
                  <a:pt x="330" y="414"/>
                </a:lnTo>
                <a:lnTo>
                  <a:pt x="320" y="410"/>
                </a:lnTo>
                <a:lnTo>
                  <a:pt x="304" y="400"/>
                </a:lnTo>
                <a:lnTo>
                  <a:pt x="296" y="412"/>
                </a:lnTo>
                <a:lnTo>
                  <a:pt x="274" y="414"/>
                </a:lnTo>
                <a:lnTo>
                  <a:pt x="274" y="398"/>
                </a:lnTo>
                <a:lnTo>
                  <a:pt x="288" y="378"/>
                </a:lnTo>
                <a:lnTo>
                  <a:pt x="264" y="332"/>
                </a:lnTo>
                <a:lnTo>
                  <a:pt x="238" y="306"/>
                </a:lnTo>
                <a:lnTo>
                  <a:pt x="228" y="294"/>
                </a:lnTo>
                <a:lnTo>
                  <a:pt x="226" y="284"/>
                </a:lnTo>
                <a:lnTo>
                  <a:pt x="196" y="274"/>
                </a:lnTo>
                <a:lnTo>
                  <a:pt x="148" y="262"/>
                </a:lnTo>
                <a:lnTo>
                  <a:pt x="138" y="266"/>
                </a:lnTo>
                <a:lnTo>
                  <a:pt x="118" y="274"/>
                </a:lnTo>
                <a:lnTo>
                  <a:pt x="106" y="264"/>
                </a:lnTo>
                <a:lnTo>
                  <a:pt x="100" y="272"/>
                </a:lnTo>
                <a:lnTo>
                  <a:pt x="94" y="276"/>
                </a:lnTo>
                <a:lnTo>
                  <a:pt x="76" y="272"/>
                </a:lnTo>
                <a:lnTo>
                  <a:pt x="52" y="262"/>
                </a:lnTo>
                <a:lnTo>
                  <a:pt x="68" y="256"/>
                </a:lnTo>
                <a:lnTo>
                  <a:pt x="76" y="252"/>
                </a:lnTo>
                <a:lnTo>
                  <a:pt x="62" y="250"/>
                </a:lnTo>
                <a:lnTo>
                  <a:pt x="42" y="250"/>
                </a:lnTo>
                <a:lnTo>
                  <a:pt x="24" y="240"/>
                </a:lnTo>
                <a:lnTo>
                  <a:pt x="30" y="234"/>
                </a:lnTo>
                <a:lnTo>
                  <a:pt x="60" y="234"/>
                </a:lnTo>
                <a:lnTo>
                  <a:pt x="100" y="230"/>
                </a:lnTo>
                <a:lnTo>
                  <a:pt x="102" y="222"/>
                </a:lnTo>
                <a:lnTo>
                  <a:pt x="84" y="222"/>
                </a:lnTo>
                <a:lnTo>
                  <a:pt x="62" y="224"/>
                </a:lnTo>
                <a:lnTo>
                  <a:pt x="40" y="220"/>
                </a:lnTo>
                <a:lnTo>
                  <a:pt x="8" y="206"/>
                </a:lnTo>
                <a:lnTo>
                  <a:pt x="0" y="196"/>
                </a:lnTo>
                <a:lnTo>
                  <a:pt x="8" y="188"/>
                </a:lnTo>
                <a:lnTo>
                  <a:pt x="32" y="184"/>
                </a:lnTo>
                <a:lnTo>
                  <a:pt x="58" y="180"/>
                </a:lnTo>
                <a:lnTo>
                  <a:pt x="76" y="170"/>
                </a:lnTo>
                <a:lnTo>
                  <a:pt x="106" y="170"/>
                </a:lnTo>
                <a:lnTo>
                  <a:pt x="122" y="156"/>
                </a:lnTo>
                <a:lnTo>
                  <a:pt x="124" y="134"/>
                </a:lnTo>
                <a:lnTo>
                  <a:pt x="112" y="140"/>
                </a:lnTo>
                <a:lnTo>
                  <a:pt x="82" y="128"/>
                </a:lnTo>
                <a:lnTo>
                  <a:pt x="102" y="114"/>
                </a:lnTo>
                <a:lnTo>
                  <a:pt x="128" y="102"/>
                </a:lnTo>
                <a:lnTo>
                  <a:pt x="160" y="92"/>
                </a:lnTo>
                <a:lnTo>
                  <a:pt x="184" y="100"/>
                </a:lnTo>
                <a:lnTo>
                  <a:pt x="190" y="80"/>
                </a:lnTo>
                <a:lnTo>
                  <a:pt x="182" y="70"/>
                </a:lnTo>
                <a:lnTo>
                  <a:pt x="212" y="66"/>
                </a:lnTo>
                <a:lnTo>
                  <a:pt x="222" y="76"/>
                </a:lnTo>
                <a:lnTo>
                  <a:pt x="238" y="80"/>
                </a:lnTo>
                <a:lnTo>
                  <a:pt x="230" y="68"/>
                </a:lnTo>
                <a:lnTo>
                  <a:pt x="226" y="62"/>
                </a:lnTo>
                <a:lnTo>
                  <a:pt x="224" y="60"/>
                </a:lnTo>
                <a:lnTo>
                  <a:pt x="224" y="58"/>
                </a:lnTo>
                <a:lnTo>
                  <a:pt x="296" y="50"/>
                </a:lnTo>
                <a:lnTo>
                  <a:pt x="304" y="70"/>
                </a:lnTo>
                <a:lnTo>
                  <a:pt x="316" y="66"/>
                </a:lnTo>
                <a:lnTo>
                  <a:pt x="312" y="48"/>
                </a:lnTo>
                <a:lnTo>
                  <a:pt x="344" y="66"/>
                </a:lnTo>
                <a:lnTo>
                  <a:pt x="366" y="66"/>
                </a:lnTo>
                <a:lnTo>
                  <a:pt x="350" y="56"/>
                </a:lnTo>
                <a:lnTo>
                  <a:pt x="358" y="44"/>
                </a:lnTo>
                <a:lnTo>
                  <a:pt x="374" y="44"/>
                </a:lnTo>
                <a:lnTo>
                  <a:pt x="404" y="56"/>
                </a:lnTo>
                <a:lnTo>
                  <a:pt x="442" y="74"/>
                </a:lnTo>
                <a:lnTo>
                  <a:pt x="450" y="68"/>
                </a:lnTo>
                <a:lnTo>
                  <a:pt x="400" y="40"/>
                </a:lnTo>
                <a:lnTo>
                  <a:pt x="422" y="34"/>
                </a:lnTo>
                <a:lnTo>
                  <a:pt x="424" y="24"/>
                </a:lnTo>
                <a:lnTo>
                  <a:pt x="450" y="16"/>
                </a:lnTo>
                <a:lnTo>
                  <a:pt x="478" y="14"/>
                </a:lnTo>
                <a:lnTo>
                  <a:pt x="510" y="18"/>
                </a:lnTo>
                <a:lnTo>
                  <a:pt x="534" y="16"/>
                </a:lnTo>
                <a:lnTo>
                  <a:pt x="562" y="4"/>
                </a:lnTo>
                <a:lnTo>
                  <a:pt x="618" y="0"/>
                </a:lnTo>
                <a:lnTo>
                  <a:pt x="680" y="0"/>
                </a:lnTo>
                <a:lnTo>
                  <a:pt x="716" y="4"/>
                </a:lnTo>
                <a:lnTo>
                  <a:pt x="746" y="12"/>
                </a:lnTo>
                <a:lnTo>
                  <a:pt x="756" y="18"/>
                </a:lnTo>
                <a:lnTo>
                  <a:pt x="760" y="24"/>
                </a:lnTo>
                <a:lnTo>
                  <a:pt x="814" y="38"/>
                </a:lnTo>
                <a:lnTo>
                  <a:pt x="800" y="48"/>
                </a:lnTo>
                <a:lnTo>
                  <a:pt x="738" y="56"/>
                </a:lnTo>
                <a:lnTo>
                  <a:pt x="676" y="58"/>
                </a:lnTo>
                <a:lnTo>
                  <a:pt x="668" y="70"/>
                </a:lnTo>
                <a:lnTo>
                  <a:pt x="694" y="64"/>
                </a:lnTo>
                <a:lnTo>
                  <a:pt x="754" y="66"/>
                </a:lnTo>
                <a:lnTo>
                  <a:pt x="740" y="76"/>
                </a:lnTo>
                <a:lnTo>
                  <a:pt x="726" y="80"/>
                </a:lnTo>
                <a:lnTo>
                  <a:pt x="734" y="82"/>
                </a:lnTo>
                <a:lnTo>
                  <a:pt x="760" y="76"/>
                </a:lnTo>
                <a:lnTo>
                  <a:pt x="774" y="68"/>
                </a:lnTo>
                <a:lnTo>
                  <a:pt x="782" y="58"/>
                </a:lnTo>
                <a:lnTo>
                  <a:pt x="800" y="58"/>
                </a:lnTo>
                <a:lnTo>
                  <a:pt x="806" y="66"/>
                </a:lnTo>
                <a:lnTo>
                  <a:pt x="806" y="82"/>
                </a:lnTo>
                <a:lnTo>
                  <a:pt x="774" y="104"/>
                </a:lnTo>
                <a:lnTo>
                  <a:pt x="770" y="114"/>
                </a:lnTo>
                <a:lnTo>
                  <a:pt x="792" y="102"/>
                </a:lnTo>
                <a:lnTo>
                  <a:pt x="820" y="86"/>
                </a:lnTo>
                <a:lnTo>
                  <a:pt x="836" y="74"/>
                </a:lnTo>
                <a:lnTo>
                  <a:pt x="868" y="84"/>
                </a:lnTo>
                <a:lnTo>
                  <a:pt x="884" y="68"/>
                </a:lnTo>
                <a:lnTo>
                  <a:pt x="914" y="66"/>
                </a:lnTo>
                <a:lnTo>
                  <a:pt x="946" y="70"/>
                </a:lnTo>
                <a:lnTo>
                  <a:pt x="962" y="80"/>
                </a:lnTo>
                <a:lnTo>
                  <a:pt x="948" y="90"/>
                </a:lnTo>
                <a:lnTo>
                  <a:pt x="922" y="98"/>
                </a:lnTo>
                <a:lnTo>
                  <a:pt x="916" y="106"/>
                </a:lnTo>
                <a:lnTo>
                  <a:pt x="906" y="110"/>
                </a:lnTo>
                <a:lnTo>
                  <a:pt x="872" y="110"/>
                </a:lnTo>
                <a:lnTo>
                  <a:pt x="852" y="116"/>
                </a:lnTo>
                <a:lnTo>
                  <a:pt x="870" y="120"/>
                </a:lnTo>
                <a:lnTo>
                  <a:pt x="896" y="122"/>
                </a:lnTo>
                <a:lnTo>
                  <a:pt x="888" y="130"/>
                </a:lnTo>
                <a:lnTo>
                  <a:pt x="850" y="128"/>
                </a:lnTo>
                <a:lnTo>
                  <a:pt x="832" y="132"/>
                </a:lnTo>
                <a:lnTo>
                  <a:pt x="840" y="140"/>
                </a:lnTo>
                <a:lnTo>
                  <a:pt x="866" y="138"/>
                </a:lnTo>
                <a:lnTo>
                  <a:pt x="876" y="138"/>
                </a:lnTo>
                <a:lnTo>
                  <a:pt x="868" y="146"/>
                </a:lnTo>
                <a:lnTo>
                  <a:pt x="844" y="152"/>
                </a:lnTo>
                <a:lnTo>
                  <a:pt x="842" y="170"/>
                </a:lnTo>
                <a:lnTo>
                  <a:pt x="822" y="180"/>
                </a:lnTo>
                <a:lnTo>
                  <a:pt x="812" y="208"/>
                </a:lnTo>
                <a:lnTo>
                  <a:pt x="822" y="210"/>
                </a:lnTo>
                <a:lnTo>
                  <a:pt x="848" y="212"/>
                </a:lnTo>
                <a:lnTo>
                  <a:pt x="836" y="220"/>
                </a:lnTo>
                <a:lnTo>
                  <a:pt x="836" y="224"/>
                </a:lnTo>
                <a:lnTo>
                  <a:pt x="838" y="226"/>
                </a:lnTo>
                <a:lnTo>
                  <a:pt x="840" y="228"/>
                </a:lnTo>
                <a:lnTo>
                  <a:pt x="854" y="234"/>
                </a:lnTo>
                <a:lnTo>
                  <a:pt x="868" y="238"/>
                </a:lnTo>
                <a:lnTo>
                  <a:pt x="864" y="250"/>
                </a:lnTo>
                <a:lnTo>
                  <a:pt x="860" y="258"/>
                </a:lnTo>
                <a:lnTo>
                  <a:pt x="858" y="260"/>
                </a:lnTo>
                <a:lnTo>
                  <a:pt x="846" y="252"/>
                </a:lnTo>
                <a:lnTo>
                  <a:pt x="836" y="244"/>
                </a:lnTo>
                <a:lnTo>
                  <a:pt x="814" y="248"/>
                </a:lnTo>
                <a:lnTo>
                  <a:pt x="814" y="262"/>
                </a:lnTo>
                <a:lnTo>
                  <a:pt x="834" y="268"/>
                </a:lnTo>
                <a:lnTo>
                  <a:pt x="850" y="280"/>
                </a:lnTo>
                <a:lnTo>
                  <a:pt x="848" y="296"/>
                </a:lnTo>
                <a:lnTo>
                  <a:pt x="828" y="298"/>
                </a:lnTo>
                <a:lnTo>
                  <a:pt x="840" y="312"/>
                </a:lnTo>
                <a:lnTo>
                  <a:pt x="846" y="320"/>
                </a:lnTo>
                <a:lnTo>
                  <a:pt x="850" y="324"/>
                </a:lnTo>
                <a:lnTo>
                  <a:pt x="850" y="328"/>
                </a:lnTo>
                <a:lnTo>
                  <a:pt x="838" y="334"/>
                </a:lnTo>
                <a:lnTo>
                  <a:pt x="826" y="336"/>
                </a:lnTo>
                <a:lnTo>
                  <a:pt x="830" y="350"/>
                </a:lnTo>
                <a:lnTo>
                  <a:pt x="812" y="356"/>
                </a:lnTo>
                <a:lnTo>
                  <a:pt x="790" y="356"/>
                </a:lnTo>
                <a:lnTo>
                  <a:pt x="768" y="354"/>
                </a:lnTo>
                <a:lnTo>
                  <a:pt x="756" y="360"/>
                </a:lnTo>
                <a:lnTo>
                  <a:pt x="768" y="372"/>
                </a:lnTo>
                <a:lnTo>
                  <a:pt x="800" y="372"/>
                </a:lnTo>
                <a:lnTo>
                  <a:pt x="804" y="382"/>
                </a:lnTo>
                <a:lnTo>
                  <a:pt x="800" y="400"/>
                </a:lnTo>
                <a:lnTo>
                  <a:pt x="782" y="386"/>
                </a:lnTo>
                <a:lnTo>
                  <a:pt x="774" y="386"/>
                </a:lnTo>
                <a:lnTo>
                  <a:pt x="776" y="392"/>
                </a:lnTo>
                <a:lnTo>
                  <a:pt x="804" y="410"/>
                </a:lnTo>
                <a:lnTo>
                  <a:pt x="810" y="446"/>
                </a:lnTo>
                <a:lnTo>
                  <a:pt x="790" y="444"/>
                </a:lnTo>
                <a:lnTo>
                  <a:pt x="770" y="430"/>
                </a:lnTo>
                <a:lnTo>
                  <a:pt x="756" y="416"/>
                </a:lnTo>
                <a:lnTo>
                  <a:pt x="750" y="414"/>
                </a:lnTo>
                <a:lnTo>
                  <a:pt x="750" y="432"/>
                </a:lnTo>
                <a:lnTo>
                  <a:pt x="756" y="446"/>
                </a:lnTo>
                <a:lnTo>
                  <a:pt x="778" y="452"/>
                </a:lnTo>
                <a:lnTo>
                  <a:pt x="804" y="454"/>
                </a:lnTo>
                <a:lnTo>
                  <a:pt x="790" y="46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87" name="Freeform 6">
            <a:extLst>
              <a:ext uri="{FF2B5EF4-FFF2-40B4-BE49-F238E27FC236}">
                <a16:creationId xmlns:a16="http://schemas.microsoft.com/office/drawing/2014/main" id="{B21B96CF-B638-4623-965E-39543BEBA41F}"/>
              </a:ext>
            </a:extLst>
          </p:cNvPr>
          <p:cNvSpPr>
            <a:spLocks/>
          </p:cNvSpPr>
          <p:nvPr/>
        </p:nvSpPr>
        <p:spPr bwMode="gray">
          <a:xfrm>
            <a:off x="1260776" y="2042283"/>
            <a:ext cx="350048" cy="204289"/>
          </a:xfrm>
          <a:custGeom>
            <a:avLst/>
            <a:gdLst>
              <a:gd name="T0" fmla="*/ 76 w 482"/>
              <a:gd name="T1" fmla="*/ 18 h 306"/>
              <a:gd name="T2" fmla="*/ 146 w 482"/>
              <a:gd name="T3" fmla="*/ 18 h 306"/>
              <a:gd name="T4" fmla="*/ 196 w 482"/>
              <a:gd name="T5" fmla="*/ 38 h 306"/>
              <a:gd name="T6" fmla="*/ 226 w 482"/>
              <a:gd name="T7" fmla="*/ 62 h 306"/>
              <a:gd name="T8" fmla="*/ 258 w 482"/>
              <a:gd name="T9" fmla="*/ 58 h 306"/>
              <a:gd name="T10" fmla="*/ 282 w 482"/>
              <a:gd name="T11" fmla="*/ 96 h 306"/>
              <a:gd name="T12" fmla="*/ 318 w 482"/>
              <a:gd name="T13" fmla="*/ 116 h 306"/>
              <a:gd name="T14" fmla="*/ 308 w 482"/>
              <a:gd name="T15" fmla="*/ 152 h 306"/>
              <a:gd name="T16" fmla="*/ 312 w 482"/>
              <a:gd name="T17" fmla="*/ 192 h 306"/>
              <a:gd name="T18" fmla="*/ 338 w 482"/>
              <a:gd name="T19" fmla="*/ 234 h 306"/>
              <a:gd name="T20" fmla="*/ 376 w 482"/>
              <a:gd name="T21" fmla="*/ 244 h 306"/>
              <a:gd name="T22" fmla="*/ 424 w 482"/>
              <a:gd name="T23" fmla="*/ 220 h 306"/>
              <a:gd name="T24" fmla="*/ 442 w 482"/>
              <a:gd name="T25" fmla="*/ 192 h 306"/>
              <a:gd name="T26" fmla="*/ 482 w 482"/>
              <a:gd name="T27" fmla="*/ 194 h 306"/>
              <a:gd name="T28" fmla="*/ 470 w 482"/>
              <a:gd name="T29" fmla="*/ 220 h 306"/>
              <a:gd name="T30" fmla="*/ 464 w 482"/>
              <a:gd name="T31" fmla="*/ 246 h 306"/>
              <a:gd name="T32" fmla="*/ 452 w 482"/>
              <a:gd name="T33" fmla="*/ 246 h 306"/>
              <a:gd name="T34" fmla="*/ 416 w 482"/>
              <a:gd name="T35" fmla="*/ 254 h 306"/>
              <a:gd name="T36" fmla="*/ 424 w 482"/>
              <a:gd name="T37" fmla="*/ 272 h 306"/>
              <a:gd name="T38" fmla="*/ 412 w 482"/>
              <a:gd name="T39" fmla="*/ 282 h 306"/>
              <a:gd name="T40" fmla="*/ 402 w 482"/>
              <a:gd name="T41" fmla="*/ 288 h 306"/>
              <a:gd name="T42" fmla="*/ 392 w 482"/>
              <a:gd name="T43" fmla="*/ 300 h 306"/>
              <a:gd name="T44" fmla="*/ 364 w 482"/>
              <a:gd name="T45" fmla="*/ 280 h 306"/>
              <a:gd name="T46" fmla="*/ 338 w 482"/>
              <a:gd name="T47" fmla="*/ 284 h 306"/>
              <a:gd name="T48" fmla="*/ 298 w 482"/>
              <a:gd name="T49" fmla="*/ 276 h 306"/>
              <a:gd name="T50" fmla="*/ 254 w 482"/>
              <a:gd name="T51" fmla="*/ 260 h 306"/>
              <a:gd name="T52" fmla="*/ 218 w 482"/>
              <a:gd name="T53" fmla="*/ 240 h 306"/>
              <a:gd name="T54" fmla="*/ 186 w 482"/>
              <a:gd name="T55" fmla="*/ 212 h 306"/>
              <a:gd name="T56" fmla="*/ 192 w 482"/>
              <a:gd name="T57" fmla="*/ 186 h 306"/>
              <a:gd name="T58" fmla="*/ 156 w 482"/>
              <a:gd name="T59" fmla="*/ 146 h 306"/>
              <a:gd name="T60" fmla="*/ 126 w 482"/>
              <a:gd name="T61" fmla="*/ 120 h 306"/>
              <a:gd name="T62" fmla="*/ 100 w 482"/>
              <a:gd name="T63" fmla="*/ 86 h 306"/>
              <a:gd name="T64" fmla="*/ 72 w 482"/>
              <a:gd name="T65" fmla="*/ 48 h 306"/>
              <a:gd name="T66" fmla="*/ 50 w 482"/>
              <a:gd name="T67" fmla="*/ 20 h 306"/>
              <a:gd name="T68" fmla="*/ 40 w 482"/>
              <a:gd name="T69" fmla="*/ 38 h 306"/>
              <a:gd name="T70" fmla="*/ 64 w 482"/>
              <a:gd name="T71" fmla="*/ 76 h 306"/>
              <a:gd name="T72" fmla="*/ 90 w 482"/>
              <a:gd name="T73" fmla="*/ 108 h 306"/>
              <a:gd name="T74" fmla="*/ 106 w 482"/>
              <a:gd name="T75" fmla="*/ 146 h 306"/>
              <a:gd name="T76" fmla="*/ 120 w 482"/>
              <a:gd name="T77" fmla="*/ 156 h 306"/>
              <a:gd name="T78" fmla="*/ 108 w 482"/>
              <a:gd name="T79" fmla="*/ 158 h 306"/>
              <a:gd name="T80" fmla="*/ 84 w 482"/>
              <a:gd name="T81" fmla="*/ 134 h 306"/>
              <a:gd name="T82" fmla="*/ 72 w 482"/>
              <a:gd name="T83" fmla="*/ 108 h 306"/>
              <a:gd name="T84" fmla="*/ 48 w 482"/>
              <a:gd name="T85" fmla="*/ 98 h 306"/>
              <a:gd name="T86" fmla="*/ 42 w 482"/>
              <a:gd name="T87" fmla="*/ 84 h 306"/>
              <a:gd name="T88" fmla="*/ 46 w 482"/>
              <a:gd name="T89" fmla="*/ 74 h 306"/>
              <a:gd name="T90" fmla="*/ 30 w 482"/>
              <a:gd name="T91" fmla="*/ 56 h 306"/>
              <a:gd name="T92" fmla="*/ 12 w 482"/>
              <a:gd name="T93" fmla="*/ 24 h 3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82" h="306">
                <a:moveTo>
                  <a:pt x="0" y="2"/>
                </a:moveTo>
                <a:lnTo>
                  <a:pt x="32" y="0"/>
                </a:lnTo>
                <a:lnTo>
                  <a:pt x="76" y="18"/>
                </a:lnTo>
                <a:lnTo>
                  <a:pt x="92" y="24"/>
                </a:lnTo>
                <a:lnTo>
                  <a:pt x="138" y="24"/>
                </a:lnTo>
                <a:lnTo>
                  <a:pt x="146" y="18"/>
                </a:lnTo>
                <a:lnTo>
                  <a:pt x="166" y="14"/>
                </a:lnTo>
                <a:lnTo>
                  <a:pt x="186" y="30"/>
                </a:lnTo>
                <a:lnTo>
                  <a:pt x="196" y="38"/>
                </a:lnTo>
                <a:lnTo>
                  <a:pt x="198" y="54"/>
                </a:lnTo>
                <a:lnTo>
                  <a:pt x="214" y="64"/>
                </a:lnTo>
                <a:lnTo>
                  <a:pt x="226" y="62"/>
                </a:lnTo>
                <a:lnTo>
                  <a:pt x="228" y="52"/>
                </a:lnTo>
                <a:lnTo>
                  <a:pt x="236" y="48"/>
                </a:lnTo>
                <a:lnTo>
                  <a:pt x="258" y="58"/>
                </a:lnTo>
                <a:lnTo>
                  <a:pt x="264" y="72"/>
                </a:lnTo>
                <a:lnTo>
                  <a:pt x="274" y="84"/>
                </a:lnTo>
                <a:lnTo>
                  <a:pt x="282" y="96"/>
                </a:lnTo>
                <a:lnTo>
                  <a:pt x="290" y="108"/>
                </a:lnTo>
                <a:lnTo>
                  <a:pt x="306" y="114"/>
                </a:lnTo>
                <a:lnTo>
                  <a:pt x="318" y="116"/>
                </a:lnTo>
                <a:lnTo>
                  <a:pt x="314" y="124"/>
                </a:lnTo>
                <a:lnTo>
                  <a:pt x="310" y="136"/>
                </a:lnTo>
                <a:lnTo>
                  <a:pt x="308" y="152"/>
                </a:lnTo>
                <a:lnTo>
                  <a:pt x="308" y="162"/>
                </a:lnTo>
                <a:lnTo>
                  <a:pt x="308" y="174"/>
                </a:lnTo>
                <a:lnTo>
                  <a:pt x="312" y="192"/>
                </a:lnTo>
                <a:lnTo>
                  <a:pt x="322" y="210"/>
                </a:lnTo>
                <a:lnTo>
                  <a:pt x="330" y="222"/>
                </a:lnTo>
                <a:lnTo>
                  <a:pt x="338" y="234"/>
                </a:lnTo>
                <a:lnTo>
                  <a:pt x="348" y="240"/>
                </a:lnTo>
                <a:lnTo>
                  <a:pt x="360" y="244"/>
                </a:lnTo>
                <a:lnTo>
                  <a:pt x="376" y="244"/>
                </a:lnTo>
                <a:lnTo>
                  <a:pt x="396" y="240"/>
                </a:lnTo>
                <a:lnTo>
                  <a:pt x="416" y="236"/>
                </a:lnTo>
                <a:lnTo>
                  <a:pt x="424" y="220"/>
                </a:lnTo>
                <a:lnTo>
                  <a:pt x="424" y="210"/>
                </a:lnTo>
                <a:lnTo>
                  <a:pt x="428" y="200"/>
                </a:lnTo>
                <a:lnTo>
                  <a:pt x="442" y="192"/>
                </a:lnTo>
                <a:lnTo>
                  <a:pt x="452" y="192"/>
                </a:lnTo>
                <a:lnTo>
                  <a:pt x="470" y="192"/>
                </a:lnTo>
                <a:lnTo>
                  <a:pt x="482" y="194"/>
                </a:lnTo>
                <a:lnTo>
                  <a:pt x="478" y="206"/>
                </a:lnTo>
                <a:lnTo>
                  <a:pt x="472" y="214"/>
                </a:lnTo>
                <a:lnTo>
                  <a:pt x="470" y="220"/>
                </a:lnTo>
                <a:lnTo>
                  <a:pt x="468" y="232"/>
                </a:lnTo>
                <a:lnTo>
                  <a:pt x="468" y="244"/>
                </a:lnTo>
                <a:lnTo>
                  <a:pt x="464" y="246"/>
                </a:lnTo>
                <a:lnTo>
                  <a:pt x="460" y="240"/>
                </a:lnTo>
                <a:lnTo>
                  <a:pt x="456" y="242"/>
                </a:lnTo>
                <a:lnTo>
                  <a:pt x="452" y="246"/>
                </a:lnTo>
                <a:lnTo>
                  <a:pt x="446" y="252"/>
                </a:lnTo>
                <a:lnTo>
                  <a:pt x="434" y="252"/>
                </a:lnTo>
                <a:lnTo>
                  <a:pt x="416" y="254"/>
                </a:lnTo>
                <a:lnTo>
                  <a:pt x="414" y="258"/>
                </a:lnTo>
                <a:lnTo>
                  <a:pt x="416" y="266"/>
                </a:lnTo>
                <a:lnTo>
                  <a:pt x="424" y="272"/>
                </a:lnTo>
                <a:lnTo>
                  <a:pt x="428" y="278"/>
                </a:lnTo>
                <a:lnTo>
                  <a:pt x="424" y="280"/>
                </a:lnTo>
                <a:lnTo>
                  <a:pt x="412" y="282"/>
                </a:lnTo>
                <a:lnTo>
                  <a:pt x="408" y="280"/>
                </a:lnTo>
                <a:lnTo>
                  <a:pt x="406" y="284"/>
                </a:lnTo>
                <a:lnTo>
                  <a:pt x="402" y="288"/>
                </a:lnTo>
                <a:lnTo>
                  <a:pt x="400" y="294"/>
                </a:lnTo>
                <a:lnTo>
                  <a:pt x="398" y="306"/>
                </a:lnTo>
                <a:lnTo>
                  <a:pt x="392" y="300"/>
                </a:lnTo>
                <a:lnTo>
                  <a:pt x="382" y="290"/>
                </a:lnTo>
                <a:lnTo>
                  <a:pt x="372" y="284"/>
                </a:lnTo>
                <a:lnTo>
                  <a:pt x="364" y="280"/>
                </a:lnTo>
                <a:lnTo>
                  <a:pt x="356" y="278"/>
                </a:lnTo>
                <a:lnTo>
                  <a:pt x="346" y="280"/>
                </a:lnTo>
                <a:lnTo>
                  <a:pt x="338" y="284"/>
                </a:lnTo>
                <a:lnTo>
                  <a:pt x="328" y="286"/>
                </a:lnTo>
                <a:lnTo>
                  <a:pt x="312" y="282"/>
                </a:lnTo>
                <a:lnTo>
                  <a:pt x="298" y="276"/>
                </a:lnTo>
                <a:lnTo>
                  <a:pt x="282" y="270"/>
                </a:lnTo>
                <a:lnTo>
                  <a:pt x="264" y="264"/>
                </a:lnTo>
                <a:lnTo>
                  <a:pt x="254" y="260"/>
                </a:lnTo>
                <a:lnTo>
                  <a:pt x="246" y="248"/>
                </a:lnTo>
                <a:lnTo>
                  <a:pt x="232" y="248"/>
                </a:lnTo>
                <a:lnTo>
                  <a:pt x="218" y="240"/>
                </a:lnTo>
                <a:lnTo>
                  <a:pt x="204" y="232"/>
                </a:lnTo>
                <a:lnTo>
                  <a:pt x="192" y="222"/>
                </a:lnTo>
                <a:lnTo>
                  <a:pt x="186" y="212"/>
                </a:lnTo>
                <a:lnTo>
                  <a:pt x="186" y="202"/>
                </a:lnTo>
                <a:lnTo>
                  <a:pt x="192" y="196"/>
                </a:lnTo>
                <a:lnTo>
                  <a:pt x="192" y="186"/>
                </a:lnTo>
                <a:lnTo>
                  <a:pt x="178" y="168"/>
                </a:lnTo>
                <a:lnTo>
                  <a:pt x="168" y="156"/>
                </a:lnTo>
                <a:lnTo>
                  <a:pt x="156" y="146"/>
                </a:lnTo>
                <a:lnTo>
                  <a:pt x="146" y="134"/>
                </a:lnTo>
                <a:lnTo>
                  <a:pt x="134" y="126"/>
                </a:lnTo>
                <a:lnTo>
                  <a:pt x="126" y="120"/>
                </a:lnTo>
                <a:lnTo>
                  <a:pt x="126" y="106"/>
                </a:lnTo>
                <a:lnTo>
                  <a:pt x="110" y="96"/>
                </a:lnTo>
                <a:lnTo>
                  <a:pt x="100" y="86"/>
                </a:lnTo>
                <a:lnTo>
                  <a:pt x="88" y="70"/>
                </a:lnTo>
                <a:lnTo>
                  <a:pt x="78" y="60"/>
                </a:lnTo>
                <a:lnTo>
                  <a:pt x="72" y="48"/>
                </a:lnTo>
                <a:lnTo>
                  <a:pt x="66" y="34"/>
                </a:lnTo>
                <a:lnTo>
                  <a:pt x="64" y="28"/>
                </a:lnTo>
                <a:lnTo>
                  <a:pt x="50" y="20"/>
                </a:lnTo>
                <a:lnTo>
                  <a:pt x="38" y="20"/>
                </a:lnTo>
                <a:lnTo>
                  <a:pt x="36" y="26"/>
                </a:lnTo>
                <a:lnTo>
                  <a:pt x="40" y="38"/>
                </a:lnTo>
                <a:lnTo>
                  <a:pt x="46" y="52"/>
                </a:lnTo>
                <a:lnTo>
                  <a:pt x="56" y="62"/>
                </a:lnTo>
                <a:lnTo>
                  <a:pt x="64" y="76"/>
                </a:lnTo>
                <a:lnTo>
                  <a:pt x="72" y="86"/>
                </a:lnTo>
                <a:lnTo>
                  <a:pt x="80" y="96"/>
                </a:lnTo>
                <a:lnTo>
                  <a:pt x="90" y="108"/>
                </a:lnTo>
                <a:lnTo>
                  <a:pt x="98" y="124"/>
                </a:lnTo>
                <a:lnTo>
                  <a:pt x="104" y="136"/>
                </a:lnTo>
                <a:lnTo>
                  <a:pt x="106" y="146"/>
                </a:lnTo>
                <a:lnTo>
                  <a:pt x="114" y="146"/>
                </a:lnTo>
                <a:lnTo>
                  <a:pt x="118" y="152"/>
                </a:lnTo>
                <a:lnTo>
                  <a:pt x="120" y="156"/>
                </a:lnTo>
                <a:lnTo>
                  <a:pt x="122" y="166"/>
                </a:lnTo>
                <a:lnTo>
                  <a:pt x="114" y="170"/>
                </a:lnTo>
                <a:lnTo>
                  <a:pt x="108" y="158"/>
                </a:lnTo>
                <a:lnTo>
                  <a:pt x="100" y="152"/>
                </a:lnTo>
                <a:lnTo>
                  <a:pt x="92" y="144"/>
                </a:lnTo>
                <a:lnTo>
                  <a:pt x="84" y="134"/>
                </a:lnTo>
                <a:lnTo>
                  <a:pt x="82" y="126"/>
                </a:lnTo>
                <a:lnTo>
                  <a:pt x="80" y="116"/>
                </a:lnTo>
                <a:lnTo>
                  <a:pt x="72" y="108"/>
                </a:lnTo>
                <a:lnTo>
                  <a:pt x="66" y="104"/>
                </a:lnTo>
                <a:lnTo>
                  <a:pt x="56" y="102"/>
                </a:lnTo>
                <a:lnTo>
                  <a:pt x="48" y="98"/>
                </a:lnTo>
                <a:lnTo>
                  <a:pt x="40" y="90"/>
                </a:lnTo>
                <a:lnTo>
                  <a:pt x="38" y="86"/>
                </a:lnTo>
                <a:lnTo>
                  <a:pt x="42" y="84"/>
                </a:lnTo>
                <a:lnTo>
                  <a:pt x="46" y="84"/>
                </a:lnTo>
                <a:lnTo>
                  <a:pt x="48" y="80"/>
                </a:lnTo>
                <a:lnTo>
                  <a:pt x="46" y="74"/>
                </a:lnTo>
                <a:lnTo>
                  <a:pt x="42" y="64"/>
                </a:lnTo>
                <a:lnTo>
                  <a:pt x="38" y="60"/>
                </a:lnTo>
                <a:lnTo>
                  <a:pt x="30" y="56"/>
                </a:lnTo>
                <a:lnTo>
                  <a:pt x="22" y="46"/>
                </a:lnTo>
                <a:lnTo>
                  <a:pt x="16" y="32"/>
                </a:lnTo>
                <a:lnTo>
                  <a:pt x="12" y="24"/>
                </a:lnTo>
                <a:lnTo>
                  <a:pt x="8" y="14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88" name="Freeform 7">
            <a:extLst>
              <a:ext uri="{FF2B5EF4-FFF2-40B4-BE49-F238E27FC236}">
                <a16:creationId xmlns:a16="http://schemas.microsoft.com/office/drawing/2014/main" id="{232E4E92-2C65-4E5B-81EB-B34E2C7AE235}"/>
              </a:ext>
            </a:extLst>
          </p:cNvPr>
          <p:cNvSpPr>
            <a:spLocks/>
          </p:cNvSpPr>
          <p:nvPr/>
        </p:nvSpPr>
        <p:spPr bwMode="gray">
          <a:xfrm>
            <a:off x="1162007" y="1412058"/>
            <a:ext cx="120556" cy="69432"/>
          </a:xfrm>
          <a:custGeom>
            <a:avLst/>
            <a:gdLst>
              <a:gd name="T0" fmla="*/ 20 w 166"/>
              <a:gd name="T1" fmla="*/ 6 h 104"/>
              <a:gd name="T2" fmla="*/ 20 w 166"/>
              <a:gd name="T3" fmla="*/ 14 h 104"/>
              <a:gd name="T4" fmla="*/ 28 w 166"/>
              <a:gd name="T5" fmla="*/ 22 h 104"/>
              <a:gd name="T6" fmla="*/ 28 w 166"/>
              <a:gd name="T7" fmla="*/ 28 h 104"/>
              <a:gd name="T8" fmla="*/ 24 w 166"/>
              <a:gd name="T9" fmla="*/ 34 h 104"/>
              <a:gd name="T10" fmla="*/ 20 w 166"/>
              <a:gd name="T11" fmla="*/ 44 h 104"/>
              <a:gd name="T12" fmla="*/ 12 w 166"/>
              <a:gd name="T13" fmla="*/ 54 h 104"/>
              <a:gd name="T14" fmla="*/ 8 w 166"/>
              <a:gd name="T15" fmla="*/ 68 h 104"/>
              <a:gd name="T16" fmla="*/ 0 w 166"/>
              <a:gd name="T17" fmla="*/ 76 h 104"/>
              <a:gd name="T18" fmla="*/ 12 w 166"/>
              <a:gd name="T19" fmla="*/ 80 h 104"/>
              <a:gd name="T20" fmla="*/ 20 w 166"/>
              <a:gd name="T21" fmla="*/ 84 h 104"/>
              <a:gd name="T22" fmla="*/ 32 w 166"/>
              <a:gd name="T23" fmla="*/ 92 h 104"/>
              <a:gd name="T24" fmla="*/ 42 w 166"/>
              <a:gd name="T25" fmla="*/ 104 h 104"/>
              <a:gd name="T26" fmla="*/ 54 w 166"/>
              <a:gd name="T27" fmla="*/ 100 h 104"/>
              <a:gd name="T28" fmla="*/ 68 w 166"/>
              <a:gd name="T29" fmla="*/ 92 h 104"/>
              <a:gd name="T30" fmla="*/ 80 w 166"/>
              <a:gd name="T31" fmla="*/ 92 h 104"/>
              <a:gd name="T32" fmla="*/ 86 w 166"/>
              <a:gd name="T33" fmla="*/ 82 h 104"/>
              <a:gd name="T34" fmla="*/ 90 w 166"/>
              <a:gd name="T35" fmla="*/ 72 h 104"/>
              <a:gd name="T36" fmla="*/ 102 w 166"/>
              <a:gd name="T37" fmla="*/ 66 h 104"/>
              <a:gd name="T38" fmla="*/ 106 w 166"/>
              <a:gd name="T39" fmla="*/ 58 h 104"/>
              <a:gd name="T40" fmla="*/ 120 w 166"/>
              <a:gd name="T41" fmla="*/ 50 h 104"/>
              <a:gd name="T42" fmla="*/ 140 w 166"/>
              <a:gd name="T43" fmla="*/ 40 h 104"/>
              <a:gd name="T44" fmla="*/ 166 w 166"/>
              <a:gd name="T45" fmla="*/ 32 h 104"/>
              <a:gd name="T46" fmla="*/ 158 w 166"/>
              <a:gd name="T47" fmla="*/ 26 h 104"/>
              <a:gd name="T48" fmla="*/ 142 w 166"/>
              <a:gd name="T49" fmla="*/ 16 h 104"/>
              <a:gd name="T50" fmla="*/ 128 w 166"/>
              <a:gd name="T51" fmla="*/ 8 h 104"/>
              <a:gd name="T52" fmla="*/ 114 w 166"/>
              <a:gd name="T53" fmla="*/ 10 h 104"/>
              <a:gd name="T54" fmla="*/ 106 w 166"/>
              <a:gd name="T55" fmla="*/ 16 h 104"/>
              <a:gd name="T56" fmla="*/ 94 w 166"/>
              <a:gd name="T57" fmla="*/ 14 h 104"/>
              <a:gd name="T58" fmla="*/ 74 w 166"/>
              <a:gd name="T59" fmla="*/ 6 h 104"/>
              <a:gd name="T60" fmla="*/ 72 w 166"/>
              <a:gd name="T61" fmla="*/ 0 h 104"/>
              <a:gd name="T62" fmla="*/ 54 w 166"/>
              <a:gd name="T63" fmla="*/ 0 h 104"/>
              <a:gd name="T64" fmla="*/ 52 w 166"/>
              <a:gd name="T65" fmla="*/ 6 h 104"/>
              <a:gd name="T66" fmla="*/ 34 w 166"/>
              <a:gd name="T67" fmla="*/ 4 h 104"/>
              <a:gd name="T68" fmla="*/ 20 w 166"/>
              <a:gd name="T69" fmla="*/ 6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6" h="104">
                <a:moveTo>
                  <a:pt x="20" y="6"/>
                </a:moveTo>
                <a:lnTo>
                  <a:pt x="20" y="14"/>
                </a:lnTo>
                <a:lnTo>
                  <a:pt x="28" y="22"/>
                </a:lnTo>
                <a:lnTo>
                  <a:pt x="28" y="28"/>
                </a:lnTo>
                <a:lnTo>
                  <a:pt x="24" y="34"/>
                </a:lnTo>
                <a:lnTo>
                  <a:pt x="20" y="44"/>
                </a:lnTo>
                <a:lnTo>
                  <a:pt x="12" y="54"/>
                </a:lnTo>
                <a:lnTo>
                  <a:pt x="8" y="68"/>
                </a:lnTo>
                <a:lnTo>
                  <a:pt x="0" y="76"/>
                </a:lnTo>
                <a:lnTo>
                  <a:pt x="12" y="80"/>
                </a:lnTo>
                <a:lnTo>
                  <a:pt x="20" y="84"/>
                </a:lnTo>
                <a:lnTo>
                  <a:pt x="32" y="92"/>
                </a:lnTo>
                <a:lnTo>
                  <a:pt x="42" y="104"/>
                </a:lnTo>
                <a:lnTo>
                  <a:pt x="54" y="100"/>
                </a:lnTo>
                <a:lnTo>
                  <a:pt x="68" y="92"/>
                </a:lnTo>
                <a:lnTo>
                  <a:pt x="80" y="92"/>
                </a:lnTo>
                <a:lnTo>
                  <a:pt x="86" y="82"/>
                </a:lnTo>
                <a:lnTo>
                  <a:pt x="90" y="72"/>
                </a:lnTo>
                <a:lnTo>
                  <a:pt x="102" y="66"/>
                </a:lnTo>
                <a:lnTo>
                  <a:pt x="106" y="58"/>
                </a:lnTo>
                <a:lnTo>
                  <a:pt x="120" y="50"/>
                </a:lnTo>
                <a:lnTo>
                  <a:pt x="140" y="40"/>
                </a:lnTo>
                <a:lnTo>
                  <a:pt x="166" y="32"/>
                </a:lnTo>
                <a:lnTo>
                  <a:pt x="158" y="26"/>
                </a:lnTo>
                <a:lnTo>
                  <a:pt x="142" y="16"/>
                </a:lnTo>
                <a:lnTo>
                  <a:pt x="128" y="8"/>
                </a:lnTo>
                <a:lnTo>
                  <a:pt x="114" y="10"/>
                </a:lnTo>
                <a:lnTo>
                  <a:pt x="106" y="16"/>
                </a:lnTo>
                <a:lnTo>
                  <a:pt x="94" y="14"/>
                </a:lnTo>
                <a:lnTo>
                  <a:pt x="74" y="6"/>
                </a:lnTo>
                <a:lnTo>
                  <a:pt x="72" y="0"/>
                </a:lnTo>
                <a:lnTo>
                  <a:pt x="54" y="0"/>
                </a:lnTo>
                <a:lnTo>
                  <a:pt x="52" y="6"/>
                </a:lnTo>
                <a:lnTo>
                  <a:pt x="34" y="4"/>
                </a:lnTo>
                <a:lnTo>
                  <a:pt x="20" y="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89" name="Freeform 8">
            <a:extLst>
              <a:ext uri="{FF2B5EF4-FFF2-40B4-BE49-F238E27FC236}">
                <a16:creationId xmlns:a16="http://schemas.microsoft.com/office/drawing/2014/main" id="{AF6D4532-D5CD-4A22-BB7D-D5FC61819EC6}"/>
              </a:ext>
            </a:extLst>
          </p:cNvPr>
          <p:cNvSpPr>
            <a:spLocks/>
          </p:cNvSpPr>
          <p:nvPr/>
        </p:nvSpPr>
        <p:spPr bwMode="gray">
          <a:xfrm>
            <a:off x="1241894" y="1437427"/>
            <a:ext cx="206252" cy="90795"/>
          </a:xfrm>
          <a:custGeom>
            <a:avLst/>
            <a:gdLst>
              <a:gd name="T0" fmla="*/ 104 w 284"/>
              <a:gd name="T1" fmla="*/ 82 h 136"/>
              <a:gd name="T2" fmla="*/ 52 w 284"/>
              <a:gd name="T3" fmla="*/ 78 h 136"/>
              <a:gd name="T4" fmla="*/ 10 w 284"/>
              <a:gd name="T5" fmla="*/ 74 h 136"/>
              <a:gd name="T6" fmla="*/ 30 w 284"/>
              <a:gd name="T7" fmla="*/ 62 h 136"/>
              <a:gd name="T8" fmla="*/ 56 w 284"/>
              <a:gd name="T9" fmla="*/ 54 h 136"/>
              <a:gd name="T10" fmla="*/ 34 w 284"/>
              <a:gd name="T11" fmla="*/ 56 h 136"/>
              <a:gd name="T12" fmla="*/ 14 w 284"/>
              <a:gd name="T13" fmla="*/ 52 h 136"/>
              <a:gd name="T14" fmla="*/ 0 w 284"/>
              <a:gd name="T15" fmla="*/ 42 h 136"/>
              <a:gd name="T16" fmla="*/ 12 w 284"/>
              <a:gd name="T17" fmla="*/ 30 h 136"/>
              <a:gd name="T18" fmla="*/ 26 w 284"/>
              <a:gd name="T19" fmla="*/ 14 h 136"/>
              <a:gd name="T20" fmla="*/ 74 w 284"/>
              <a:gd name="T21" fmla="*/ 0 h 136"/>
              <a:gd name="T22" fmla="*/ 74 w 284"/>
              <a:gd name="T23" fmla="*/ 12 h 136"/>
              <a:gd name="T24" fmla="*/ 84 w 284"/>
              <a:gd name="T25" fmla="*/ 22 h 136"/>
              <a:gd name="T26" fmla="*/ 106 w 284"/>
              <a:gd name="T27" fmla="*/ 12 h 136"/>
              <a:gd name="T28" fmla="*/ 118 w 284"/>
              <a:gd name="T29" fmla="*/ 24 h 136"/>
              <a:gd name="T30" fmla="*/ 128 w 284"/>
              <a:gd name="T31" fmla="*/ 26 h 136"/>
              <a:gd name="T32" fmla="*/ 144 w 284"/>
              <a:gd name="T33" fmla="*/ 18 h 136"/>
              <a:gd name="T34" fmla="*/ 142 w 284"/>
              <a:gd name="T35" fmla="*/ 10 h 136"/>
              <a:gd name="T36" fmla="*/ 162 w 284"/>
              <a:gd name="T37" fmla="*/ 26 h 136"/>
              <a:gd name="T38" fmla="*/ 172 w 284"/>
              <a:gd name="T39" fmla="*/ 48 h 136"/>
              <a:gd name="T40" fmla="*/ 176 w 284"/>
              <a:gd name="T41" fmla="*/ 34 h 136"/>
              <a:gd name="T42" fmla="*/ 170 w 284"/>
              <a:gd name="T43" fmla="*/ 4 h 136"/>
              <a:gd name="T44" fmla="*/ 192 w 284"/>
              <a:gd name="T45" fmla="*/ 4 h 136"/>
              <a:gd name="T46" fmla="*/ 216 w 284"/>
              <a:gd name="T47" fmla="*/ 24 h 136"/>
              <a:gd name="T48" fmla="*/ 230 w 284"/>
              <a:gd name="T49" fmla="*/ 52 h 136"/>
              <a:gd name="T50" fmla="*/ 228 w 284"/>
              <a:gd name="T51" fmla="*/ 66 h 136"/>
              <a:gd name="T52" fmla="*/ 248 w 284"/>
              <a:gd name="T53" fmla="*/ 82 h 136"/>
              <a:gd name="T54" fmla="*/ 268 w 284"/>
              <a:gd name="T55" fmla="*/ 90 h 136"/>
              <a:gd name="T56" fmla="*/ 280 w 284"/>
              <a:gd name="T57" fmla="*/ 104 h 136"/>
              <a:gd name="T58" fmla="*/ 254 w 284"/>
              <a:gd name="T59" fmla="*/ 106 h 136"/>
              <a:gd name="T60" fmla="*/ 268 w 284"/>
              <a:gd name="T61" fmla="*/ 116 h 136"/>
              <a:gd name="T62" fmla="*/ 262 w 284"/>
              <a:gd name="T63" fmla="*/ 128 h 136"/>
              <a:gd name="T64" fmla="*/ 216 w 284"/>
              <a:gd name="T65" fmla="*/ 128 h 136"/>
              <a:gd name="T66" fmla="*/ 202 w 284"/>
              <a:gd name="T67" fmla="*/ 122 h 136"/>
              <a:gd name="T68" fmla="*/ 184 w 284"/>
              <a:gd name="T69" fmla="*/ 122 h 136"/>
              <a:gd name="T70" fmla="*/ 152 w 284"/>
              <a:gd name="T71" fmla="*/ 134 h 136"/>
              <a:gd name="T72" fmla="*/ 84 w 284"/>
              <a:gd name="T73" fmla="*/ 130 h 136"/>
              <a:gd name="T74" fmla="*/ 40 w 284"/>
              <a:gd name="T75" fmla="*/ 118 h 136"/>
              <a:gd name="T76" fmla="*/ 30 w 284"/>
              <a:gd name="T77" fmla="*/ 92 h 136"/>
              <a:gd name="T78" fmla="*/ 80 w 284"/>
              <a:gd name="T79" fmla="*/ 88 h 136"/>
              <a:gd name="T80" fmla="*/ 110 w 284"/>
              <a:gd name="T81" fmla="*/ 90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84" h="136">
                <a:moveTo>
                  <a:pt x="110" y="90"/>
                </a:moveTo>
                <a:lnTo>
                  <a:pt x="104" y="82"/>
                </a:lnTo>
                <a:lnTo>
                  <a:pt x="86" y="76"/>
                </a:lnTo>
                <a:lnTo>
                  <a:pt x="52" y="78"/>
                </a:lnTo>
                <a:lnTo>
                  <a:pt x="28" y="80"/>
                </a:lnTo>
                <a:lnTo>
                  <a:pt x="10" y="74"/>
                </a:lnTo>
                <a:lnTo>
                  <a:pt x="14" y="62"/>
                </a:lnTo>
                <a:lnTo>
                  <a:pt x="30" y="62"/>
                </a:lnTo>
                <a:lnTo>
                  <a:pt x="46" y="58"/>
                </a:lnTo>
                <a:lnTo>
                  <a:pt x="56" y="54"/>
                </a:lnTo>
                <a:lnTo>
                  <a:pt x="46" y="52"/>
                </a:lnTo>
                <a:lnTo>
                  <a:pt x="34" y="56"/>
                </a:lnTo>
                <a:lnTo>
                  <a:pt x="20" y="56"/>
                </a:lnTo>
                <a:lnTo>
                  <a:pt x="14" y="52"/>
                </a:lnTo>
                <a:lnTo>
                  <a:pt x="0" y="50"/>
                </a:lnTo>
                <a:lnTo>
                  <a:pt x="0" y="42"/>
                </a:lnTo>
                <a:lnTo>
                  <a:pt x="8" y="36"/>
                </a:lnTo>
                <a:lnTo>
                  <a:pt x="12" y="30"/>
                </a:lnTo>
                <a:lnTo>
                  <a:pt x="10" y="22"/>
                </a:lnTo>
                <a:lnTo>
                  <a:pt x="26" y="14"/>
                </a:lnTo>
                <a:lnTo>
                  <a:pt x="50" y="4"/>
                </a:lnTo>
                <a:lnTo>
                  <a:pt x="74" y="0"/>
                </a:lnTo>
                <a:lnTo>
                  <a:pt x="76" y="8"/>
                </a:lnTo>
                <a:lnTo>
                  <a:pt x="74" y="12"/>
                </a:lnTo>
                <a:lnTo>
                  <a:pt x="70" y="18"/>
                </a:lnTo>
                <a:lnTo>
                  <a:pt x="84" y="22"/>
                </a:lnTo>
                <a:lnTo>
                  <a:pt x="90" y="8"/>
                </a:lnTo>
                <a:lnTo>
                  <a:pt x="106" y="12"/>
                </a:lnTo>
                <a:lnTo>
                  <a:pt x="122" y="18"/>
                </a:lnTo>
                <a:lnTo>
                  <a:pt x="118" y="24"/>
                </a:lnTo>
                <a:lnTo>
                  <a:pt x="120" y="28"/>
                </a:lnTo>
                <a:lnTo>
                  <a:pt x="128" y="26"/>
                </a:lnTo>
                <a:lnTo>
                  <a:pt x="142" y="26"/>
                </a:lnTo>
                <a:lnTo>
                  <a:pt x="144" y="18"/>
                </a:lnTo>
                <a:lnTo>
                  <a:pt x="136" y="12"/>
                </a:lnTo>
                <a:lnTo>
                  <a:pt x="142" y="10"/>
                </a:lnTo>
                <a:lnTo>
                  <a:pt x="154" y="16"/>
                </a:lnTo>
                <a:lnTo>
                  <a:pt x="162" y="26"/>
                </a:lnTo>
                <a:lnTo>
                  <a:pt x="166" y="38"/>
                </a:lnTo>
                <a:lnTo>
                  <a:pt x="172" y="48"/>
                </a:lnTo>
                <a:lnTo>
                  <a:pt x="182" y="44"/>
                </a:lnTo>
                <a:lnTo>
                  <a:pt x="176" y="34"/>
                </a:lnTo>
                <a:lnTo>
                  <a:pt x="172" y="16"/>
                </a:lnTo>
                <a:lnTo>
                  <a:pt x="170" y="4"/>
                </a:lnTo>
                <a:lnTo>
                  <a:pt x="178" y="0"/>
                </a:lnTo>
                <a:lnTo>
                  <a:pt x="192" y="4"/>
                </a:lnTo>
                <a:lnTo>
                  <a:pt x="206" y="12"/>
                </a:lnTo>
                <a:lnTo>
                  <a:pt x="216" y="24"/>
                </a:lnTo>
                <a:lnTo>
                  <a:pt x="222" y="40"/>
                </a:lnTo>
                <a:lnTo>
                  <a:pt x="230" y="52"/>
                </a:lnTo>
                <a:lnTo>
                  <a:pt x="230" y="60"/>
                </a:lnTo>
                <a:lnTo>
                  <a:pt x="228" y="66"/>
                </a:lnTo>
                <a:lnTo>
                  <a:pt x="238" y="78"/>
                </a:lnTo>
                <a:lnTo>
                  <a:pt x="248" y="82"/>
                </a:lnTo>
                <a:lnTo>
                  <a:pt x="260" y="84"/>
                </a:lnTo>
                <a:lnTo>
                  <a:pt x="268" y="90"/>
                </a:lnTo>
                <a:lnTo>
                  <a:pt x="284" y="100"/>
                </a:lnTo>
                <a:lnTo>
                  <a:pt x="280" y="104"/>
                </a:lnTo>
                <a:lnTo>
                  <a:pt x="264" y="104"/>
                </a:lnTo>
                <a:lnTo>
                  <a:pt x="254" y="106"/>
                </a:lnTo>
                <a:lnTo>
                  <a:pt x="256" y="112"/>
                </a:lnTo>
                <a:lnTo>
                  <a:pt x="268" y="116"/>
                </a:lnTo>
                <a:lnTo>
                  <a:pt x="272" y="126"/>
                </a:lnTo>
                <a:lnTo>
                  <a:pt x="262" y="128"/>
                </a:lnTo>
                <a:lnTo>
                  <a:pt x="240" y="130"/>
                </a:lnTo>
                <a:lnTo>
                  <a:pt x="216" y="128"/>
                </a:lnTo>
                <a:lnTo>
                  <a:pt x="212" y="122"/>
                </a:lnTo>
                <a:lnTo>
                  <a:pt x="202" y="122"/>
                </a:lnTo>
                <a:lnTo>
                  <a:pt x="196" y="108"/>
                </a:lnTo>
                <a:lnTo>
                  <a:pt x="184" y="122"/>
                </a:lnTo>
                <a:lnTo>
                  <a:pt x="168" y="126"/>
                </a:lnTo>
                <a:lnTo>
                  <a:pt x="152" y="134"/>
                </a:lnTo>
                <a:lnTo>
                  <a:pt x="90" y="136"/>
                </a:lnTo>
                <a:lnTo>
                  <a:pt x="84" y="130"/>
                </a:lnTo>
                <a:lnTo>
                  <a:pt x="82" y="118"/>
                </a:lnTo>
                <a:lnTo>
                  <a:pt x="40" y="118"/>
                </a:lnTo>
                <a:lnTo>
                  <a:pt x="22" y="100"/>
                </a:lnTo>
                <a:lnTo>
                  <a:pt x="30" y="92"/>
                </a:lnTo>
                <a:lnTo>
                  <a:pt x="48" y="90"/>
                </a:lnTo>
                <a:lnTo>
                  <a:pt x="80" y="88"/>
                </a:lnTo>
                <a:lnTo>
                  <a:pt x="98" y="90"/>
                </a:lnTo>
                <a:lnTo>
                  <a:pt x="110" y="9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90" name="Freeform 9">
            <a:extLst>
              <a:ext uri="{FF2B5EF4-FFF2-40B4-BE49-F238E27FC236}">
                <a16:creationId xmlns:a16="http://schemas.microsoft.com/office/drawing/2014/main" id="{9275274D-EA0B-44CB-984D-0B18B9E7CCB3}"/>
              </a:ext>
            </a:extLst>
          </p:cNvPr>
          <p:cNvSpPr>
            <a:spLocks/>
          </p:cNvSpPr>
          <p:nvPr/>
        </p:nvSpPr>
        <p:spPr bwMode="gray">
          <a:xfrm>
            <a:off x="1257871" y="1361319"/>
            <a:ext cx="137986" cy="54744"/>
          </a:xfrm>
          <a:custGeom>
            <a:avLst/>
            <a:gdLst>
              <a:gd name="T0" fmla="*/ 98 w 190"/>
              <a:gd name="T1" fmla="*/ 56 h 82"/>
              <a:gd name="T2" fmla="*/ 80 w 190"/>
              <a:gd name="T3" fmla="*/ 56 h 82"/>
              <a:gd name="T4" fmla="*/ 58 w 190"/>
              <a:gd name="T5" fmla="*/ 56 h 82"/>
              <a:gd name="T6" fmla="*/ 62 w 190"/>
              <a:gd name="T7" fmla="*/ 48 h 82"/>
              <a:gd name="T8" fmla="*/ 52 w 190"/>
              <a:gd name="T9" fmla="*/ 50 h 82"/>
              <a:gd name="T10" fmla="*/ 48 w 190"/>
              <a:gd name="T11" fmla="*/ 58 h 82"/>
              <a:gd name="T12" fmla="*/ 30 w 190"/>
              <a:gd name="T13" fmla="*/ 62 h 82"/>
              <a:gd name="T14" fmla="*/ 20 w 190"/>
              <a:gd name="T15" fmla="*/ 58 h 82"/>
              <a:gd name="T16" fmla="*/ 2 w 190"/>
              <a:gd name="T17" fmla="*/ 56 h 82"/>
              <a:gd name="T18" fmla="*/ 0 w 190"/>
              <a:gd name="T19" fmla="*/ 48 h 82"/>
              <a:gd name="T20" fmla="*/ 18 w 190"/>
              <a:gd name="T21" fmla="*/ 46 h 82"/>
              <a:gd name="T22" fmla="*/ 4 w 190"/>
              <a:gd name="T23" fmla="*/ 42 h 82"/>
              <a:gd name="T24" fmla="*/ 10 w 190"/>
              <a:gd name="T25" fmla="*/ 36 h 82"/>
              <a:gd name="T26" fmla="*/ 34 w 190"/>
              <a:gd name="T27" fmla="*/ 34 h 82"/>
              <a:gd name="T28" fmla="*/ 16 w 190"/>
              <a:gd name="T29" fmla="*/ 30 h 82"/>
              <a:gd name="T30" fmla="*/ 18 w 190"/>
              <a:gd name="T31" fmla="*/ 24 h 82"/>
              <a:gd name="T32" fmla="*/ 26 w 190"/>
              <a:gd name="T33" fmla="*/ 20 h 82"/>
              <a:gd name="T34" fmla="*/ 34 w 190"/>
              <a:gd name="T35" fmla="*/ 16 h 82"/>
              <a:gd name="T36" fmla="*/ 50 w 190"/>
              <a:gd name="T37" fmla="*/ 14 h 82"/>
              <a:gd name="T38" fmla="*/ 58 w 190"/>
              <a:gd name="T39" fmla="*/ 22 h 82"/>
              <a:gd name="T40" fmla="*/ 66 w 190"/>
              <a:gd name="T41" fmla="*/ 20 h 82"/>
              <a:gd name="T42" fmla="*/ 74 w 190"/>
              <a:gd name="T43" fmla="*/ 20 h 82"/>
              <a:gd name="T44" fmla="*/ 88 w 190"/>
              <a:gd name="T45" fmla="*/ 28 h 82"/>
              <a:gd name="T46" fmla="*/ 98 w 190"/>
              <a:gd name="T47" fmla="*/ 36 h 82"/>
              <a:gd name="T48" fmla="*/ 98 w 190"/>
              <a:gd name="T49" fmla="*/ 40 h 82"/>
              <a:gd name="T50" fmla="*/ 98 w 190"/>
              <a:gd name="T51" fmla="*/ 42 h 82"/>
              <a:gd name="T52" fmla="*/ 100 w 190"/>
              <a:gd name="T53" fmla="*/ 44 h 82"/>
              <a:gd name="T54" fmla="*/ 136 w 190"/>
              <a:gd name="T55" fmla="*/ 44 h 82"/>
              <a:gd name="T56" fmla="*/ 136 w 190"/>
              <a:gd name="T57" fmla="*/ 38 h 82"/>
              <a:gd name="T58" fmla="*/ 118 w 190"/>
              <a:gd name="T59" fmla="*/ 34 h 82"/>
              <a:gd name="T60" fmla="*/ 130 w 190"/>
              <a:gd name="T61" fmla="*/ 28 h 82"/>
              <a:gd name="T62" fmla="*/ 128 w 190"/>
              <a:gd name="T63" fmla="*/ 24 h 82"/>
              <a:gd name="T64" fmla="*/ 116 w 190"/>
              <a:gd name="T65" fmla="*/ 20 h 82"/>
              <a:gd name="T66" fmla="*/ 122 w 190"/>
              <a:gd name="T67" fmla="*/ 10 h 82"/>
              <a:gd name="T68" fmla="*/ 130 w 190"/>
              <a:gd name="T69" fmla="*/ 0 h 82"/>
              <a:gd name="T70" fmla="*/ 140 w 190"/>
              <a:gd name="T71" fmla="*/ 2 h 82"/>
              <a:gd name="T72" fmla="*/ 142 w 190"/>
              <a:gd name="T73" fmla="*/ 8 h 82"/>
              <a:gd name="T74" fmla="*/ 148 w 190"/>
              <a:gd name="T75" fmla="*/ 16 h 82"/>
              <a:gd name="T76" fmla="*/ 146 w 190"/>
              <a:gd name="T77" fmla="*/ 22 h 82"/>
              <a:gd name="T78" fmla="*/ 148 w 190"/>
              <a:gd name="T79" fmla="*/ 30 h 82"/>
              <a:gd name="T80" fmla="*/ 162 w 190"/>
              <a:gd name="T81" fmla="*/ 34 h 82"/>
              <a:gd name="T82" fmla="*/ 168 w 190"/>
              <a:gd name="T83" fmla="*/ 34 h 82"/>
              <a:gd name="T84" fmla="*/ 172 w 190"/>
              <a:gd name="T85" fmla="*/ 28 h 82"/>
              <a:gd name="T86" fmla="*/ 184 w 190"/>
              <a:gd name="T87" fmla="*/ 28 h 82"/>
              <a:gd name="T88" fmla="*/ 190 w 190"/>
              <a:gd name="T89" fmla="*/ 34 h 82"/>
              <a:gd name="T90" fmla="*/ 190 w 190"/>
              <a:gd name="T91" fmla="*/ 48 h 82"/>
              <a:gd name="T92" fmla="*/ 182 w 190"/>
              <a:gd name="T93" fmla="*/ 58 h 82"/>
              <a:gd name="T94" fmla="*/ 168 w 190"/>
              <a:gd name="T95" fmla="*/ 64 h 82"/>
              <a:gd name="T96" fmla="*/ 148 w 190"/>
              <a:gd name="T97" fmla="*/ 58 h 82"/>
              <a:gd name="T98" fmla="*/ 134 w 190"/>
              <a:gd name="T99" fmla="*/ 64 h 82"/>
              <a:gd name="T100" fmla="*/ 114 w 190"/>
              <a:gd name="T101" fmla="*/ 66 h 82"/>
              <a:gd name="T102" fmla="*/ 96 w 190"/>
              <a:gd name="T103" fmla="*/ 76 h 82"/>
              <a:gd name="T104" fmla="*/ 74 w 190"/>
              <a:gd name="T105" fmla="*/ 82 h 82"/>
              <a:gd name="T106" fmla="*/ 58 w 190"/>
              <a:gd name="T107" fmla="*/ 78 h 82"/>
              <a:gd name="T108" fmla="*/ 50 w 190"/>
              <a:gd name="T109" fmla="*/ 70 h 82"/>
              <a:gd name="T110" fmla="*/ 62 w 190"/>
              <a:gd name="T111" fmla="*/ 64 h 82"/>
              <a:gd name="T112" fmla="*/ 80 w 190"/>
              <a:gd name="T113" fmla="*/ 64 h 82"/>
              <a:gd name="T114" fmla="*/ 96 w 190"/>
              <a:gd name="T115" fmla="*/ 62 h 82"/>
              <a:gd name="T116" fmla="*/ 98 w 190"/>
              <a:gd name="T117" fmla="*/ 56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90" h="82">
                <a:moveTo>
                  <a:pt x="98" y="56"/>
                </a:moveTo>
                <a:lnTo>
                  <a:pt x="80" y="56"/>
                </a:lnTo>
                <a:lnTo>
                  <a:pt x="58" y="56"/>
                </a:lnTo>
                <a:lnTo>
                  <a:pt x="62" y="48"/>
                </a:lnTo>
                <a:lnTo>
                  <a:pt x="52" y="50"/>
                </a:lnTo>
                <a:lnTo>
                  <a:pt x="48" y="58"/>
                </a:lnTo>
                <a:lnTo>
                  <a:pt x="30" y="62"/>
                </a:lnTo>
                <a:lnTo>
                  <a:pt x="20" y="58"/>
                </a:lnTo>
                <a:lnTo>
                  <a:pt x="2" y="56"/>
                </a:lnTo>
                <a:lnTo>
                  <a:pt x="0" y="48"/>
                </a:lnTo>
                <a:lnTo>
                  <a:pt x="18" y="46"/>
                </a:lnTo>
                <a:lnTo>
                  <a:pt x="4" y="42"/>
                </a:lnTo>
                <a:lnTo>
                  <a:pt x="10" y="36"/>
                </a:lnTo>
                <a:lnTo>
                  <a:pt x="34" y="34"/>
                </a:lnTo>
                <a:lnTo>
                  <a:pt x="16" y="30"/>
                </a:lnTo>
                <a:lnTo>
                  <a:pt x="18" y="24"/>
                </a:lnTo>
                <a:lnTo>
                  <a:pt x="26" y="20"/>
                </a:lnTo>
                <a:lnTo>
                  <a:pt x="34" y="16"/>
                </a:lnTo>
                <a:lnTo>
                  <a:pt x="50" y="14"/>
                </a:lnTo>
                <a:lnTo>
                  <a:pt x="58" y="22"/>
                </a:lnTo>
                <a:lnTo>
                  <a:pt x="66" y="20"/>
                </a:lnTo>
                <a:lnTo>
                  <a:pt x="74" y="20"/>
                </a:lnTo>
                <a:lnTo>
                  <a:pt x="88" y="28"/>
                </a:lnTo>
                <a:lnTo>
                  <a:pt x="98" y="36"/>
                </a:lnTo>
                <a:lnTo>
                  <a:pt x="98" y="40"/>
                </a:lnTo>
                <a:lnTo>
                  <a:pt x="98" y="42"/>
                </a:lnTo>
                <a:lnTo>
                  <a:pt x="100" y="44"/>
                </a:lnTo>
                <a:lnTo>
                  <a:pt x="136" y="44"/>
                </a:lnTo>
                <a:lnTo>
                  <a:pt x="136" y="38"/>
                </a:lnTo>
                <a:lnTo>
                  <a:pt x="118" y="34"/>
                </a:lnTo>
                <a:lnTo>
                  <a:pt x="130" y="28"/>
                </a:lnTo>
                <a:lnTo>
                  <a:pt x="128" y="24"/>
                </a:lnTo>
                <a:lnTo>
                  <a:pt x="116" y="20"/>
                </a:lnTo>
                <a:lnTo>
                  <a:pt x="122" y="10"/>
                </a:lnTo>
                <a:lnTo>
                  <a:pt x="130" y="0"/>
                </a:lnTo>
                <a:lnTo>
                  <a:pt x="140" y="2"/>
                </a:lnTo>
                <a:lnTo>
                  <a:pt x="142" y="8"/>
                </a:lnTo>
                <a:lnTo>
                  <a:pt x="148" y="16"/>
                </a:lnTo>
                <a:lnTo>
                  <a:pt x="146" y="22"/>
                </a:lnTo>
                <a:lnTo>
                  <a:pt x="148" y="30"/>
                </a:lnTo>
                <a:lnTo>
                  <a:pt x="162" y="34"/>
                </a:lnTo>
                <a:lnTo>
                  <a:pt x="168" y="34"/>
                </a:lnTo>
                <a:lnTo>
                  <a:pt x="172" y="28"/>
                </a:lnTo>
                <a:lnTo>
                  <a:pt x="184" y="28"/>
                </a:lnTo>
                <a:lnTo>
                  <a:pt x="190" y="34"/>
                </a:lnTo>
                <a:lnTo>
                  <a:pt x="190" y="48"/>
                </a:lnTo>
                <a:lnTo>
                  <a:pt x="182" y="58"/>
                </a:lnTo>
                <a:lnTo>
                  <a:pt x="168" y="64"/>
                </a:lnTo>
                <a:lnTo>
                  <a:pt x="148" y="58"/>
                </a:lnTo>
                <a:lnTo>
                  <a:pt x="134" y="64"/>
                </a:lnTo>
                <a:lnTo>
                  <a:pt x="114" y="66"/>
                </a:lnTo>
                <a:lnTo>
                  <a:pt x="96" y="76"/>
                </a:lnTo>
                <a:lnTo>
                  <a:pt x="74" y="82"/>
                </a:lnTo>
                <a:lnTo>
                  <a:pt x="58" y="78"/>
                </a:lnTo>
                <a:lnTo>
                  <a:pt x="50" y="70"/>
                </a:lnTo>
                <a:lnTo>
                  <a:pt x="62" y="64"/>
                </a:lnTo>
                <a:lnTo>
                  <a:pt x="80" y="64"/>
                </a:lnTo>
                <a:lnTo>
                  <a:pt x="96" y="62"/>
                </a:lnTo>
                <a:lnTo>
                  <a:pt x="98" y="5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91" name="Freeform 10">
            <a:extLst>
              <a:ext uri="{FF2B5EF4-FFF2-40B4-BE49-F238E27FC236}">
                <a16:creationId xmlns:a16="http://schemas.microsoft.com/office/drawing/2014/main" id="{4103D8A7-DDE1-4775-A0B5-61E79DA5CA5C}"/>
              </a:ext>
            </a:extLst>
          </p:cNvPr>
          <p:cNvSpPr>
            <a:spLocks/>
          </p:cNvSpPr>
          <p:nvPr/>
        </p:nvSpPr>
        <p:spPr bwMode="gray">
          <a:xfrm>
            <a:off x="1395857" y="1303905"/>
            <a:ext cx="76981" cy="37386"/>
          </a:xfrm>
          <a:custGeom>
            <a:avLst/>
            <a:gdLst>
              <a:gd name="T0" fmla="*/ 0 w 106"/>
              <a:gd name="T1" fmla="*/ 12 h 56"/>
              <a:gd name="T2" fmla="*/ 16 w 106"/>
              <a:gd name="T3" fmla="*/ 16 h 56"/>
              <a:gd name="T4" fmla="*/ 26 w 106"/>
              <a:gd name="T5" fmla="*/ 20 h 56"/>
              <a:gd name="T6" fmla="*/ 34 w 106"/>
              <a:gd name="T7" fmla="*/ 28 h 56"/>
              <a:gd name="T8" fmla="*/ 32 w 106"/>
              <a:gd name="T9" fmla="*/ 30 h 56"/>
              <a:gd name="T10" fmla="*/ 18 w 106"/>
              <a:gd name="T11" fmla="*/ 28 h 56"/>
              <a:gd name="T12" fmla="*/ 10 w 106"/>
              <a:gd name="T13" fmla="*/ 30 h 56"/>
              <a:gd name="T14" fmla="*/ 8 w 106"/>
              <a:gd name="T15" fmla="*/ 40 h 56"/>
              <a:gd name="T16" fmla="*/ 20 w 106"/>
              <a:gd name="T17" fmla="*/ 42 h 56"/>
              <a:gd name="T18" fmla="*/ 34 w 106"/>
              <a:gd name="T19" fmla="*/ 40 h 56"/>
              <a:gd name="T20" fmla="*/ 50 w 106"/>
              <a:gd name="T21" fmla="*/ 38 h 56"/>
              <a:gd name="T22" fmla="*/ 66 w 106"/>
              <a:gd name="T23" fmla="*/ 40 h 56"/>
              <a:gd name="T24" fmla="*/ 74 w 106"/>
              <a:gd name="T25" fmla="*/ 46 h 56"/>
              <a:gd name="T26" fmla="*/ 82 w 106"/>
              <a:gd name="T27" fmla="*/ 56 h 56"/>
              <a:gd name="T28" fmla="*/ 98 w 106"/>
              <a:gd name="T29" fmla="*/ 56 h 56"/>
              <a:gd name="T30" fmla="*/ 106 w 106"/>
              <a:gd name="T31" fmla="*/ 48 h 56"/>
              <a:gd name="T32" fmla="*/ 94 w 106"/>
              <a:gd name="T33" fmla="*/ 38 h 56"/>
              <a:gd name="T34" fmla="*/ 90 w 106"/>
              <a:gd name="T35" fmla="*/ 28 h 56"/>
              <a:gd name="T36" fmla="*/ 80 w 106"/>
              <a:gd name="T37" fmla="*/ 20 h 56"/>
              <a:gd name="T38" fmla="*/ 70 w 106"/>
              <a:gd name="T39" fmla="*/ 18 h 56"/>
              <a:gd name="T40" fmla="*/ 64 w 106"/>
              <a:gd name="T41" fmla="*/ 12 h 56"/>
              <a:gd name="T42" fmla="*/ 50 w 106"/>
              <a:gd name="T43" fmla="*/ 10 h 56"/>
              <a:gd name="T44" fmla="*/ 44 w 106"/>
              <a:gd name="T45" fmla="*/ 20 h 56"/>
              <a:gd name="T46" fmla="*/ 42 w 106"/>
              <a:gd name="T47" fmla="*/ 10 h 56"/>
              <a:gd name="T48" fmla="*/ 40 w 106"/>
              <a:gd name="T49" fmla="*/ 2 h 56"/>
              <a:gd name="T50" fmla="*/ 18 w 106"/>
              <a:gd name="T51" fmla="*/ 0 h 56"/>
              <a:gd name="T52" fmla="*/ 0 w 106"/>
              <a:gd name="T53" fmla="*/ 2 h 56"/>
              <a:gd name="T54" fmla="*/ 0 w 106"/>
              <a:gd name="T55" fmla="*/ 12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06" h="56">
                <a:moveTo>
                  <a:pt x="0" y="12"/>
                </a:moveTo>
                <a:lnTo>
                  <a:pt x="16" y="16"/>
                </a:lnTo>
                <a:lnTo>
                  <a:pt x="26" y="20"/>
                </a:lnTo>
                <a:lnTo>
                  <a:pt x="34" y="28"/>
                </a:lnTo>
                <a:lnTo>
                  <a:pt x="32" y="30"/>
                </a:lnTo>
                <a:lnTo>
                  <a:pt x="18" y="28"/>
                </a:lnTo>
                <a:lnTo>
                  <a:pt x="10" y="30"/>
                </a:lnTo>
                <a:lnTo>
                  <a:pt x="8" y="40"/>
                </a:lnTo>
                <a:lnTo>
                  <a:pt x="20" y="42"/>
                </a:lnTo>
                <a:lnTo>
                  <a:pt x="34" y="40"/>
                </a:lnTo>
                <a:lnTo>
                  <a:pt x="50" y="38"/>
                </a:lnTo>
                <a:lnTo>
                  <a:pt x="66" y="40"/>
                </a:lnTo>
                <a:lnTo>
                  <a:pt x="74" y="46"/>
                </a:lnTo>
                <a:lnTo>
                  <a:pt x="82" y="56"/>
                </a:lnTo>
                <a:lnTo>
                  <a:pt x="98" y="56"/>
                </a:lnTo>
                <a:lnTo>
                  <a:pt x="106" y="48"/>
                </a:lnTo>
                <a:lnTo>
                  <a:pt x="94" y="38"/>
                </a:lnTo>
                <a:lnTo>
                  <a:pt x="90" y="28"/>
                </a:lnTo>
                <a:lnTo>
                  <a:pt x="80" y="20"/>
                </a:lnTo>
                <a:lnTo>
                  <a:pt x="70" y="18"/>
                </a:lnTo>
                <a:lnTo>
                  <a:pt x="64" y="12"/>
                </a:lnTo>
                <a:lnTo>
                  <a:pt x="50" y="10"/>
                </a:lnTo>
                <a:lnTo>
                  <a:pt x="44" y="20"/>
                </a:lnTo>
                <a:lnTo>
                  <a:pt x="42" y="10"/>
                </a:lnTo>
                <a:lnTo>
                  <a:pt x="40" y="2"/>
                </a:lnTo>
                <a:lnTo>
                  <a:pt x="18" y="0"/>
                </a:lnTo>
                <a:lnTo>
                  <a:pt x="0" y="2"/>
                </a:lnTo>
                <a:lnTo>
                  <a:pt x="0" y="1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92" name="Freeform 11">
            <a:extLst>
              <a:ext uri="{FF2B5EF4-FFF2-40B4-BE49-F238E27FC236}">
                <a16:creationId xmlns:a16="http://schemas.microsoft.com/office/drawing/2014/main" id="{5273863D-925D-4EC7-BD38-3A6E375379CB}"/>
              </a:ext>
            </a:extLst>
          </p:cNvPr>
          <p:cNvSpPr>
            <a:spLocks/>
          </p:cNvSpPr>
          <p:nvPr/>
        </p:nvSpPr>
        <p:spPr bwMode="gray">
          <a:xfrm>
            <a:off x="1407477" y="1365325"/>
            <a:ext cx="81339" cy="37386"/>
          </a:xfrm>
          <a:custGeom>
            <a:avLst/>
            <a:gdLst>
              <a:gd name="T0" fmla="*/ 104 w 112"/>
              <a:gd name="T1" fmla="*/ 52 h 56"/>
              <a:gd name="T2" fmla="*/ 92 w 112"/>
              <a:gd name="T3" fmla="*/ 54 h 56"/>
              <a:gd name="T4" fmla="*/ 70 w 112"/>
              <a:gd name="T5" fmla="*/ 56 h 56"/>
              <a:gd name="T6" fmla="*/ 66 w 112"/>
              <a:gd name="T7" fmla="*/ 44 h 56"/>
              <a:gd name="T8" fmla="*/ 74 w 112"/>
              <a:gd name="T9" fmla="*/ 36 h 56"/>
              <a:gd name="T10" fmla="*/ 68 w 112"/>
              <a:gd name="T11" fmla="*/ 36 h 56"/>
              <a:gd name="T12" fmla="*/ 58 w 112"/>
              <a:gd name="T13" fmla="*/ 34 h 56"/>
              <a:gd name="T14" fmla="*/ 48 w 112"/>
              <a:gd name="T15" fmla="*/ 34 h 56"/>
              <a:gd name="T16" fmla="*/ 36 w 112"/>
              <a:gd name="T17" fmla="*/ 38 h 56"/>
              <a:gd name="T18" fmla="*/ 26 w 112"/>
              <a:gd name="T19" fmla="*/ 34 h 56"/>
              <a:gd name="T20" fmla="*/ 8 w 112"/>
              <a:gd name="T21" fmla="*/ 20 h 56"/>
              <a:gd name="T22" fmla="*/ 0 w 112"/>
              <a:gd name="T23" fmla="*/ 4 h 56"/>
              <a:gd name="T24" fmla="*/ 8 w 112"/>
              <a:gd name="T25" fmla="*/ 0 h 56"/>
              <a:gd name="T26" fmla="*/ 18 w 112"/>
              <a:gd name="T27" fmla="*/ 6 h 56"/>
              <a:gd name="T28" fmla="*/ 26 w 112"/>
              <a:gd name="T29" fmla="*/ 14 h 56"/>
              <a:gd name="T30" fmla="*/ 40 w 112"/>
              <a:gd name="T31" fmla="*/ 26 h 56"/>
              <a:gd name="T32" fmla="*/ 48 w 112"/>
              <a:gd name="T33" fmla="*/ 24 h 56"/>
              <a:gd name="T34" fmla="*/ 40 w 112"/>
              <a:gd name="T35" fmla="*/ 16 h 56"/>
              <a:gd name="T36" fmla="*/ 40 w 112"/>
              <a:gd name="T37" fmla="*/ 10 h 56"/>
              <a:gd name="T38" fmla="*/ 48 w 112"/>
              <a:gd name="T39" fmla="*/ 8 h 56"/>
              <a:gd name="T40" fmla="*/ 58 w 112"/>
              <a:gd name="T41" fmla="*/ 16 h 56"/>
              <a:gd name="T42" fmla="*/ 70 w 112"/>
              <a:gd name="T43" fmla="*/ 26 h 56"/>
              <a:gd name="T44" fmla="*/ 74 w 112"/>
              <a:gd name="T45" fmla="*/ 20 h 56"/>
              <a:gd name="T46" fmla="*/ 68 w 112"/>
              <a:gd name="T47" fmla="*/ 12 h 56"/>
              <a:gd name="T48" fmla="*/ 62 w 112"/>
              <a:gd name="T49" fmla="*/ 4 h 56"/>
              <a:gd name="T50" fmla="*/ 64 w 112"/>
              <a:gd name="T51" fmla="*/ 0 h 56"/>
              <a:gd name="T52" fmla="*/ 78 w 112"/>
              <a:gd name="T53" fmla="*/ 2 h 56"/>
              <a:gd name="T54" fmla="*/ 84 w 112"/>
              <a:gd name="T55" fmla="*/ 8 h 56"/>
              <a:gd name="T56" fmla="*/ 92 w 112"/>
              <a:gd name="T57" fmla="*/ 4 h 56"/>
              <a:gd name="T58" fmla="*/ 104 w 112"/>
              <a:gd name="T59" fmla="*/ 4 h 56"/>
              <a:gd name="T60" fmla="*/ 108 w 112"/>
              <a:gd name="T61" fmla="*/ 10 h 56"/>
              <a:gd name="T62" fmla="*/ 110 w 112"/>
              <a:gd name="T63" fmla="*/ 28 h 56"/>
              <a:gd name="T64" fmla="*/ 112 w 112"/>
              <a:gd name="T65" fmla="*/ 36 h 56"/>
              <a:gd name="T66" fmla="*/ 104 w 112"/>
              <a:gd name="T67" fmla="*/ 40 h 56"/>
              <a:gd name="T68" fmla="*/ 104 w 112"/>
              <a:gd name="T69" fmla="*/ 52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12" h="56">
                <a:moveTo>
                  <a:pt x="104" y="52"/>
                </a:moveTo>
                <a:lnTo>
                  <a:pt x="92" y="54"/>
                </a:lnTo>
                <a:lnTo>
                  <a:pt x="70" y="56"/>
                </a:lnTo>
                <a:lnTo>
                  <a:pt x="66" y="44"/>
                </a:lnTo>
                <a:lnTo>
                  <a:pt x="74" y="36"/>
                </a:lnTo>
                <a:lnTo>
                  <a:pt x="68" y="36"/>
                </a:lnTo>
                <a:lnTo>
                  <a:pt x="58" y="34"/>
                </a:lnTo>
                <a:lnTo>
                  <a:pt x="48" y="34"/>
                </a:lnTo>
                <a:lnTo>
                  <a:pt x="36" y="38"/>
                </a:lnTo>
                <a:lnTo>
                  <a:pt x="26" y="34"/>
                </a:lnTo>
                <a:lnTo>
                  <a:pt x="8" y="20"/>
                </a:lnTo>
                <a:lnTo>
                  <a:pt x="0" y="4"/>
                </a:lnTo>
                <a:lnTo>
                  <a:pt x="8" y="0"/>
                </a:lnTo>
                <a:lnTo>
                  <a:pt x="18" y="6"/>
                </a:lnTo>
                <a:lnTo>
                  <a:pt x="26" y="14"/>
                </a:lnTo>
                <a:lnTo>
                  <a:pt x="40" y="26"/>
                </a:lnTo>
                <a:lnTo>
                  <a:pt x="48" y="24"/>
                </a:lnTo>
                <a:lnTo>
                  <a:pt x="40" y="16"/>
                </a:lnTo>
                <a:lnTo>
                  <a:pt x="40" y="10"/>
                </a:lnTo>
                <a:lnTo>
                  <a:pt x="48" y="8"/>
                </a:lnTo>
                <a:lnTo>
                  <a:pt x="58" y="16"/>
                </a:lnTo>
                <a:lnTo>
                  <a:pt x="70" y="26"/>
                </a:lnTo>
                <a:lnTo>
                  <a:pt x="74" y="20"/>
                </a:lnTo>
                <a:lnTo>
                  <a:pt x="68" y="12"/>
                </a:lnTo>
                <a:lnTo>
                  <a:pt x="62" y="4"/>
                </a:lnTo>
                <a:lnTo>
                  <a:pt x="64" y="0"/>
                </a:lnTo>
                <a:lnTo>
                  <a:pt x="78" y="2"/>
                </a:lnTo>
                <a:lnTo>
                  <a:pt x="84" y="8"/>
                </a:lnTo>
                <a:lnTo>
                  <a:pt x="92" y="4"/>
                </a:lnTo>
                <a:lnTo>
                  <a:pt x="104" y="4"/>
                </a:lnTo>
                <a:lnTo>
                  <a:pt x="108" y="10"/>
                </a:lnTo>
                <a:lnTo>
                  <a:pt x="110" y="28"/>
                </a:lnTo>
                <a:lnTo>
                  <a:pt x="112" y="36"/>
                </a:lnTo>
                <a:lnTo>
                  <a:pt x="104" y="40"/>
                </a:lnTo>
                <a:lnTo>
                  <a:pt x="104" y="5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93" name="Freeform 12">
            <a:extLst>
              <a:ext uri="{FF2B5EF4-FFF2-40B4-BE49-F238E27FC236}">
                <a16:creationId xmlns:a16="http://schemas.microsoft.com/office/drawing/2014/main" id="{FA89FF40-09F9-4E8C-A3AD-869497378572}"/>
              </a:ext>
            </a:extLst>
          </p:cNvPr>
          <p:cNvSpPr>
            <a:spLocks/>
          </p:cNvSpPr>
          <p:nvPr/>
        </p:nvSpPr>
        <p:spPr bwMode="gray">
          <a:xfrm>
            <a:off x="1498983" y="1355979"/>
            <a:ext cx="196085" cy="56079"/>
          </a:xfrm>
          <a:custGeom>
            <a:avLst/>
            <a:gdLst>
              <a:gd name="T0" fmla="*/ 48 w 270"/>
              <a:gd name="T1" fmla="*/ 26 h 84"/>
              <a:gd name="T2" fmla="*/ 34 w 270"/>
              <a:gd name="T3" fmla="*/ 28 h 84"/>
              <a:gd name="T4" fmla="*/ 20 w 270"/>
              <a:gd name="T5" fmla="*/ 26 h 84"/>
              <a:gd name="T6" fmla="*/ 6 w 270"/>
              <a:gd name="T7" fmla="*/ 20 h 84"/>
              <a:gd name="T8" fmla="*/ 0 w 270"/>
              <a:gd name="T9" fmla="*/ 14 h 84"/>
              <a:gd name="T10" fmla="*/ 2 w 270"/>
              <a:gd name="T11" fmla="*/ 4 h 84"/>
              <a:gd name="T12" fmla="*/ 14 w 270"/>
              <a:gd name="T13" fmla="*/ 0 h 84"/>
              <a:gd name="T14" fmla="*/ 32 w 270"/>
              <a:gd name="T15" fmla="*/ 6 h 84"/>
              <a:gd name="T16" fmla="*/ 48 w 270"/>
              <a:gd name="T17" fmla="*/ 10 h 84"/>
              <a:gd name="T18" fmla="*/ 54 w 270"/>
              <a:gd name="T19" fmla="*/ 18 h 84"/>
              <a:gd name="T20" fmla="*/ 70 w 270"/>
              <a:gd name="T21" fmla="*/ 18 h 84"/>
              <a:gd name="T22" fmla="*/ 88 w 270"/>
              <a:gd name="T23" fmla="*/ 14 h 84"/>
              <a:gd name="T24" fmla="*/ 96 w 270"/>
              <a:gd name="T25" fmla="*/ 24 h 84"/>
              <a:gd name="T26" fmla="*/ 96 w 270"/>
              <a:gd name="T27" fmla="*/ 34 h 84"/>
              <a:gd name="T28" fmla="*/ 100 w 270"/>
              <a:gd name="T29" fmla="*/ 40 h 84"/>
              <a:gd name="T30" fmla="*/ 120 w 270"/>
              <a:gd name="T31" fmla="*/ 52 h 84"/>
              <a:gd name="T32" fmla="*/ 150 w 270"/>
              <a:gd name="T33" fmla="*/ 52 h 84"/>
              <a:gd name="T34" fmla="*/ 172 w 270"/>
              <a:gd name="T35" fmla="*/ 54 h 84"/>
              <a:gd name="T36" fmla="*/ 198 w 270"/>
              <a:gd name="T37" fmla="*/ 44 h 84"/>
              <a:gd name="T38" fmla="*/ 236 w 270"/>
              <a:gd name="T39" fmla="*/ 46 h 84"/>
              <a:gd name="T40" fmla="*/ 256 w 270"/>
              <a:gd name="T41" fmla="*/ 50 h 84"/>
              <a:gd name="T42" fmla="*/ 270 w 270"/>
              <a:gd name="T43" fmla="*/ 56 h 84"/>
              <a:gd name="T44" fmla="*/ 268 w 270"/>
              <a:gd name="T45" fmla="*/ 66 h 84"/>
              <a:gd name="T46" fmla="*/ 262 w 270"/>
              <a:gd name="T47" fmla="*/ 70 h 84"/>
              <a:gd name="T48" fmla="*/ 260 w 270"/>
              <a:gd name="T49" fmla="*/ 82 h 84"/>
              <a:gd name="T50" fmla="*/ 222 w 270"/>
              <a:gd name="T51" fmla="*/ 84 h 84"/>
              <a:gd name="T52" fmla="*/ 212 w 270"/>
              <a:gd name="T53" fmla="*/ 76 h 84"/>
              <a:gd name="T54" fmla="*/ 206 w 270"/>
              <a:gd name="T55" fmla="*/ 84 h 84"/>
              <a:gd name="T56" fmla="*/ 132 w 270"/>
              <a:gd name="T57" fmla="*/ 84 h 84"/>
              <a:gd name="T58" fmla="*/ 130 w 270"/>
              <a:gd name="T59" fmla="*/ 74 h 84"/>
              <a:gd name="T60" fmla="*/ 126 w 270"/>
              <a:gd name="T61" fmla="*/ 72 h 84"/>
              <a:gd name="T62" fmla="*/ 120 w 270"/>
              <a:gd name="T63" fmla="*/ 78 h 84"/>
              <a:gd name="T64" fmla="*/ 116 w 270"/>
              <a:gd name="T65" fmla="*/ 84 h 84"/>
              <a:gd name="T66" fmla="*/ 92 w 270"/>
              <a:gd name="T67" fmla="*/ 80 h 84"/>
              <a:gd name="T68" fmla="*/ 88 w 270"/>
              <a:gd name="T69" fmla="*/ 74 h 84"/>
              <a:gd name="T70" fmla="*/ 84 w 270"/>
              <a:gd name="T71" fmla="*/ 78 h 84"/>
              <a:gd name="T72" fmla="*/ 78 w 270"/>
              <a:gd name="T73" fmla="*/ 78 h 84"/>
              <a:gd name="T74" fmla="*/ 72 w 270"/>
              <a:gd name="T75" fmla="*/ 70 h 84"/>
              <a:gd name="T76" fmla="*/ 68 w 270"/>
              <a:gd name="T77" fmla="*/ 58 h 84"/>
              <a:gd name="T78" fmla="*/ 68 w 270"/>
              <a:gd name="T79" fmla="*/ 54 h 84"/>
              <a:gd name="T80" fmla="*/ 72 w 270"/>
              <a:gd name="T81" fmla="*/ 48 h 84"/>
              <a:gd name="T82" fmla="*/ 64 w 270"/>
              <a:gd name="T83" fmla="*/ 38 h 84"/>
              <a:gd name="T84" fmla="*/ 58 w 270"/>
              <a:gd name="T85" fmla="*/ 28 h 84"/>
              <a:gd name="T86" fmla="*/ 48 w 270"/>
              <a:gd name="T87" fmla="*/ 26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70" h="84">
                <a:moveTo>
                  <a:pt x="48" y="26"/>
                </a:moveTo>
                <a:lnTo>
                  <a:pt x="34" y="28"/>
                </a:lnTo>
                <a:lnTo>
                  <a:pt x="20" y="26"/>
                </a:lnTo>
                <a:lnTo>
                  <a:pt x="6" y="20"/>
                </a:lnTo>
                <a:lnTo>
                  <a:pt x="0" y="14"/>
                </a:lnTo>
                <a:lnTo>
                  <a:pt x="2" y="4"/>
                </a:lnTo>
                <a:lnTo>
                  <a:pt x="14" y="0"/>
                </a:lnTo>
                <a:lnTo>
                  <a:pt x="32" y="6"/>
                </a:lnTo>
                <a:lnTo>
                  <a:pt x="48" y="10"/>
                </a:lnTo>
                <a:lnTo>
                  <a:pt x="54" y="18"/>
                </a:lnTo>
                <a:lnTo>
                  <a:pt x="70" y="18"/>
                </a:lnTo>
                <a:lnTo>
                  <a:pt x="88" y="14"/>
                </a:lnTo>
                <a:lnTo>
                  <a:pt x="96" y="24"/>
                </a:lnTo>
                <a:lnTo>
                  <a:pt x="96" y="34"/>
                </a:lnTo>
                <a:lnTo>
                  <a:pt x="100" y="40"/>
                </a:lnTo>
                <a:lnTo>
                  <a:pt x="120" y="52"/>
                </a:lnTo>
                <a:lnTo>
                  <a:pt x="150" y="52"/>
                </a:lnTo>
                <a:lnTo>
                  <a:pt x="172" y="54"/>
                </a:lnTo>
                <a:lnTo>
                  <a:pt x="198" y="44"/>
                </a:lnTo>
                <a:lnTo>
                  <a:pt x="236" y="46"/>
                </a:lnTo>
                <a:lnTo>
                  <a:pt x="256" y="50"/>
                </a:lnTo>
                <a:lnTo>
                  <a:pt x="270" y="56"/>
                </a:lnTo>
                <a:lnTo>
                  <a:pt x="268" y="66"/>
                </a:lnTo>
                <a:lnTo>
                  <a:pt x="262" y="70"/>
                </a:lnTo>
                <a:lnTo>
                  <a:pt x="260" y="82"/>
                </a:lnTo>
                <a:lnTo>
                  <a:pt x="222" y="84"/>
                </a:lnTo>
                <a:lnTo>
                  <a:pt x="212" y="76"/>
                </a:lnTo>
                <a:lnTo>
                  <a:pt x="206" y="84"/>
                </a:lnTo>
                <a:lnTo>
                  <a:pt x="132" y="84"/>
                </a:lnTo>
                <a:lnTo>
                  <a:pt x="130" y="74"/>
                </a:lnTo>
                <a:lnTo>
                  <a:pt x="126" y="72"/>
                </a:lnTo>
                <a:lnTo>
                  <a:pt x="120" y="78"/>
                </a:lnTo>
                <a:lnTo>
                  <a:pt x="116" y="84"/>
                </a:lnTo>
                <a:lnTo>
                  <a:pt x="92" y="80"/>
                </a:lnTo>
                <a:lnTo>
                  <a:pt x="88" y="74"/>
                </a:lnTo>
                <a:lnTo>
                  <a:pt x="84" y="78"/>
                </a:lnTo>
                <a:lnTo>
                  <a:pt x="78" y="78"/>
                </a:lnTo>
                <a:lnTo>
                  <a:pt x="72" y="70"/>
                </a:lnTo>
                <a:lnTo>
                  <a:pt x="68" y="58"/>
                </a:lnTo>
                <a:lnTo>
                  <a:pt x="68" y="54"/>
                </a:lnTo>
                <a:lnTo>
                  <a:pt x="72" y="48"/>
                </a:lnTo>
                <a:lnTo>
                  <a:pt x="64" y="38"/>
                </a:lnTo>
                <a:lnTo>
                  <a:pt x="58" y="28"/>
                </a:lnTo>
                <a:lnTo>
                  <a:pt x="48" y="2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94" name="Freeform 13">
            <a:extLst>
              <a:ext uri="{FF2B5EF4-FFF2-40B4-BE49-F238E27FC236}">
                <a16:creationId xmlns:a16="http://schemas.microsoft.com/office/drawing/2014/main" id="{2CEF9510-5AE4-4665-96BC-AA7FD1D6A146}"/>
              </a:ext>
            </a:extLst>
          </p:cNvPr>
          <p:cNvSpPr>
            <a:spLocks/>
          </p:cNvSpPr>
          <p:nvPr/>
        </p:nvSpPr>
        <p:spPr bwMode="gray">
          <a:xfrm>
            <a:off x="1509150" y="1421404"/>
            <a:ext cx="65362" cy="42727"/>
          </a:xfrm>
          <a:custGeom>
            <a:avLst/>
            <a:gdLst>
              <a:gd name="T0" fmla="*/ 8 w 90"/>
              <a:gd name="T1" fmla="*/ 2 h 64"/>
              <a:gd name="T2" fmla="*/ 0 w 90"/>
              <a:gd name="T3" fmla="*/ 14 h 64"/>
              <a:gd name="T4" fmla="*/ 4 w 90"/>
              <a:gd name="T5" fmla="*/ 36 h 64"/>
              <a:gd name="T6" fmla="*/ 8 w 90"/>
              <a:gd name="T7" fmla="*/ 50 h 64"/>
              <a:gd name="T8" fmla="*/ 12 w 90"/>
              <a:gd name="T9" fmla="*/ 62 h 64"/>
              <a:gd name="T10" fmla="*/ 24 w 90"/>
              <a:gd name="T11" fmla="*/ 64 h 64"/>
              <a:gd name="T12" fmla="*/ 34 w 90"/>
              <a:gd name="T13" fmla="*/ 52 h 64"/>
              <a:gd name="T14" fmla="*/ 30 w 90"/>
              <a:gd name="T15" fmla="*/ 42 h 64"/>
              <a:gd name="T16" fmla="*/ 42 w 90"/>
              <a:gd name="T17" fmla="*/ 40 h 64"/>
              <a:gd name="T18" fmla="*/ 60 w 90"/>
              <a:gd name="T19" fmla="*/ 40 h 64"/>
              <a:gd name="T20" fmla="*/ 78 w 90"/>
              <a:gd name="T21" fmla="*/ 18 h 64"/>
              <a:gd name="T22" fmla="*/ 90 w 90"/>
              <a:gd name="T23" fmla="*/ 2 h 64"/>
              <a:gd name="T24" fmla="*/ 60 w 90"/>
              <a:gd name="T25" fmla="*/ 2 h 64"/>
              <a:gd name="T26" fmla="*/ 42 w 90"/>
              <a:gd name="T27" fmla="*/ 0 h 64"/>
              <a:gd name="T28" fmla="*/ 20 w 90"/>
              <a:gd name="T29" fmla="*/ 0 h 64"/>
              <a:gd name="T30" fmla="*/ 8 w 90"/>
              <a:gd name="T31" fmla="*/ 2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90" h="64">
                <a:moveTo>
                  <a:pt x="8" y="2"/>
                </a:moveTo>
                <a:lnTo>
                  <a:pt x="0" y="14"/>
                </a:lnTo>
                <a:lnTo>
                  <a:pt x="4" y="36"/>
                </a:lnTo>
                <a:lnTo>
                  <a:pt x="8" y="50"/>
                </a:lnTo>
                <a:lnTo>
                  <a:pt x="12" y="62"/>
                </a:lnTo>
                <a:lnTo>
                  <a:pt x="24" y="64"/>
                </a:lnTo>
                <a:lnTo>
                  <a:pt x="34" y="52"/>
                </a:lnTo>
                <a:lnTo>
                  <a:pt x="30" y="42"/>
                </a:lnTo>
                <a:lnTo>
                  <a:pt x="42" y="40"/>
                </a:lnTo>
                <a:lnTo>
                  <a:pt x="60" y="40"/>
                </a:lnTo>
                <a:lnTo>
                  <a:pt x="78" y="18"/>
                </a:lnTo>
                <a:lnTo>
                  <a:pt x="90" y="2"/>
                </a:lnTo>
                <a:lnTo>
                  <a:pt x="60" y="2"/>
                </a:lnTo>
                <a:lnTo>
                  <a:pt x="42" y="0"/>
                </a:lnTo>
                <a:lnTo>
                  <a:pt x="20" y="0"/>
                </a:lnTo>
                <a:lnTo>
                  <a:pt x="8" y="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95" name="Freeform 14">
            <a:extLst>
              <a:ext uri="{FF2B5EF4-FFF2-40B4-BE49-F238E27FC236}">
                <a16:creationId xmlns:a16="http://schemas.microsoft.com/office/drawing/2014/main" id="{6303D2DB-B4B8-45C0-B041-043A7825714C}"/>
              </a:ext>
            </a:extLst>
          </p:cNvPr>
          <p:cNvSpPr>
            <a:spLocks/>
          </p:cNvSpPr>
          <p:nvPr/>
        </p:nvSpPr>
        <p:spPr bwMode="gray">
          <a:xfrm>
            <a:off x="1552725" y="1209104"/>
            <a:ext cx="355858" cy="168238"/>
          </a:xfrm>
          <a:custGeom>
            <a:avLst/>
            <a:gdLst>
              <a:gd name="T0" fmla="*/ 370 w 490"/>
              <a:gd name="T1" fmla="*/ 94 h 252"/>
              <a:gd name="T2" fmla="*/ 324 w 490"/>
              <a:gd name="T3" fmla="*/ 130 h 252"/>
              <a:gd name="T4" fmla="*/ 280 w 490"/>
              <a:gd name="T5" fmla="*/ 126 h 252"/>
              <a:gd name="T6" fmla="*/ 296 w 490"/>
              <a:gd name="T7" fmla="*/ 138 h 252"/>
              <a:gd name="T8" fmla="*/ 264 w 490"/>
              <a:gd name="T9" fmla="*/ 140 h 252"/>
              <a:gd name="T10" fmla="*/ 254 w 490"/>
              <a:gd name="T11" fmla="*/ 148 h 252"/>
              <a:gd name="T12" fmla="*/ 254 w 490"/>
              <a:gd name="T13" fmla="*/ 154 h 252"/>
              <a:gd name="T14" fmla="*/ 268 w 490"/>
              <a:gd name="T15" fmla="*/ 170 h 252"/>
              <a:gd name="T16" fmla="*/ 260 w 490"/>
              <a:gd name="T17" fmla="*/ 184 h 252"/>
              <a:gd name="T18" fmla="*/ 220 w 490"/>
              <a:gd name="T19" fmla="*/ 206 h 252"/>
              <a:gd name="T20" fmla="*/ 164 w 490"/>
              <a:gd name="T21" fmla="*/ 216 h 252"/>
              <a:gd name="T22" fmla="*/ 206 w 490"/>
              <a:gd name="T23" fmla="*/ 232 h 252"/>
              <a:gd name="T24" fmla="*/ 224 w 490"/>
              <a:gd name="T25" fmla="*/ 236 h 252"/>
              <a:gd name="T26" fmla="*/ 172 w 490"/>
              <a:gd name="T27" fmla="*/ 252 h 252"/>
              <a:gd name="T28" fmla="*/ 138 w 490"/>
              <a:gd name="T29" fmla="*/ 238 h 252"/>
              <a:gd name="T30" fmla="*/ 88 w 490"/>
              <a:gd name="T31" fmla="*/ 244 h 252"/>
              <a:gd name="T32" fmla="*/ 62 w 490"/>
              <a:gd name="T33" fmla="*/ 244 h 252"/>
              <a:gd name="T34" fmla="*/ 42 w 490"/>
              <a:gd name="T35" fmla="*/ 224 h 252"/>
              <a:gd name="T36" fmla="*/ 80 w 490"/>
              <a:gd name="T37" fmla="*/ 212 h 252"/>
              <a:gd name="T38" fmla="*/ 88 w 490"/>
              <a:gd name="T39" fmla="*/ 196 h 252"/>
              <a:gd name="T40" fmla="*/ 132 w 490"/>
              <a:gd name="T41" fmla="*/ 212 h 252"/>
              <a:gd name="T42" fmla="*/ 140 w 490"/>
              <a:gd name="T43" fmla="*/ 194 h 252"/>
              <a:gd name="T44" fmla="*/ 108 w 490"/>
              <a:gd name="T45" fmla="*/ 194 h 252"/>
              <a:gd name="T46" fmla="*/ 106 w 490"/>
              <a:gd name="T47" fmla="*/ 180 h 252"/>
              <a:gd name="T48" fmla="*/ 68 w 490"/>
              <a:gd name="T49" fmla="*/ 176 h 252"/>
              <a:gd name="T50" fmla="*/ 114 w 490"/>
              <a:gd name="T51" fmla="*/ 160 h 252"/>
              <a:gd name="T52" fmla="*/ 160 w 490"/>
              <a:gd name="T53" fmla="*/ 158 h 252"/>
              <a:gd name="T54" fmla="*/ 114 w 490"/>
              <a:gd name="T55" fmla="*/ 138 h 252"/>
              <a:gd name="T56" fmla="*/ 86 w 490"/>
              <a:gd name="T57" fmla="*/ 114 h 252"/>
              <a:gd name="T58" fmla="*/ 144 w 490"/>
              <a:gd name="T59" fmla="*/ 120 h 252"/>
              <a:gd name="T60" fmla="*/ 166 w 490"/>
              <a:gd name="T61" fmla="*/ 126 h 252"/>
              <a:gd name="T62" fmla="*/ 168 w 490"/>
              <a:gd name="T63" fmla="*/ 104 h 252"/>
              <a:gd name="T64" fmla="*/ 208 w 490"/>
              <a:gd name="T65" fmla="*/ 86 h 252"/>
              <a:gd name="T66" fmla="*/ 226 w 490"/>
              <a:gd name="T67" fmla="*/ 68 h 252"/>
              <a:gd name="T68" fmla="*/ 162 w 490"/>
              <a:gd name="T69" fmla="*/ 96 h 252"/>
              <a:gd name="T70" fmla="*/ 128 w 490"/>
              <a:gd name="T71" fmla="*/ 100 h 252"/>
              <a:gd name="T72" fmla="*/ 98 w 490"/>
              <a:gd name="T73" fmla="*/ 82 h 252"/>
              <a:gd name="T74" fmla="*/ 62 w 490"/>
              <a:gd name="T75" fmla="*/ 78 h 252"/>
              <a:gd name="T76" fmla="*/ 48 w 490"/>
              <a:gd name="T77" fmla="*/ 66 h 252"/>
              <a:gd name="T78" fmla="*/ 32 w 490"/>
              <a:gd name="T79" fmla="*/ 66 h 252"/>
              <a:gd name="T80" fmla="*/ 20 w 490"/>
              <a:gd name="T81" fmla="*/ 56 h 252"/>
              <a:gd name="T82" fmla="*/ 36 w 490"/>
              <a:gd name="T83" fmla="*/ 50 h 252"/>
              <a:gd name="T84" fmla="*/ 80 w 490"/>
              <a:gd name="T85" fmla="*/ 46 h 252"/>
              <a:gd name="T86" fmla="*/ 102 w 490"/>
              <a:gd name="T87" fmla="*/ 28 h 252"/>
              <a:gd name="T88" fmla="*/ 168 w 490"/>
              <a:gd name="T89" fmla="*/ 40 h 252"/>
              <a:gd name="T90" fmla="*/ 164 w 490"/>
              <a:gd name="T91" fmla="*/ 18 h 252"/>
              <a:gd name="T92" fmla="*/ 216 w 490"/>
              <a:gd name="T93" fmla="*/ 10 h 252"/>
              <a:gd name="T94" fmla="*/ 254 w 490"/>
              <a:gd name="T95" fmla="*/ 22 h 252"/>
              <a:gd name="T96" fmla="*/ 278 w 490"/>
              <a:gd name="T97" fmla="*/ 4 h 252"/>
              <a:gd name="T98" fmla="*/ 298 w 490"/>
              <a:gd name="T99" fmla="*/ 2 h 252"/>
              <a:gd name="T100" fmla="*/ 350 w 490"/>
              <a:gd name="T101" fmla="*/ 2 h 252"/>
              <a:gd name="T102" fmla="*/ 388 w 490"/>
              <a:gd name="T103" fmla="*/ 16 h 252"/>
              <a:gd name="T104" fmla="*/ 452 w 490"/>
              <a:gd name="T105" fmla="*/ 14 h 252"/>
              <a:gd name="T106" fmla="*/ 482 w 490"/>
              <a:gd name="T107" fmla="*/ 40 h 252"/>
              <a:gd name="T108" fmla="*/ 376 w 490"/>
              <a:gd name="T109" fmla="*/ 62 h 252"/>
              <a:gd name="T110" fmla="*/ 398 w 490"/>
              <a:gd name="T111" fmla="*/ 7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90" h="252">
                <a:moveTo>
                  <a:pt x="434" y="68"/>
                </a:moveTo>
                <a:lnTo>
                  <a:pt x="412" y="76"/>
                </a:lnTo>
                <a:lnTo>
                  <a:pt x="396" y="86"/>
                </a:lnTo>
                <a:lnTo>
                  <a:pt x="370" y="94"/>
                </a:lnTo>
                <a:lnTo>
                  <a:pt x="352" y="108"/>
                </a:lnTo>
                <a:lnTo>
                  <a:pt x="340" y="108"/>
                </a:lnTo>
                <a:lnTo>
                  <a:pt x="336" y="120"/>
                </a:lnTo>
                <a:lnTo>
                  <a:pt x="324" y="130"/>
                </a:lnTo>
                <a:lnTo>
                  <a:pt x="308" y="134"/>
                </a:lnTo>
                <a:lnTo>
                  <a:pt x="300" y="128"/>
                </a:lnTo>
                <a:lnTo>
                  <a:pt x="286" y="124"/>
                </a:lnTo>
                <a:lnTo>
                  <a:pt x="280" y="126"/>
                </a:lnTo>
                <a:lnTo>
                  <a:pt x="288" y="130"/>
                </a:lnTo>
                <a:lnTo>
                  <a:pt x="296" y="132"/>
                </a:lnTo>
                <a:lnTo>
                  <a:pt x="296" y="136"/>
                </a:lnTo>
                <a:lnTo>
                  <a:pt x="296" y="138"/>
                </a:lnTo>
                <a:lnTo>
                  <a:pt x="294" y="138"/>
                </a:lnTo>
                <a:lnTo>
                  <a:pt x="286" y="138"/>
                </a:lnTo>
                <a:lnTo>
                  <a:pt x="276" y="142"/>
                </a:lnTo>
                <a:lnTo>
                  <a:pt x="264" y="140"/>
                </a:lnTo>
                <a:lnTo>
                  <a:pt x="246" y="138"/>
                </a:lnTo>
                <a:lnTo>
                  <a:pt x="234" y="142"/>
                </a:lnTo>
                <a:lnTo>
                  <a:pt x="240" y="148"/>
                </a:lnTo>
                <a:lnTo>
                  <a:pt x="254" y="148"/>
                </a:lnTo>
                <a:lnTo>
                  <a:pt x="272" y="148"/>
                </a:lnTo>
                <a:lnTo>
                  <a:pt x="276" y="154"/>
                </a:lnTo>
                <a:lnTo>
                  <a:pt x="268" y="154"/>
                </a:lnTo>
                <a:lnTo>
                  <a:pt x="254" y="154"/>
                </a:lnTo>
                <a:lnTo>
                  <a:pt x="256" y="160"/>
                </a:lnTo>
                <a:lnTo>
                  <a:pt x="272" y="162"/>
                </a:lnTo>
                <a:lnTo>
                  <a:pt x="272" y="168"/>
                </a:lnTo>
                <a:lnTo>
                  <a:pt x="268" y="170"/>
                </a:lnTo>
                <a:lnTo>
                  <a:pt x="250" y="168"/>
                </a:lnTo>
                <a:lnTo>
                  <a:pt x="254" y="174"/>
                </a:lnTo>
                <a:lnTo>
                  <a:pt x="266" y="180"/>
                </a:lnTo>
                <a:lnTo>
                  <a:pt x="260" y="184"/>
                </a:lnTo>
                <a:lnTo>
                  <a:pt x="258" y="188"/>
                </a:lnTo>
                <a:lnTo>
                  <a:pt x="254" y="192"/>
                </a:lnTo>
                <a:lnTo>
                  <a:pt x="224" y="194"/>
                </a:lnTo>
                <a:lnTo>
                  <a:pt x="220" y="206"/>
                </a:lnTo>
                <a:lnTo>
                  <a:pt x="210" y="212"/>
                </a:lnTo>
                <a:lnTo>
                  <a:pt x="186" y="212"/>
                </a:lnTo>
                <a:lnTo>
                  <a:pt x="166" y="208"/>
                </a:lnTo>
                <a:lnTo>
                  <a:pt x="164" y="216"/>
                </a:lnTo>
                <a:lnTo>
                  <a:pt x="180" y="220"/>
                </a:lnTo>
                <a:lnTo>
                  <a:pt x="202" y="220"/>
                </a:lnTo>
                <a:lnTo>
                  <a:pt x="204" y="226"/>
                </a:lnTo>
                <a:lnTo>
                  <a:pt x="206" y="232"/>
                </a:lnTo>
                <a:lnTo>
                  <a:pt x="214" y="226"/>
                </a:lnTo>
                <a:lnTo>
                  <a:pt x="218" y="222"/>
                </a:lnTo>
                <a:lnTo>
                  <a:pt x="222" y="226"/>
                </a:lnTo>
                <a:lnTo>
                  <a:pt x="224" y="236"/>
                </a:lnTo>
                <a:lnTo>
                  <a:pt x="218" y="240"/>
                </a:lnTo>
                <a:lnTo>
                  <a:pt x="204" y="244"/>
                </a:lnTo>
                <a:lnTo>
                  <a:pt x="188" y="250"/>
                </a:lnTo>
                <a:lnTo>
                  <a:pt x="172" y="252"/>
                </a:lnTo>
                <a:lnTo>
                  <a:pt x="172" y="244"/>
                </a:lnTo>
                <a:lnTo>
                  <a:pt x="162" y="240"/>
                </a:lnTo>
                <a:lnTo>
                  <a:pt x="150" y="242"/>
                </a:lnTo>
                <a:lnTo>
                  <a:pt x="138" y="238"/>
                </a:lnTo>
                <a:lnTo>
                  <a:pt x="132" y="244"/>
                </a:lnTo>
                <a:lnTo>
                  <a:pt x="124" y="238"/>
                </a:lnTo>
                <a:lnTo>
                  <a:pt x="120" y="244"/>
                </a:lnTo>
                <a:lnTo>
                  <a:pt x="88" y="244"/>
                </a:lnTo>
                <a:lnTo>
                  <a:pt x="82" y="238"/>
                </a:lnTo>
                <a:lnTo>
                  <a:pt x="72" y="244"/>
                </a:lnTo>
                <a:lnTo>
                  <a:pt x="68" y="240"/>
                </a:lnTo>
                <a:lnTo>
                  <a:pt x="62" y="244"/>
                </a:lnTo>
                <a:lnTo>
                  <a:pt x="56" y="236"/>
                </a:lnTo>
                <a:lnTo>
                  <a:pt x="46" y="244"/>
                </a:lnTo>
                <a:lnTo>
                  <a:pt x="38" y="236"/>
                </a:lnTo>
                <a:lnTo>
                  <a:pt x="42" y="224"/>
                </a:lnTo>
                <a:lnTo>
                  <a:pt x="56" y="220"/>
                </a:lnTo>
                <a:lnTo>
                  <a:pt x="72" y="220"/>
                </a:lnTo>
                <a:lnTo>
                  <a:pt x="84" y="220"/>
                </a:lnTo>
                <a:lnTo>
                  <a:pt x="80" y="212"/>
                </a:lnTo>
                <a:lnTo>
                  <a:pt x="70" y="212"/>
                </a:lnTo>
                <a:lnTo>
                  <a:pt x="62" y="204"/>
                </a:lnTo>
                <a:lnTo>
                  <a:pt x="62" y="196"/>
                </a:lnTo>
                <a:lnTo>
                  <a:pt x="88" y="196"/>
                </a:lnTo>
                <a:lnTo>
                  <a:pt x="94" y="204"/>
                </a:lnTo>
                <a:lnTo>
                  <a:pt x="102" y="210"/>
                </a:lnTo>
                <a:lnTo>
                  <a:pt x="120" y="212"/>
                </a:lnTo>
                <a:lnTo>
                  <a:pt x="132" y="212"/>
                </a:lnTo>
                <a:lnTo>
                  <a:pt x="146" y="202"/>
                </a:lnTo>
                <a:lnTo>
                  <a:pt x="152" y="190"/>
                </a:lnTo>
                <a:lnTo>
                  <a:pt x="148" y="188"/>
                </a:lnTo>
                <a:lnTo>
                  <a:pt x="140" y="194"/>
                </a:lnTo>
                <a:lnTo>
                  <a:pt x="132" y="202"/>
                </a:lnTo>
                <a:lnTo>
                  <a:pt x="122" y="206"/>
                </a:lnTo>
                <a:lnTo>
                  <a:pt x="104" y="200"/>
                </a:lnTo>
                <a:lnTo>
                  <a:pt x="108" y="194"/>
                </a:lnTo>
                <a:lnTo>
                  <a:pt x="118" y="186"/>
                </a:lnTo>
                <a:lnTo>
                  <a:pt x="116" y="182"/>
                </a:lnTo>
                <a:lnTo>
                  <a:pt x="114" y="174"/>
                </a:lnTo>
                <a:lnTo>
                  <a:pt x="106" y="180"/>
                </a:lnTo>
                <a:lnTo>
                  <a:pt x="100" y="186"/>
                </a:lnTo>
                <a:lnTo>
                  <a:pt x="88" y="182"/>
                </a:lnTo>
                <a:lnTo>
                  <a:pt x="76" y="184"/>
                </a:lnTo>
                <a:lnTo>
                  <a:pt x="68" y="176"/>
                </a:lnTo>
                <a:lnTo>
                  <a:pt x="78" y="166"/>
                </a:lnTo>
                <a:lnTo>
                  <a:pt x="86" y="162"/>
                </a:lnTo>
                <a:lnTo>
                  <a:pt x="104" y="162"/>
                </a:lnTo>
                <a:lnTo>
                  <a:pt x="114" y="160"/>
                </a:lnTo>
                <a:lnTo>
                  <a:pt x="126" y="162"/>
                </a:lnTo>
                <a:lnTo>
                  <a:pt x="138" y="166"/>
                </a:lnTo>
                <a:lnTo>
                  <a:pt x="150" y="166"/>
                </a:lnTo>
                <a:lnTo>
                  <a:pt x="160" y="158"/>
                </a:lnTo>
                <a:lnTo>
                  <a:pt x="154" y="156"/>
                </a:lnTo>
                <a:lnTo>
                  <a:pt x="142" y="158"/>
                </a:lnTo>
                <a:lnTo>
                  <a:pt x="126" y="154"/>
                </a:lnTo>
                <a:lnTo>
                  <a:pt x="114" y="138"/>
                </a:lnTo>
                <a:lnTo>
                  <a:pt x="106" y="130"/>
                </a:lnTo>
                <a:lnTo>
                  <a:pt x="94" y="130"/>
                </a:lnTo>
                <a:lnTo>
                  <a:pt x="86" y="128"/>
                </a:lnTo>
                <a:lnTo>
                  <a:pt x="86" y="114"/>
                </a:lnTo>
                <a:lnTo>
                  <a:pt x="90" y="106"/>
                </a:lnTo>
                <a:lnTo>
                  <a:pt x="108" y="112"/>
                </a:lnTo>
                <a:lnTo>
                  <a:pt x="130" y="110"/>
                </a:lnTo>
                <a:lnTo>
                  <a:pt x="144" y="120"/>
                </a:lnTo>
                <a:lnTo>
                  <a:pt x="156" y="128"/>
                </a:lnTo>
                <a:lnTo>
                  <a:pt x="166" y="134"/>
                </a:lnTo>
                <a:lnTo>
                  <a:pt x="180" y="130"/>
                </a:lnTo>
                <a:lnTo>
                  <a:pt x="166" y="126"/>
                </a:lnTo>
                <a:lnTo>
                  <a:pt x="156" y="118"/>
                </a:lnTo>
                <a:lnTo>
                  <a:pt x="140" y="110"/>
                </a:lnTo>
                <a:lnTo>
                  <a:pt x="146" y="104"/>
                </a:lnTo>
                <a:lnTo>
                  <a:pt x="168" y="104"/>
                </a:lnTo>
                <a:lnTo>
                  <a:pt x="194" y="102"/>
                </a:lnTo>
                <a:lnTo>
                  <a:pt x="206" y="94"/>
                </a:lnTo>
                <a:lnTo>
                  <a:pt x="216" y="88"/>
                </a:lnTo>
                <a:lnTo>
                  <a:pt x="208" y="86"/>
                </a:lnTo>
                <a:lnTo>
                  <a:pt x="216" y="80"/>
                </a:lnTo>
                <a:lnTo>
                  <a:pt x="224" y="74"/>
                </a:lnTo>
                <a:lnTo>
                  <a:pt x="232" y="70"/>
                </a:lnTo>
                <a:lnTo>
                  <a:pt x="226" y="68"/>
                </a:lnTo>
                <a:lnTo>
                  <a:pt x="206" y="76"/>
                </a:lnTo>
                <a:lnTo>
                  <a:pt x="196" y="86"/>
                </a:lnTo>
                <a:lnTo>
                  <a:pt x="182" y="96"/>
                </a:lnTo>
                <a:lnTo>
                  <a:pt x="162" y="96"/>
                </a:lnTo>
                <a:lnTo>
                  <a:pt x="144" y="98"/>
                </a:lnTo>
                <a:lnTo>
                  <a:pt x="138" y="92"/>
                </a:lnTo>
                <a:lnTo>
                  <a:pt x="132" y="92"/>
                </a:lnTo>
                <a:lnTo>
                  <a:pt x="128" y="100"/>
                </a:lnTo>
                <a:lnTo>
                  <a:pt x="110" y="102"/>
                </a:lnTo>
                <a:lnTo>
                  <a:pt x="84" y="98"/>
                </a:lnTo>
                <a:lnTo>
                  <a:pt x="90" y="88"/>
                </a:lnTo>
                <a:lnTo>
                  <a:pt x="98" y="82"/>
                </a:lnTo>
                <a:lnTo>
                  <a:pt x="104" y="76"/>
                </a:lnTo>
                <a:lnTo>
                  <a:pt x="96" y="72"/>
                </a:lnTo>
                <a:lnTo>
                  <a:pt x="80" y="78"/>
                </a:lnTo>
                <a:lnTo>
                  <a:pt x="62" y="78"/>
                </a:lnTo>
                <a:lnTo>
                  <a:pt x="38" y="80"/>
                </a:lnTo>
                <a:lnTo>
                  <a:pt x="26" y="76"/>
                </a:lnTo>
                <a:lnTo>
                  <a:pt x="34" y="72"/>
                </a:lnTo>
                <a:lnTo>
                  <a:pt x="48" y="66"/>
                </a:lnTo>
                <a:lnTo>
                  <a:pt x="60" y="64"/>
                </a:lnTo>
                <a:lnTo>
                  <a:pt x="52" y="62"/>
                </a:lnTo>
                <a:lnTo>
                  <a:pt x="40" y="62"/>
                </a:lnTo>
                <a:lnTo>
                  <a:pt x="32" y="66"/>
                </a:lnTo>
                <a:lnTo>
                  <a:pt x="20" y="70"/>
                </a:lnTo>
                <a:lnTo>
                  <a:pt x="22" y="64"/>
                </a:lnTo>
                <a:lnTo>
                  <a:pt x="28" y="60"/>
                </a:lnTo>
                <a:lnTo>
                  <a:pt x="20" y="56"/>
                </a:lnTo>
                <a:lnTo>
                  <a:pt x="14" y="60"/>
                </a:lnTo>
                <a:lnTo>
                  <a:pt x="0" y="60"/>
                </a:lnTo>
                <a:lnTo>
                  <a:pt x="12" y="50"/>
                </a:lnTo>
                <a:lnTo>
                  <a:pt x="36" y="50"/>
                </a:lnTo>
                <a:lnTo>
                  <a:pt x="46" y="46"/>
                </a:lnTo>
                <a:lnTo>
                  <a:pt x="54" y="42"/>
                </a:lnTo>
                <a:lnTo>
                  <a:pt x="72" y="42"/>
                </a:lnTo>
                <a:lnTo>
                  <a:pt x="80" y="46"/>
                </a:lnTo>
                <a:lnTo>
                  <a:pt x="94" y="46"/>
                </a:lnTo>
                <a:lnTo>
                  <a:pt x="106" y="46"/>
                </a:lnTo>
                <a:lnTo>
                  <a:pt x="98" y="36"/>
                </a:lnTo>
                <a:lnTo>
                  <a:pt x="102" y="28"/>
                </a:lnTo>
                <a:lnTo>
                  <a:pt x="118" y="28"/>
                </a:lnTo>
                <a:lnTo>
                  <a:pt x="130" y="34"/>
                </a:lnTo>
                <a:lnTo>
                  <a:pt x="148" y="38"/>
                </a:lnTo>
                <a:lnTo>
                  <a:pt x="168" y="40"/>
                </a:lnTo>
                <a:lnTo>
                  <a:pt x="156" y="32"/>
                </a:lnTo>
                <a:lnTo>
                  <a:pt x="146" y="26"/>
                </a:lnTo>
                <a:lnTo>
                  <a:pt x="150" y="20"/>
                </a:lnTo>
                <a:lnTo>
                  <a:pt x="164" y="18"/>
                </a:lnTo>
                <a:lnTo>
                  <a:pt x="170" y="14"/>
                </a:lnTo>
                <a:lnTo>
                  <a:pt x="184" y="14"/>
                </a:lnTo>
                <a:lnTo>
                  <a:pt x="198" y="8"/>
                </a:lnTo>
                <a:lnTo>
                  <a:pt x="216" y="10"/>
                </a:lnTo>
                <a:lnTo>
                  <a:pt x="228" y="14"/>
                </a:lnTo>
                <a:lnTo>
                  <a:pt x="236" y="18"/>
                </a:lnTo>
                <a:lnTo>
                  <a:pt x="246" y="26"/>
                </a:lnTo>
                <a:lnTo>
                  <a:pt x="254" y="22"/>
                </a:lnTo>
                <a:lnTo>
                  <a:pt x="246" y="14"/>
                </a:lnTo>
                <a:lnTo>
                  <a:pt x="238" y="6"/>
                </a:lnTo>
                <a:lnTo>
                  <a:pt x="236" y="0"/>
                </a:lnTo>
                <a:lnTo>
                  <a:pt x="278" y="4"/>
                </a:lnTo>
                <a:lnTo>
                  <a:pt x="284" y="12"/>
                </a:lnTo>
                <a:lnTo>
                  <a:pt x="304" y="18"/>
                </a:lnTo>
                <a:lnTo>
                  <a:pt x="296" y="10"/>
                </a:lnTo>
                <a:lnTo>
                  <a:pt x="298" y="2"/>
                </a:lnTo>
                <a:lnTo>
                  <a:pt x="318" y="4"/>
                </a:lnTo>
                <a:lnTo>
                  <a:pt x="326" y="10"/>
                </a:lnTo>
                <a:lnTo>
                  <a:pt x="330" y="4"/>
                </a:lnTo>
                <a:lnTo>
                  <a:pt x="350" y="2"/>
                </a:lnTo>
                <a:lnTo>
                  <a:pt x="366" y="6"/>
                </a:lnTo>
                <a:lnTo>
                  <a:pt x="406" y="8"/>
                </a:lnTo>
                <a:lnTo>
                  <a:pt x="404" y="12"/>
                </a:lnTo>
                <a:lnTo>
                  <a:pt x="388" y="16"/>
                </a:lnTo>
                <a:lnTo>
                  <a:pt x="388" y="20"/>
                </a:lnTo>
                <a:lnTo>
                  <a:pt x="410" y="14"/>
                </a:lnTo>
                <a:lnTo>
                  <a:pt x="434" y="14"/>
                </a:lnTo>
                <a:lnTo>
                  <a:pt x="452" y="14"/>
                </a:lnTo>
                <a:lnTo>
                  <a:pt x="460" y="26"/>
                </a:lnTo>
                <a:lnTo>
                  <a:pt x="484" y="26"/>
                </a:lnTo>
                <a:lnTo>
                  <a:pt x="490" y="36"/>
                </a:lnTo>
                <a:lnTo>
                  <a:pt x="482" y="40"/>
                </a:lnTo>
                <a:lnTo>
                  <a:pt x="458" y="48"/>
                </a:lnTo>
                <a:lnTo>
                  <a:pt x="442" y="56"/>
                </a:lnTo>
                <a:lnTo>
                  <a:pt x="382" y="58"/>
                </a:lnTo>
                <a:lnTo>
                  <a:pt x="376" y="62"/>
                </a:lnTo>
                <a:lnTo>
                  <a:pt x="398" y="64"/>
                </a:lnTo>
                <a:lnTo>
                  <a:pt x="388" y="66"/>
                </a:lnTo>
                <a:lnTo>
                  <a:pt x="368" y="74"/>
                </a:lnTo>
                <a:lnTo>
                  <a:pt x="398" y="70"/>
                </a:lnTo>
                <a:lnTo>
                  <a:pt x="418" y="64"/>
                </a:lnTo>
                <a:lnTo>
                  <a:pt x="432" y="64"/>
                </a:lnTo>
                <a:lnTo>
                  <a:pt x="434" y="68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96" name="Freeform 15">
            <a:extLst>
              <a:ext uri="{FF2B5EF4-FFF2-40B4-BE49-F238E27FC236}">
                <a16:creationId xmlns:a16="http://schemas.microsoft.com/office/drawing/2014/main" id="{BD25743B-B6F0-4276-9591-DA5CC9ED69E0}"/>
              </a:ext>
            </a:extLst>
          </p:cNvPr>
          <p:cNvSpPr>
            <a:spLocks/>
          </p:cNvSpPr>
          <p:nvPr/>
        </p:nvSpPr>
        <p:spPr bwMode="gray">
          <a:xfrm>
            <a:off x="1924560" y="1801943"/>
            <a:ext cx="79886" cy="66761"/>
          </a:xfrm>
          <a:custGeom>
            <a:avLst/>
            <a:gdLst>
              <a:gd name="T0" fmla="*/ 30 w 110"/>
              <a:gd name="T1" fmla="*/ 36 h 100"/>
              <a:gd name="T2" fmla="*/ 40 w 110"/>
              <a:gd name="T3" fmla="*/ 20 h 100"/>
              <a:gd name="T4" fmla="*/ 54 w 110"/>
              <a:gd name="T5" fmla="*/ 6 h 100"/>
              <a:gd name="T6" fmla="*/ 66 w 110"/>
              <a:gd name="T7" fmla="*/ 0 h 100"/>
              <a:gd name="T8" fmla="*/ 62 w 110"/>
              <a:gd name="T9" fmla="*/ 8 h 100"/>
              <a:gd name="T10" fmla="*/ 58 w 110"/>
              <a:gd name="T11" fmla="*/ 20 h 100"/>
              <a:gd name="T12" fmla="*/ 62 w 110"/>
              <a:gd name="T13" fmla="*/ 34 h 100"/>
              <a:gd name="T14" fmla="*/ 72 w 110"/>
              <a:gd name="T15" fmla="*/ 44 h 100"/>
              <a:gd name="T16" fmla="*/ 82 w 110"/>
              <a:gd name="T17" fmla="*/ 38 h 100"/>
              <a:gd name="T18" fmla="*/ 86 w 110"/>
              <a:gd name="T19" fmla="*/ 44 h 100"/>
              <a:gd name="T20" fmla="*/ 94 w 110"/>
              <a:gd name="T21" fmla="*/ 46 h 100"/>
              <a:gd name="T22" fmla="*/ 90 w 110"/>
              <a:gd name="T23" fmla="*/ 54 h 100"/>
              <a:gd name="T24" fmla="*/ 100 w 110"/>
              <a:gd name="T25" fmla="*/ 64 h 100"/>
              <a:gd name="T26" fmla="*/ 106 w 110"/>
              <a:gd name="T27" fmla="*/ 66 h 100"/>
              <a:gd name="T28" fmla="*/ 108 w 110"/>
              <a:gd name="T29" fmla="*/ 74 h 100"/>
              <a:gd name="T30" fmla="*/ 110 w 110"/>
              <a:gd name="T31" fmla="*/ 86 h 100"/>
              <a:gd name="T32" fmla="*/ 106 w 110"/>
              <a:gd name="T33" fmla="*/ 96 h 100"/>
              <a:gd name="T34" fmla="*/ 92 w 110"/>
              <a:gd name="T35" fmla="*/ 100 h 100"/>
              <a:gd name="T36" fmla="*/ 86 w 110"/>
              <a:gd name="T37" fmla="*/ 90 h 100"/>
              <a:gd name="T38" fmla="*/ 78 w 110"/>
              <a:gd name="T39" fmla="*/ 82 h 100"/>
              <a:gd name="T40" fmla="*/ 72 w 110"/>
              <a:gd name="T41" fmla="*/ 88 h 100"/>
              <a:gd name="T42" fmla="*/ 70 w 110"/>
              <a:gd name="T43" fmla="*/ 94 h 100"/>
              <a:gd name="T44" fmla="*/ 60 w 110"/>
              <a:gd name="T45" fmla="*/ 90 h 100"/>
              <a:gd name="T46" fmla="*/ 58 w 110"/>
              <a:gd name="T47" fmla="*/ 78 h 100"/>
              <a:gd name="T48" fmla="*/ 30 w 110"/>
              <a:gd name="T49" fmla="*/ 82 h 100"/>
              <a:gd name="T50" fmla="*/ 0 w 110"/>
              <a:gd name="T51" fmla="*/ 80 h 100"/>
              <a:gd name="T52" fmla="*/ 2 w 110"/>
              <a:gd name="T53" fmla="*/ 66 h 100"/>
              <a:gd name="T54" fmla="*/ 16 w 110"/>
              <a:gd name="T55" fmla="*/ 52 h 100"/>
              <a:gd name="T56" fmla="*/ 22 w 110"/>
              <a:gd name="T57" fmla="*/ 44 h 100"/>
              <a:gd name="T58" fmla="*/ 30 w 110"/>
              <a:gd name="T59" fmla="*/ 36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10" h="100">
                <a:moveTo>
                  <a:pt x="30" y="36"/>
                </a:moveTo>
                <a:lnTo>
                  <a:pt x="40" y="20"/>
                </a:lnTo>
                <a:lnTo>
                  <a:pt x="54" y="6"/>
                </a:lnTo>
                <a:lnTo>
                  <a:pt x="66" y="0"/>
                </a:lnTo>
                <a:lnTo>
                  <a:pt x="62" y="8"/>
                </a:lnTo>
                <a:lnTo>
                  <a:pt x="58" y="20"/>
                </a:lnTo>
                <a:lnTo>
                  <a:pt x="62" y="34"/>
                </a:lnTo>
                <a:lnTo>
                  <a:pt x="72" y="44"/>
                </a:lnTo>
                <a:lnTo>
                  <a:pt x="82" y="38"/>
                </a:lnTo>
                <a:lnTo>
                  <a:pt x="86" y="44"/>
                </a:lnTo>
                <a:lnTo>
                  <a:pt x="94" y="46"/>
                </a:lnTo>
                <a:lnTo>
                  <a:pt x="90" y="54"/>
                </a:lnTo>
                <a:lnTo>
                  <a:pt x="100" y="64"/>
                </a:lnTo>
                <a:lnTo>
                  <a:pt x="106" y="66"/>
                </a:lnTo>
                <a:lnTo>
                  <a:pt x="108" y="74"/>
                </a:lnTo>
                <a:lnTo>
                  <a:pt x="110" y="86"/>
                </a:lnTo>
                <a:lnTo>
                  <a:pt x="106" y="96"/>
                </a:lnTo>
                <a:lnTo>
                  <a:pt x="92" y="100"/>
                </a:lnTo>
                <a:lnTo>
                  <a:pt x="86" y="90"/>
                </a:lnTo>
                <a:lnTo>
                  <a:pt x="78" y="82"/>
                </a:lnTo>
                <a:lnTo>
                  <a:pt x="72" y="88"/>
                </a:lnTo>
                <a:lnTo>
                  <a:pt x="70" y="94"/>
                </a:lnTo>
                <a:lnTo>
                  <a:pt x="60" y="90"/>
                </a:lnTo>
                <a:lnTo>
                  <a:pt x="58" y="78"/>
                </a:lnTo>
                <a:lnTo>
                  <a:pt x="30" y="82"/>
                </a:lnTo>
                <a:lnTo>
                  <a:pt x="0" y="80"/>
                </a:lnTo>
                <a:lnTo>
                  <a:pt x="2" y="66"/>
                </a:lnTo>
                <a:lnTo>
                  <a:pt x="16" y="52"/>
                </a:lnTo>
                <a:lnTo>
                  <a:pt x="22" y="44"/>
                </a:lnTo>
                <a:lnTo>
                  <a:pt x="30" y="3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97" name="Freeform 16">
            <a:extLst>
              <a:ext uri="{FF2B5EF4-FFF2-40B4-BE49-F238E27FC236}">
                <a16:creationId xmlns:a16="http://schemas.microsoft.com/office/drawing/2014/main" id="{8127F074-14A4-4178-BDEF-C3BAD996699C}"/>
              </a:ext>
            </a:extLst>
          </p:cNvPr>
          <p:cNvSpPr>
            <a:spLocks/>
          </p:cNvSpPr>
          <p:nvPr/>
        </p:nvSpPr>
        <p:spPr bwMode="gray">
          <a:xfrm>
            <a:off x="987710" y="1468137"/>
            <a:ext cx="980424" cy="460652"/>
          </a:xfrm>
          <a:custGeom>
            <a:avLst/>
            <a:gdLst>
              <a:gd name="T0" fmla="*/ 1210 w 1350"/>
              <a:gd name="T1" fmla="*/ 602 h 690"/>
              <a:gd name="T2" fmla="*/ 1278 w 1350"/>
              <a:gd name="T3" fmla="*/ 596 h 690"/>
              <a:gd name="T4" fmla="*/ 1258 w 1350"/>
              <a:gd name="T5" fmla="*/ 630 h 690"/>
              <a:gd name="T6" fmla="*/ 1188 w 1350"/>
              <a:gd name="T7" fmla="*/ 656 h 690"/>
              <a:gd name="T8" fmla="*/ 1214 w 1350"/>
              <a:gd name="T9" fmla="*/ 620 h 690"/>
              <a:gd name="T10" fmla="*/ 1160 w 1350"/>
              <a:gd name="T11" fmla="*/ 612 h 690"/>
              <a:gd name="T12" fmla="*/ 1118 w 1350"/>
              <a:gd name="T13" fmla="*/ 612 h 690"/>
              <a:gd name="T14" fmla="*/ 1014 w 1350"/>
              <a:gd name="T15" fmla="*/ 652 h 690"/>
              <a:gd name="T16" fmla="*/ 980 w 1350"/>
              <a:gd name="T17" fmla="*/ 668 h 690"/>
              <a:gd name="T18" fmla="*/ 920 w 1350"/>
              <a:gd name="T19" fmla="*/ 688 h 690"/>
              <a:gd name="T20" fmla="*/ 940 w 1350"/>
              <a:gd name="T21" fmla="*/ 648 h 690"/>
              <a:gd name="T22" fmla="*/ 962 w 1350"/>
              <a:gd name="T23" fmla="*/ 622 h 690"/>
              <a:gd name="T24" fmla="*/ 892 w 1350"/>
              <a:gd name="T25" fmla="*/ 590 h 690"/>
              <a:gd name="T26" fmla="*/ 844 w 1350"/>
              <a:gd name="T27" fmla="*/ 554 h 690"/>
              <a:gd name="T28" fmla="*/ 786 w 1350"/>
              <a:gd name="T29" fmla="*/ 568 h 690"/>
              <a:gd name="T30" fmla="*/ 722 w 1350"/>
              <a:gd name="T31" fmla="*/ 544 h 690"/>
              <a:gd name="T32" fmla="*/ 250 w 1350"/>
              <a:gd name="T33" fmla="*/ 516 h 690"/>
              <a:gd name="T34" fmla="*/ 208 w 1350"/>
              <a:gd name="T35" fmla="*/ 486 h 690"/>
              <a:gd name="T36" fmla="*/ 194 w 1350"/>
              <a:gd name="T37" fmla="*/ 448 h 690"/>
              <a:gd name="T38" fmla="*/ 180 w 1350"/>
              <a:gd name="T39" fmla="*/ 420 h 690"/>
              <a:gd name="T40" fmla="*/ 136 w 1350"/>
              <a:gd name="T41" fmla="*/ 372 h 690"/>
              <a:gd name="T42" fmla="*/ 58 w 1350"/>
              <a:gd name="T43" fmla="*/ 330 h 690"/>
              <a:gd name="T44" fmla="*/ 18 w 1350"/>
              <a:gd name="T45" fmla="*/ 64 h 690"/>
              <a:gd name="T46" fmla="*/ 138 w 1350"/>
              <a:gd name="T47" fmla="*/ 60 h 690"/>
              <a:gd name="T48" fmla="*/ 230 w 1350"/>
              <a:gd name="T49" fmla="*/ 64 h 690"/>
              <a:gd name="T50" fmla="*/ 328 w 1350"/>
              <a:gd name="T51" fmla="*/ 66 h 690"/>
              <a:gd name="T52" fmla="*/ 410 w 1350"/>
              <a:gd name="T53" fmla="*/ 110 h 690"/>
              <a:gd name="T54" fmla="*/ 528 w 1350"/>
              <a:gd name="T55" fmla="*/ 142 h 690"/>
              <a:gd name="T56" fmla="*/ 600 w 1350"/>
              <a:gd name="T57" fmla="*/ 112 h 690"/>
              <a:gd name="T58" fmla="*/ 676 w 1350"/>
              <a:gd name="T59" fmla="*/ 106 h 690"/>
              <a:gd name="T60" fmla="*/ 716 w 1350"/>
              <a:gd name="T61" fmla="*/ 134 h 690"/>
              <a:gd name="T62" fmla="*/ 740 w 1350"/>
              <a:gd name="T63" fmla="*/ 64 h 690"/>
              <a:gd name="T64" fmla="*/ 718 w 1350"/>
              <a:gd name="T65" fmla="*/ 12 h 690"/>
              <a:gd name="T66" fmla="*/ 776 w 1350"/>
              <a:gd name="T67" fmla="*/ 48 h 690"/>
              <a:gd name="T68" fmla="*/ 812 w 1350"/>
              <a:gd name="T69" fmla="*/ 98 h 690"/>
              <a:gd name="T70" fmla="*/ 834 w 1350"/>
              <a:gd name="T71" fmla="*/ 112 h 690"/>
              <a:gd name="T72" fmla="*/ 886 w 1350"/>
              <a:gd name="T73" fmla="*/ 74 h 690"/>
              <a:gd name="T74" fmla="*/ 940 w 1350"/>
              <a:gd name="T75" fmla="*/ 94 h 690"/>
              <a:gd name="T76" fmla="*/ 916 w 1350"/>
              <a:gd name="T77" fmla="*/ 152 h 690"/>
              <a:gd name="T78" fmla="*/ 870 w 1350"/>
              <a:gd name="T79" fmla="*/ 156 h 690"/>
              <a:gd name="T80" fmla="*/ 816 w 1350"/>
              <a:gd name="T81" fmla="*/ 172 h 690"/>
              <a:gd name="T82" fmla="*/ 830 w 1350"/>
              <a:gd name="T83" fmla="*/ 210 h 690"/>
              <a:gd name="T84" fmla="*/ 778 w 1350"/>
              <a:gd name="T85" fmla="*/ 222 h 690"/>
              <a:gd name="T86" fmla="*/ 736 w 1350"/>
              <a:gd name="T87" fmla="*/ 336 h 690"/>
              <a:gd name="T88" fmla="*/ 800 w 1350"/>
              <a:gd name="T89" fmla="*/ 374 h 690"/>
              <a:gd name="T90" fmla="*/ 904 w 1350"/>
              <a:gd name="T91" fmla="*/ 418 h 690"/>
              <a:gd name="T92" fmla="*/ 944 w 1350"/>
              <a:gd name="T93" fmla="*/ 484 h 690"/>
              <a:gd name="T94" fmla="*/ 984 w 1350"/>
              <a:gd name="T95" fmla="*/ 462 h 690"/>
              <a:gd name="T96" fmla="*/ 1020 w 1350"/>
              <a:gd name="T97" fmla="*/ 372 h 690"/>
              <a:gd name="T98" fmla="*/ 1004 w 1350"/>
              <a:gd name="T99" fmla="*/ 304 h 690"/>
              <a:gd name="T100" fmla="*/ 1044 w 1350"/>
              <a:gd name="T101" fmla="*/ 258 h 690"/>
              <a:gd name="T102" fmla="*/ 1134 w 1350"/>
              <a:gd name="T103" fmla="*/ 290 h 690"/>
              <a:gd name="T104" fmla="*/ 1168 w 1350"/>
              <a:gd name="T105" fmla="*/ 352 h 690"/>
              <a:gd name="T106" fmla="*/ 1228 w 1350"/>
              <a:gd name="T107" fmla="*/ 328 h 690"/>
              <a:gd name="T108" fmla="*/ 1256 w 1350"/>
              <a:gd name="T109" fmla="*/ 398 h 690"/>
              <a:gd name="T110" fmla="*/ 1318 w 1350"/>
              <a:gd name="T111" fmla="*/ 430 h 690"/>
              <a:gd name="T112" fmla="*/ 1284 w 1350"/>
              <a:gd name="T113" fmla="*/ 458 h 690"/>
              <a:gd name="T114" fmla="*/ 1348 w 1350"/>
              <a:gd name="T115" fmla="*/ 458 h 690"/>
              <a:gd name="T116" fmla="*/ 1286 w 1350"/>
              <a:gd name="T117" fmla="*/ 524 h 690"/>
              <a:gd name="T118" fmla="*/ 1152 w 1350"/>
              <a:gd name="T119" fmla="*/ 548 h 690"/>
              <a:gd name="T120" fmla="*/ 1116 w 1350"/>
              <a:gd name="T121" fmla="*/ 590 h 690"/>
              <a:gd name="T122" fmla="*/ 1202 w 1350"/>
              <a:gd name="T123" fmla="*/ 548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350" h="690">
                <a:moveTo>
                  <a:pt x="1218" y="562"/>
                </a:moveTo>
                <a:lnTo>
                  <a:pt x="1214" y="568"/>
                </a:lnTo>
                <a:lnTo>
                  <a:pt x="1204" y="570"/>
                </a:lnTo>
                <a:lnTo>
                  <a:pt x="1208" y="580"/>
                </a:lnTo>
                <a:lnTo>
                  <a:pt x="1204" y="588"/>
                </a:lnTo>
                <a:lnTo>
                  <a:pt x="1206" y="594"/>
                </a:lnTo>
                <a:lnTo>
                  <a:pt x="1210" y="602"/>
                </a:lnTo>
                <a:lnTo>
                  <a:pt x="1222" y="610"/>
                </a:lnTo>
                <a:lnTo>
                  <a:pt x="1236" y="614"/>
                </a:lnTo>
                <a:lnTo>
                  <a:pt x="1254" y="614"/>
                </a:lnTo>
                <a:lnTo>
                  <a:pt x="1262" y="612"/>
                </a:lnTo>
                <a:lnTo>
                  <a:pt x="1266" y="604"/>
                </a:lnTo>
                <a:lnTo>
                  <a:pt x="1270" y="596"/>
                </a:lnTo>
                <a:lnTo>
                  <a:pt x="1278" y="596"/>
                </a:lnTo>
                <a:lnTo>
                  <a:pt x="1278" y="604"/>
                </a:lnTo>
                <a:lnTo>
                  <a:pt x="1284" y="608"/>
                </a:lnTo>
                <a:lnTo>
                  <a:pt x="1284" y="616"/>
                </a:lnTo>
                <a:lnTo>
                  <a:pt x="1274" y="616"/>
                </a:lnTo>
                <a:lnTo>
                  <a:pt x="1268" y="616"/>
                </a:lnTo>
                <a:lnTo>
                  <a:pt x="1262" y="626"/>
                </a:lnTo>
                <a:lnTo>
                  <a:pt x="1258" y="630"/>
                </a:lnTo>
                <a:lnTo>
                  <a:pt x="1246" y="634"/>
                </a:lnTo>
                <a:lnTo>
                  <a:pt x="1230" y="640"/>
                </a:lnTo>
                <a:lnTo>
                  <a:pt x="1220" y="640"/>
                </a:lnTo>
                <a:lnTo>
                  <a:pt x="1212" y="648"/>
                </a:lnTo>
                <a:lnTo>
                  <a:pt x="1204" y="656"/>
                </a:lnTo>
                <a:lnTo>
                  <a:pt x="1198" y="662"/>
                </a:lnTo>
                <a:lnTo>
                  <a:pt x="1188" y="656"/>
                </a:lnTo>
                <a:lnTo>
                  <a:pt x="1186" y="648"/>
                </a:lnTo>
                <a:lnTo>
                  <a:pt x="1190" y="640"/>
                </a:lnTo>
                <a:lnTo>
                  <a:pt x="1202" y="632"/>
                </a:lnTo>
                <a:lnTo>
                  <a:pt x="1214" y="628"/>
                </a:lnTo>
                <a:lnTo>
                  <a:pt x="1216" y="626"/>
                </a:lnTo>
                <a:lnTo>
                  <a:pt x="1216" y="624"/>
                </a:lnTo>
                <a:lnTo>
                  <a:pt x="1214" y="620"/>
                </a:lnTo>
                <a:lnTo>
                  <a:pt x="1210" y="618"/>
                </a:lnTo>
                <a:lnTo>
                  <a:pt x="1198" y="624"/>
                </a:lnTo>
                <a:lnTo>
                  <a:pt x="1188" y="628"/>
                </a:lnTo>
                <a:lnTo>
                  <a:pt x="1172" y="632"/>
                </a:lnTo>
                <a:lnTo>
                  <a:pt x="1168" y="626"/>
                </a:lnTo>
                <a:lnTo>
                  <a:pt x="1162" y="620"/>
                </a:lnTo>
                <a:lnTo>
                  <a:pt x="1160" y="612"/>
                </a:lnTo>
                <a:lnTo>
                  <a:pt x="1162" y="596"/>
                </a:lnTo>
                <a:lnTo>
                  <a:pt x="1160" y="588"/>
                </a:lnTo>
                <a:lnTo>
                  <a:pt x="1146" y="584"/>
                </a:lnTo>
                <a:lnTo>
                  <a:pt x="1138" y="580"/>
                </a:lnTo>
                <a:lnTo>
                  <a:pt x="1130" y="588"/>
                </a:lnTo>
                <a:lnTo>
                  <a:pt x="1122" y="602"/>
                </a:lnTo>
                <a:lnTo>
                  <a:pt x="1118" y="612"/>
                </a:lnTo>
                <a:lnTo>
                  <a:pt x="1118" y="618"/>
                </a:lnTo>
                <a:lnTo>
                  <a:pt x="1112" y="626"/>
                </a:lnTo>
                <a:lnTo>
                  <a:pt x="1100" y="632"/>
                </a:lnTo>
                <a:lnTo>
                  <a:pt x="1042" y="632"/>
                </a:lnTo>
                <a:lnTo>
                  <a:pt x="1026" y="644"/>
                </a:lnTo>
                <a:lnTo>
                  <a:pt x="1020" y="648"/>
                </a:lnTo>
                <a:lnTo>
                  <a:pt x="1014" y="652"/>
                </a:lnTo>
                <a:lnTo>
                  <a:pt x="1002" y="652"/>
                </a:lnTo>
                <a:lnTo>
                  <a:pt x="986" y="652"/>
                </a:lnTo>
                <a:lnTo>
                  <a:pt x="980" y="656"/>
                </a:lnTo>
                <a:lnTo>
                  <a:pt x="972" y="660"/>
                </a:lnTo>
                <a:lnTo>
                  <a:pt x="974" y="664"/>
                </a:lnTo>
                <a:lnTo>
                  <a:pt x="982" y="664"/>
                </a:lnTo>
                <a:lnTo>
                  <a:pt x="980" y="668"/>
                </a:lnTo>
                <a:lnTo>
                  <a:pt x="982" y="672"/>
                </a:lnTo>
                <a:lnTo>
                  <a:pt x="964" y="674"/>
                </a:lnTo>
                <a:lnTo>
                  <a:pt x="948" y="678"/>
                </a:lnTo>
                <a:lnTo>
                  <a:pt x="940" y="680"/>
                </a:lnTo>
                <a:lnTo>
                  <a:pt x="932" y="686"/>
                </a:lnTo>
                <a:lnTo>
                  <a:pt x="924" y="690"/>
                </a:lnTo>
                <a:lnTo>
                  <a:pt x="920" y="688"/>
                </a:lnTo>
                <a:lnTo>
                  <a:pt x="920" y="680"/>
                </a:lnTo>
                <a:lnTo>
                  <a:pt x="922" y="678"/>
                </a:lnTo>
                <a:lnTo>
                  <a:pt x="922" y="670"/>
                </a:lnTo>
                <a:lnTo>
                  <a:pt x="928" y="668"/>
                </a:lnTo>
                <a:lnTo>
                  <a:pt x="936" y="666"/>
                </a:lnTo>
                <a:lnTo>
                  <a:pt x="938" y="656"/>
                </a:lnTo>
                <a:lnTo>
                  <a:pt x="940" y="648"/>
                </a:lnTo>
                <a:lnTo>
                  <a:pt x="946" y="642"/>
                </a:lnTo>
                <a:lnTo>
                  <a:pt x="948" y="636"/>
                </a:lnTo>
                <a:lnTo>
                  <a:pt x="952" y="636"/>
                </a:lnTo>
                <a:lnTo>
                  <a:pt x="958" y="642"/>
                </a:lnTo>
                <a:lnTo>
                  <a:pt x="966" y="640"/>
                </a:lnTo>
                <a:lnTo>
                  <a:pt x="968" y="632"/>
                </a:lnTo>
                <a:lnTo>
                  <a:pt x="962" y="622"/>
                </a:lnTo>
                <a:lnTo>
                  <a:pt x="954" y="614"/>
                </a:lnTo>
                <a:lnTo>
                  <a:pt x="942" y="610"/>
                </a:lnTo>
                <a:lnTo>
                  <a:pt x="930" y="608"/>
                </a:lnTo>
                <a:lnTo>
                  <a:pt x="914" y="608"/>
                </a:lnTo>
                <a:lnTo>
                  <a:pt x="902" y="606"/>
                </a:lnTo>
                <a:lnTo>
                  <a:pt x="896" y="600"/>
                </a:lnTo>
                <a:lnTo>
                  <a:pt x="892" y="590"/>
                </a:lnTo>
                <a:lnTo>
                  <a:pt x="888" y="578"/>
                </a:lnTo>
                <a:lnTo>
                  <a:pt x="886" y="574"/>
                </a:lnTo>
                <a:lnTo>
                  <a:pt x="874" y="574"/>
                </a:lnTo>
                <a:lnTo>
                  <a:pt x="870" y="566"/>
                </a:lnTo>
                <a:lnTo>
                  <a:pt x="864" y="558"/>
                </a:lnTo>
                <a:lnTo>
                  <a:pt x="854" y="558"/>
                </a:lnTo>
                <a:lnTo>
                  <a:pt x="844" y="554"/>
                </a:lnTo>
                <a:lnTo>
                  <a:pt x="836" y="554"/>
                </a:lnTo>
                <a:lnTo>
                  <a:pt x="828" y="560"/>
                </a:lnTo>
                <a:lnTo>
                  <a:pt x="818" y="566"/>
                </a:lnTo>
                <a:lnTo>
                  <a:pt x="810" y="572"/>
                </a:lnTo>
                <a:lnTo>
                  <a:pt x="804" y="570"/>
                </a:lnTo>
                <a:lnTo>
                  <a:pt x="794" y="570"/>
                </a:lnTo>
                <a:lnTo>
                  <a:pt x="786" y="568"/>
                </a:lnTo>
                <a:lnTo>
                  <a:pt x="782" y="568"/>
                </a:lnTo>
                <a:lnTo>
                  <a:pt x="772" y="564"/>
                </a:lnTo>
                <a:lnTo>
                  <a:pt x="748" y="560"/>
                </a:lnTo>
                <a:lnTo>
                  <a:pt x="736" y="556"/>
                </a:lnTo>
                <a:lnTo>
                  <a:pt x="732" y="552"/>
                </a:lnTo>
                <a:lnTo>
                  <a:pt x="730" y="544"/>
                </a:lnTo>
                <a:lnTo>
                  <a:pt x="722" y="544"/>
                </a:lnTo>
                <a:lnTo>
                  <a:pt x="720" y="552"/>
                </a:lnTo>
                <a:lnTo>
                  <a:pt x="290" y="552"/>
                </a:lnTo>
                <a:lnTo>
                  <a:pt x="282" y="542"/>
                </a:lnTo>
                <a:lnTo>
                  <a:pt x="272" y="532"/>
                </a:lnTo>
                <a:lnTo>
                  <a:pt x="266" y="536"/>
                </a:lnTo>
                <a:lnTo>
                  <a:pt x="256" y="526"/>
                </a:lnTo>
                <a:lnTo>
                  <a:pt x="250" y="516"/>
                </a:lnTo>
                <a:lnTo>
                  <a:pt x="244" y="520"/>
                </a:lnTo>
                <a:lnTo>
                  <a:pt x="232" y="512"/>
                </a:lnTo>
                <a:lnTo>
                  <a:pt x="214" y="510"/>
                </a:lnTo>
                <a:lnTo>
                  <a:pt x="218" y="500"/>
                </a:lnTo>
                <a:lnTo>
                  <a:pt x="216" y="494"/>
                </a:lnTo>
                <a:lnTo>
                  <a:pt x="208" y="494"/>
                </a:lnTo>
                <a:lnTo>
                  <a:pt x="208" y="486"/>
                </a:lnTo>
                <a:lnTo>
                  <a:pt x="206" y="478"/>
                </a:lnTo>
                <a:lnTo>
                  <a:pt x="202" y="472"/>
                </a:lnTo>
                <a:lnTo>
                  <a:pt x="196" y="470"/>
                </a:lnTo>
                <a:lnTo>
                  <a:pt x="188" y="474"/>
                </a:lnTo>
                <a:lnTo>
                  <a:pt x="190" y="466"/>
                </a:lnTo>
                <a:lnTo>
                  <a:pt x="196" y="456"/>
                </a:lnTo>
                <a:lnTo>
                  <a:pt x="194" y="448"/>
                </a:lnTo>
                <a:lnTo>
                  <a:pt x="188" y="452"/>
                </a:lnTo>
                <a:lnTo>
                  <a:pt x="180" y="458"/>
                </a:lnTo>
                <a:lnTo>
                  <a:pt x="172" y="458"/>
                </a:lnTo>
                <a:lnTo>
                  <a:pt x="172" y="446"/>
                </a:lnTo>
                <a:lnTo>
                  <a:pt x="174" y="438"/>
                </a:lnTo>
                <a:lnTo>
                  <a:pt x="174" y="432"/>
                </a:lnTo>
                <a:lnTo>
                  <a:pt x="180" y="420"/>
                </a:lnTo>
                <a:lnTo>
                  <a:pt x="178" y="410"/>
                </a:lnTo>
                <a:lnTo>
                  <a:pt x="174" y="408"/>
                </a:lnTo>
                <a:lnTo>
                  <a:pt x="172" y="400"/>
                </a:lnTo>
                <a:lnTo>
                  <a:pt x="158" y="392"/>
                </a:lnTo>
                <a:lnTo>
                  <a:pt x="150" y="386"/>
                </a:lnTo>
                <a:lnTo>
                  <a:pt x="146" y="384"/>
                </a:lnTo>
                <a:lnTo>
                  <a:pt x="136" y="372"/>
                </a:lnTo>
                <a:lnTo>
                  <a:pt x="126" y="354"/>
                </a:lnTo>
                <a:lnTo>
                  <a:pt x="118" y="346"/>
                </a:lnTo>
                <a:lnTo>
                  <a:pt x="100" y="326"/>
                </a:lnTo>
                <a:lnTo>
                  <a:pt x="88" y="314"/>
                </a:lnTo>
                <a:lnTo>
                  <a:pt x="70" y="322"/>
                </a:lnTo>
                <a:lnTo>
                  <a:pt x="68" y="328"/>
                </a:lnTo>
                <a:lnTo>
                  <a:pt x="58" y="330"/>
                </a:lnTo>
                <a:lnTo>
                  <a:pt x="46" y="320"/>
                </a:lnTo>
                <a:lnTo>
                  <a:pt x="34" y="310"/>
                </a:lnTo>
                <a:lnTo>
                  <a:pt x="26" y="300"/>
                </a:lnTo>
                <a:lnTo>
                  <a:pt x="10" y="306"/>
                </a:lnTo>
                <a:lnTo>
                  <a:pt x="0" y="302"/>
                </a:lnTo>
                <a:lnTo>
                  <a:pt x="0" y="62"/>
                </a:lnTo>
                <a:lnTo>
                  <a:pt x="18" y="64"/>
                </a:lnTo>
                <a:lnTo>
                  <a:pt x="48" y="76"/>
                </a:lnTo>
                <a:lnTo>
                  <a:pt x="84" y="86"/>
                </a:lnTo>
                <a:lnTo>
                  <a:pt x="82" y="72"/>
                </a:lnTo>
                <a:lnTo>
                  <a:pt x="100" y="62"/>
                </a:lnTo>
                <a:lnTo>
                  <a:pt x="110" y="68"/>
                </a:lnTo>
                <a:lnTo>
                  <a:pt x="116" y="72"/>
                </a:lnTo>
                <a:lnTo>
                  <a:pt x="138" y="60"/>
                </a:lnTo>
                <a:lnTo>
                  <a:pt x="162" y="48"/>
                </a:lnTo>
                <a:lnTo>
                  <a:pt x="178" y="48"/>
                </a:lnTo>
                <a:lnTo>
                  <a:pt x="180" y="56"/>
                </a:lnTo>
                <a:lnTo>
                  <a:pt x="192" y="58"/>
                </a:lnTo>
                <a:lnTo>
                  <a:pt x="208" y="38"/>
                </a:lnTo>
                <a:lnTo>
                  <a:pt x="218" y="46"/>
                </a:lnTo>
                <a:lnTo>
                  <a:pt x="230" y="64"/>
                </a:lnTo>
                <a:lnTo>
                  <a:pt x="244" y="66"/>
                </a:lnTo>
                <a:lnTo>
                  <a:pt x="256" y="50"/>
                </a:lnTo>
                <a:lnTo>
                  <a:pt x="262" y="52"/>
                </a:lnTo>
                <a:lnTo>
                  <a:pt x="270" y="70"/>
                </a:lnTo>
                <a:lnTo>
                  <a:pt x="282" y="62"/>
                </a:lnTo>
                <a:lnTo>
                  <a:pt x="302" y="56"/>
                </a:lnTo>
                <a:lnTo>
                  <a:pt x="328" y="66"/>
                </a:lnTo>
                <a:lnTo>
                  <a:pt x="352" y="72"/>
                </a:lnTo>
                <a:lnTo>
                  <a:pt x="382" y="82"/>
                </a:lnTo>
                <a:lnTo>
                  <a:pt x="404" y="84"/>
                </a:lnTo>
                <a:lnTo>
                  <a:pt x="422" y="92"/>
                </a:lnTo>
                <a:lnTo>
                  <a:pt x="424" y="100"/>
                </a:lnTo>
                <a:lnTo>
                  <a:pt x="412" y="102"/>
                </a:lnTo>
                <a:lnTo>
                  <a:pt x="410" y="110"/>
                </a:lnTo>
                <a:lnTo>
                  <a:pt x="426" y="118"/>
                </a:lnTo>
                <a:lnTo>
                  <a:pt x="456" y="116"/>
                </a:lnTo>
                <a:lnTo>
                  <a:pt x="478" y="114"/>
                </a:lnTo>
                <a:lnTo>
                  <a:pt x="486" y="110"/>
                </a:lnTo>
                <a:lnTo>
                  <a:pt x="504" y="120"/>
                </a:lnTo>
                <a:lnTo>
                  <a:pt x="520" y="130"/>
                </a:lnTo>
                <a:lnTo>
                  <a:pt x="528" y="142"/>
                </a:lnTo>
                <a:lnTo>
                  <a:pt x="534" y="138"/>
                </a:lnTo>
                <a:lnTo>
                  <a:pt x="530" y="120"/>
                </a:lnTo>
                <a:lnTo>
                  <a:pt x="526" y="110"/>
                </a:lnTo>
                <a:lnTo>
                  <a:pt x="536" y="104"/>
                </a:lnTo>
                <a:lnTo>
                  <a:pt x="560" y="94"/>
                </a:lnTo>
                <a:lnTo>
                  <a:pt x="578" y="104"/>
                </a:lnTo>
                <a:lnTo>
                  <a:pt x="600" y="112"/>
                </a:lnTo>
                <a:lnTo>
                  <a:pt x="622" y="116"/>
                </a:lnTo>
                <a:lnTo>
                  <a:pt x="646" y="116"/>
                </a:lnTo>
                <a:lnTo>
                  <a:pt x="668" y="116"/>
                </a:lnTo>
                <a:lnTo>
                  <a:pt x="688" y="118"/>
                </a:lnTo>
                <a:lnTo>
                  <a:pt x="694" y="112"/>
                </a:lnTo>
                <a:lnTo>
                  <a:pt x="688" y="108"/>
                </a:lnTo>
                <a:lnTo>
                  <a:pt x="676" y="106"/>
                </a:lnTo>
                <a:lnTo>
                  <a:pt x="678" y="98"/>
                </a:lnTo>
                <a:lnTo>
                  <a:pt x="684" y="96"/>
                </a:lnTo>
                <a:lnTo>
                  <a:pt x="696" y="100"/>
                </a:lnTo>
                <a:lnTo>
                  <a:pt x="708" y="112"/>
                </a:lnTo>
                <a:lnTo>
                  <a:pt x="704" y="116"/>
                </a:lnTo>
                <a:lnTo>
                  <a:pt x="710" y="126"/>
                </a:lnTo>
                <a:lnTo>
                  <a:pt x="716" y="134"/>
                </a:lnTo>
                <a:lnTo>
                  <a:pt x="724" y="134"/>
                </a:lnTo>
                <a:lnTo>
                  <a:pt x="724" y="120"/>
                </a:lnTo>
                <a:lnTo>
                  <a:pt x="722" y="108"/>
                </a:lnTo>
                <a:lnTo>
                  <a:pt x="742" y="102"/>
                </a:lnTo>
                <a:lnTo>
                  <a:pt x="752" y="90"/>
                </a:lnTo>
                <a:lnTo>
                  <a:pt x="750" y="78"/>
                </a:lnTo>
                <a:lnTo>
                  <a:pt x="740" y="64"/>
                </a:lnTo>
                <a:lnTo>
                  <a:pt x="722" y="60"/>
                </a:lnTo>
                <a:lnTo>
                  <a:pt x="708" y="52"/>
                </a:lnTo>
                <a:lnTo>
                  <a:pt x="704" y="44"/>
                </a:lnTo>
                <a:lnTo>
                  <a:pt x="712" y="32"/>
                </a:lnTo>
                <a:lnTo>
                  <a:pt x="704" y="26"/>
                </a:lnTo>
                <a:lnTo>
                  <a:pt x="708" y="12"/>
                </a:lnTo>
                <a:lnTo>
                  <a:pt x="718" y="12"/>
                </a:lnTo>
                <a:lnTo>
                  <a:pt x="722" y="4"/>
                </a:lnTo>
                <a:lnTo>
                  <a:pt x="732" y="0"/>
                </a:lnTo>
                <a:lnTo>
                  <a:pt x="750" y="4"/>
                </a:lnTo>
                <a:lnTo>
                  <a:pt x="762" y="20"/>
                </a:lnTo>
                <a:lnTo>
                  <a:pt x="764" y="26"/>
                </a:lnTo>
                <a:lnTo>
                  <a:pt x="774" y="40"/>
                </a:lnTo>
                <a:lnTo>
                  <a:pt x="776" y="48"/>
                </a:lnTo>
                <a:lnTo>
                  <a:pt x="770" y="54"/>
                </a:lnTo>
                <a:lnTo>
                  <a:pt x="774" y="64"/>
                </a:lnTo>
                <a:lnTo>
                  <a:pt x="786" y="62"/>
                </a:lnTo>
                <a:lnTo>
                  <a:pt x="794" y="64"/>
                </a:lnTo>
                <a:lnTo>
                  <a:pt x="796" y="80"/>
                </a:lnTo>
                <a:lnTo>
                  <a:pt x="802" y="94"/>
                </a:lnTo>
                <a:lnTo>
                  <a:pt x="812" y="98"/>
                </a:lnTo>
                <a:lnTo>
                  <a:pt x="820" y="92"/>
                </a:lnTo>
                <a:lnTo>
                  <a:pt x="814" y="82"/>
                </a:lnTo>
                <a:lnTo>
                  <a:pt x="820" y="74"/>
                </a:lnTo>
                <a:lnTo>
                  <a:pt x="832" y="78"/>
                </a:lnTo>
                <a:lnTo>
                  <a:pt x="842" y="90"/>
                </a:lnTo>
                <a:lnTo>
                  <a:pt x="836" y="100"/>
                </a:lnTo>
                <a:lnTo>
                  <a:pt x="834" y="112"/>
                </a:lnTo>
                <a:lnTo>
                  <a:pt x="844" y="120"/>
                </a:lnTo>
                <a:lnTo>
                  <a:pt x="858" y="126"/>
                </a:lnTo>
                <a:lnTo>
                  <a:pt x="866" y="120"/>
                </a:lnTo>
                <a:lnTo>
                  <a:pt x="874" y="106"/>
                </a:lnTo>
                <a:lnTo>
                  <a:pt x="876" y="90"/>
                </a:lnTo>
                <a:lnTo>
                  <a:pt x="888" y="82"/>
                </a:lnTo>
                <a:lnTo>
                  <a:pt x="886" y="74"/>
                </a:lnTo>
                <a:lnTo>
                  <a:pt x="880" y="62"/>
                </a:lnTo>
                <a:lnTo>
                  <a:pt x="882" y="56"/>
                </a:lnTo>
                <a:lnTo>
                  <a:pt x="900" y="58"/>
                </a:lnTo>
                <a:lnTo>
                  <a:pt x="922" y="66"/>
                </a:lnTo>
                <a:lnTo>
                  <a:pt x="936" y="76"/>
                </a:lnTo>
                <a:lnTo>
                  <a:pt x="946" y="90"/>
                </a:lnTo>
                <a:lnTo>
                  <a:pt x="940" y="94"/>
                </a:lnTo>
                <a:lnTo>
                  <a:pt x="932" y="96"/>
                </a:lnTo>
                <a:lnTo>
                  <a:pt x="934" y="106"/>
                </a:lnTo>
                <a:lnTo>
                  <a:pt x="940" y="114"/>
                </a:lnTo>
                <a:lnTo>
                  <a:pt x="946" y="126"/>
                </a:lnTo>
                <a:lnTo>
                  <a:pt x="938" y="136"/>
                </a:lnTo>
                <a:lnTo>
                  <a:pt x="926" y="146"/>
                </a:lnTo>
                <a:lnTo>
                  <a:pt x="916" y="152"/>
                </a:lnTo>
                <a:lnTo>
                  <a:pt x="902" y="144"/>
                </a:lnTo>
                <a:lnTo>
                  <a:pt x="898" y="152"/>
                </a:lnTo>
                <a:lnTo>
                  <a:pt x="890" y="156"/>
                </a:lnTo>
                <a:lnTo>
                  <a:pt x="878" y="144"/>
                </a:lnTo>
                <a:lnTo>
                  <a:pt x="868" y="144"/>
                </a:lnTo>
                <a:lnTo>
                  <a:pt x="864" y="150"/>
                </a:lnTo>
                <a:lnTo>
                  <a:pt x="870" y="156"/>
                </a:lnTo>
                <a:lnTo>
                  <a:pt x="864" y="166"/>
                </a:lnTo>
                <a:lnTo>
                  <a:pt x="856" y="174"/>
                </a:lnTo>
                <a:lnTo>
                  <a:pt x="846" y="176"/>
                </a:lnTo>
                <a:lnTo>
                  <a:pt x="834" y="174"/>
                </a:lnTo>
                <a:lnTo>
                  <a:pt x="822" y="166"/>
                </a:lnTo>
                <a:lnTo>
                  <a:pt x="812" y="164"/>
                </a:lnTo>
                <a:lnTo>
                  <a:pt x="816" y="172"/>
                </a:lnTo>
                <a:lnTo>
                  <a:pt x="822" y="178"/>
                </a:lnTo>
                <a:lnTo>
                  <a:pt x="834" y="180"/>
                </a:lnTo>
                <a:lnTo>
                  <a:pt x="842" y="182"/>
                </a:lnTo>
                <a:lnTo>
                  <a:pt x="854" y="182"/>
                </a:lnTo>
                <a:lnTo>
                  <a:pt x="848" y="192"/>
                </a:lnTo>
                <a:lnTo>
                  <a:pt x="840" y="204"/>
                </a:lnTo>
                <a:lnTo>
                  <a:pt x="830" y="210"/>
                </a:lnTo>
                <a:lnTo>
                  <a:pt x="820" y="212"/>
                </a:lnTo>
                <a:lnTo>
                  <a:pt x="812" y="212"/>
                </a:lnTo>
                <a:lnTo>
                  <a:pt x="804" y="208"/>
                </a:lnTo>
                <a:lnTo>
                  <a:pt x="804" y="218"/>
                </a:lnTo>
                <a:lnTo>
                  <a:pt x="784" y="220"/>
                </a:lnTo>
                <a:lnTo>
                  <a:pt x="772" y="216"/>
                </a:lnTo>
                <a:lnTo>
                  <a:pt x="778" y="222"/>
                </a:lnTo>
                <a:lnTo>
                  <a:pt x="794" y="228"/>
                </a:lnTo>
                <a:lnTo>
                  <a:pt x="796" y="238"/>
                </a:lnTo>
                <a:lnTo>
                  <a:pt x="778" y="242"/>
                </a:lnTo>
                <a:lnTo>
                  <a:pt x="758" y="260"/>
                </a:lnTo>
                <a:lnTo>
                  <a:pt x="740" y="290"/>
                </a:lnTo>
                <a:lnTo>
                  <a:pt x="734" y="332"/>
                </a:lnTo>
                <a:lnTo>
                  <a:pt x="736" y="336"/>
                </a:lnTo>
                <a:lnTo>
                  <a:pt x="738" y="342"/>
                </a:lnTo>
                <a:lnTo>
                  <a:pt x="748" y="342"/>
                </a:lnTo>
                <a:lnTo>
                  <a:pt x="756" y="344"/>
                </a:lnTo>
                <a:lnTo>
                  <a:pt x="760" y="352"/>
                </a:lnTo>
                <a:lnTo>
                  <a:pt x="768" y="378"/>
                </a:lnTo>
                <a:lnTo>
                  <a:pt x="782" y="374"/>
                </a:lnTo>
                <a:lnTo>
                  <a:pt x="800" y="374"/>
                </a:lnTo>
                <a:lnTo>
                  <a:pt x="814" y="380"/>
                </a:lnTo>
                <a:lnTo>
                  <a:pt x="830" y="382"/>
                </a:lnTo>
                <a:lnTo>
                  <a:pt x="846" y="398"/>
                </a:lnTo>
                <a:lnTo>
                  <a:pt x="864" y="408"/>
                </a:lnTo>
                <a:lnTo>
                  <a:pt x="886" y="416"/>
                </a:lnTo>
                <a:lnTo>
                  <a:pt x="896" y="416"/>
                </a:lnTo>
                <a:lnTo>
                  <a:pt x="904" y="418"/>
                </a:lnTo>
                <a:lnTo>
                  <a:pt x="916" y="420"/>
                </a:lnTo>
                <a:lnTo>
                  <a:pt x="928" y="420"/>
                </a:lnTo>
                <a:lnTo>
                  <a:pt x="932" y="442"/>
                </a:lnTo>
                <a:lnTo>
                  <a:pt x="932" y="456"/>
                </a:lnTo>
                <a:lnTo>
                  <a:pt x="932" y="462"/>
                </a:lnTo>
                <a:lnTo>
                  <a:pt x="932" y="470"/>
                </a:lnTo>
                <a:lnTo>
                  <a:pt x="944" y="484"/>
                </a:lnTo>
                <a:lnTo>
                  <a:pt x="956" y="498"/>
                </a:lnTo>
                <a:lnTo>
                  <a:pt x="962" y="502"/>
                </a:lnTo>
                <a:lnTo>
                  <a:pt x="970" y="506"/>
                </a:lnTo>
                <a:lnTo>
                  <a:pt x="984" y="498"/>
                </a:lnTo>
                <a:lnTo>
                  <a:pt x="988" y="490"/>
                </a:lnTo>
                <a:lnTo>
                  <a:pt x="990" y="482"/>
                </a:lnTo>
                <a:lnTo>
                  <a:pt x="984" y="462"/>
                </a:lnTo>
                <a:lnTo>
                  <a:pt x="980" y="448"/>
                </a:lnTo>
                <a:lnTo>
                  <a:pt x="972" y="428"/>
                </a:lnTo>
                <a:lnTo>
                  <a:pt x="980" y="424"/>
                </a:lnTo>
                <a:lnTo>
                  <a:pt x="1002" y="418"/>
                </a:lnTo>
                <a:lnTo>
                  <a:pt x="1012" y="406"/>
                </a:lnTo>
                <a:lnTo>
                  <a:pt x="1022" y="394"/>
                </a:lnTo>
                <a:lnTo>
                  <a:pt x="1020" y="372"/>
                </a:lnTo>
                <a:lnTo>
                  <a:pt x="1010" y="354"/>
                </a:lnTo>
                <a:lnTo>
                  <a:pt x="998" y="346"/>
                </a:lnTo>
                <a:lnTo>
                  <a:pt x="988" y="340"/>
                </a:lnTo>
                <a:lnTo>
                  <a:pt x="990" y="334"/>
                </a:lnTo>
                <a:lnTo>
                  <a:pt x="996" y="328"/>
                </a:lnTo>
                <a:lnTo>
                  <a:pt x="1006" y="316"/>
                </a:lnTo>
                <a:lnTo>
                  <a:pt x="1004" y="304"/>
                </a:lnTo>
                <a:lnTo>
                  <a:pt x="1002" y="292"/>
                </a:lnTo>
                <a:lnTo>
                  <a:pt x="1006" y="274"/>
                </a:lnTo>
                <a:lnTo>
                  <a:pt x="996" y="264"/>
                </a:lnTo>
                <a:lnTo>
                  <a:pt x="1000" y="250"/>
                </a:lnTo>
                <a:lnTo>
                  <a:pt x="1018" y="250"/>
                </a:lnTo>
                <a:lnTo>
                  <a:pt x="1034" y="256"/>
                </a:lnTo>
                <a:lnTo>
                  <a:pt x="1044" y="258"/>
                </a:lnTo>
                <a:lnTo>
                  <a:pt x="1058" y="256"/>
                </a:lnTo>
                <a:lnTo>
                  <a:pt x="1064" y="248"/>
                </a:lnTo>
                <a:lnTo>
                  <a:pt x="1076" y="256"/>
                </a:lnTo>
                <a:lnTo>
                  <a:pt x="1090" y="266"/>
                </a:lnTo>
                <a:lnTo>
                  <a:pt x="1098" y="278"/>
                </a:lnTo>
                <a:lnTo>
                  <a:pt x="1112" y="286"/>
                </a:lnTo>
                <a:lnTo>
                  <a:pt x="1134" y="290"/>
                </a:lnTo>
                <a:lnTo>
                  <a:pt x="1130" y="300"/>
                </a:lnTo>
                <a:lnTo>
                  <a:pt x="1130" y="314"/>
                </a:lnTo>
                <a:lnTo>
                  <a:pt x="1136" y="328"/>
                </a:lnTo>
                <a:lnTo>
                  <a:pt x="1136" y="336"/>
                </a:lnTo>
                <a:lnTo>
                  <a:pt x="1148" y="338"/>
                </a:lnTo>
                <a:lnTo>
                  <a:pt x="1156" y="346"/>
                </a:lnTo>
                <a:lnTo>
                  <a:pt x="1168" y="352"/>
                </a:lnTo>
                <a:lnTo>
                  <a:pt x="1182" y="340"/>
                </a:lnTo>
                <a:lnTo>
                  <a:pt x="1196" y="328"/>
                </a:lnTo>
                <a:lnTo>
                  <a:pt x="1196" y="316"/>
                </a:lnTo>
                <a:lnTo>
                  <a:pt x="1204" y="306"/>
                </a:lnTo>
                <a:lnTo>
                  <a:pt x="1210" y="300"/>
                </a:lnTo>
                <a:lnTo>
                  <a:pt x="1218" y="312"/>
                </a:lnTo>
                <a:lnTo>
                  <a:pt x="1228" y="328"/>
                </a:lnTo>
                <a:lnTo>
                  <a:pt x="1242" y="346"/>
                </a:lnTo>
                <a:lnTo>
                  <a:pt x="1244" y="354"/>
                </a:lnTo>
                <a:lnTo>
                  <a:pt x="1254" y="360"/>
                </a:lnTo>
                <a:lnTo>
                  <a:pt x="1256" y="372"/>
                </a:lnTo>
                <a:lnTo>
                  <a:pt x="1260" y="384"/>
                </a:lnTo>
                <a:lnTo>
                  <a:pt x="1254" y="390"/>
                </a:lnTo>
                <a:lnTo>
                  <a:pt x="1256" y="398"/>
                </a:lnTo>
                <a:lnTo>
                  <a:pt x="1272" y="408"/>
                </a:lnTo>
                <a:lnTo>
                  <a:pt x="1274" y="412"/>
                </a:lnTo>
                <a:lnTo>
                  <a:pt x="1274" y="418"/>
                </a:lnTo>
                <a:lnTo>
                  <a:pt x="1284" y="422"/>
                </a:lnTo>
                <a:lnTo>
                  <a:pt x="1298" y="426"/>
                </a:lnTo>
                <a:lnTo>
                  <a:pt x="1310" y="430"/>
                </a:lnTo>
                <a:lnTo>
                  <a:pt x="1318" y="430"/>
                </a:lnTo>
                <a:lnTo>
                  <a:pt x="1314" y="438"/>
                </a:lnTo>
                <a:lnTo>
                  <a:pt x="1300" y="444"/>
                </a:lnTo>
                <a:lnTo>
                  <a:pt x="1292" y="448"/>
                </a:lnTo>
                <a:lnTo>
                  <a:pt x="1280" y="454"/>
                </a:lnTo>
                <a:lnTo>
                  <a:pt x="1282" y="456"/>
                </a:lnTo>
                <a:lnTo>
                  <a:pt x="1282" y="458"/>
                </a:lnTo>
                <a:lnTo>
                  <a:pt x="1284" y="458"/>
                </a:lnTo>
                <a:lnTo>
                  <a:pt x="1300" y="450"/>
                </a:lnTo>
                <a:lnTo>
                  <a:pt x="1314" y="444"/>
                </a:lnTo>
                <a:lnTo>
                  <a:pt x="1324" y="442"/>
                </a:lnTo>
                <a:lnTo>
                  <a:pt x="1328" y="452"/>
                </a:lnTo>
                <a:lnTo>
                  <a:pt x="1330" y="452"/>
                </a:lnTo>
                <a:lnTo>
                  <a:pt x="1336" y="452"/>
                </a:lnTo>
                <a:lnTo>
                  <a:pt x="1348" y="458"/>
                </a:lnTo>
                <a:lnTo>
                  <a:pt x="1350" y="474"/>
                </a:lnTo>
                <a:lnTo>
                  <a:pt x="1348" y="488"/>
                </a:lnTo>
                <a:lnTo>
                  <a:pt x="1340" y="496"/>
                </a:lnTo>
                <a:lnTo>
                  <a:pt x="1330" y="502"/>
                </a:lnTo>
                <a:lnTo>
                  <a:pt x="1310" y="502"/>
                </a:lnTo>
                <a:lnTo>
                  <a:pt x="1302" y="512"/>
                </a:lnTo>
                <a:lnTo>
                  <a:pt x="1286" y="524"/>
                </a:lnTo>
                <a:lnTo>
                  <a:pt x="1264" y="528"/>
                </a:lnTo>
                <a:lnTo>
                  <a:pt x="1238" y="524"/>
                </a:lnTo>
                <a:lnTo>
                  <a:pt x="1218" y="524"/>
                </a:lnTo>
                <a:lnTo>
                  <a:pt x="1190" y="526"/>
                </a:lnTo>
                <a:lnTo>
                  <a:pt x="1174" y="532"/>
                </a:lnTo>
                <a:lnTo>
                  <a:pt x="1166" y="544"/>
                </a:lnTo>
                <a:lnTo>
                  <a:pt x="1152" y="548"/>
                </a:lnTo>
                <a:lnTo>
                  <a:pt x="1138" y="560"/>
                </a:lnTo>
                <a:lnTo>
                  <a:pt x="1128" y="570"/>
                </a:lnTo>
                <a:lnTo>
                  <a:pt x="1114" y="586"/>
                </a:lnTo>
                <a:lnTo>
                  <a:pt x="1112" y="590"/>
                </a:lnTo>
                <a:lnTo>
                  <a:pt x="1110" y="592"/>
                </a:lnTo>
                <a:lnTo>
                  <a:pt x="1110" y="594"/>
                </a:lnTo>
                <a:lnTo>
                  <a:pt x="1116" y="590"/>
                </a:lnTo>
                <a:lnTo>
                  <a:pt x="1120" y="588"/>
                </a:lnTo>
                <a:lnTo>
                  <a:pt x="1134" y="572"/>
                </a:lnTo>
                <a:lnTo>
                  <a:pt x="1150" y="562"/>
                </a:lnTo>
                <a:lnTo>
                  <a:pt x="1168" y="554"/>
                </a:lnTo>
                <a:lnTo>
                  <a:pt x="1174" y="550"/>
                </a:lnTo>
                <a:lnTo>
                  <a:pt x="1184" y="546"/>
                </a:lnTo>
                <a:lnTo>
                  <a:pt x="1202" y="548"/>
                </a:lnTo>
                <a:lnTo>
                  <a:pt x="1214" y="552"/>
                </a:lnTo>
                <a:lnTo>
                  <a:pt x="1218" y="56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98" name="Freeform 17">
            <a:extLst>
              <a:ext uri="{FF2B5EF4-FFF2-40B4-BE49-F238E27FC236}">
                <a16:creationId xmlns:a16="http://schemas.microsoft.com/office/drawing/2014/main" id="{62A3CDBA-313A-4676-B5E8-A7F37639B3F9}"/>
              </a:ext>
            </a:extLst>
          </p:cNvPr>
          <p:cNvSpPr>
            <a:spLocks/>
          </p:cNvSpPr>
          <p:nvPr/>
        </p:nvSpPr>
        <p:spPr bwMode="gray">
          <a:xfrm>
            <a:off x="1379879" y="1428081"/>
            <a:ext cx="27597" cy="18693"/>
          </a:xfrm>
          <a:custGeom>
            <a:avLst/>
            <a:gdLst>
              <a:gd name="T0" fmla="*/ 6 w 38"/>
              <a:gd name="T1" fmla="*/ 0 h 28"/>
              <a:gd name="T2" fmla="*/ 22 w 38"/>
              <a:gd name="T3" fmla="*/ 0 h 28"/>
              <a:gd name="T4" fmla="*/ 36 w 38"/>
              <a:gd name="T5" fmla="*/ 0 h 28"/>
              <a:gd name="T6" fmla="*/ 38 w 38"/>
              <a:gd name="T7" fmla="*/ 8 h 28"/>
              <a:gd name="T8" fmla="*/ 34 w 38"/>
              <a:gd name="T9" fmla="*/ 20 h 28"/>
              <a:gd name="T10" fmla="*/ 28 w 38"/>
              <a:gd name="T11" fmla="*/ 28 h 28"/>
              <a:gd name="T12" fmla="*/ 22 w 38"/>
              <a:gd name="T13" fmla="*/ 24 h 28"/>
              <a:gd name="T14" fmla="*/ 14 w 38"/>
              <a:gd name="T15" fmla="*/ 14 h 28"/>
              <a:gd name="T16" fmla="*/ 6 w 38"/>
              <a:gd name="T17" fmla="*/ 10 h 28"/>
              <a:gd name="T18" fmla="*/ 0 w 38"/>
              <a:gd name="T19" fmla="*/ 4 h 28"/>
              <a:gd name="T20" fmla="*/ 6 w 38"/>
              <a:gd name="T21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8" h="28">
                <a:moveTo>
                  <a:pt x="6" y="0"/>
                </a:moveTo>
                <a:lnTo>
                  <a:pt x="22" y="0"/>
                </a:lnTo>
                <a:lnTo>
                  <a:pt x="36" y="0"/>
                </a:lnTo>
                <a:lnTo>
                  <a:pt x="38" y="8"/>
                </a:lnTo>
                <a:lnTo>
                  <a:pt x="34" y="20"/>
                </a:lnTo>
                <a:lnTo>
                  <a:pt x="28" y="28"/>
                </a:lnTo>
                <a:lnTo>
                  <a:pt x="22" y="24"/>
                </a:lnTo>
                <a:lnTo>
                  <a:pt x="14" y="14"/>
                </a:lnTo>
                <a:lnTo>
                  <a:pt x="6" y="10"/>
                </a:lnTo>
                <a:lnTo>
                  <a:pt x="0" y="4"/>
                </a:lnTo>
                <a:lnTo>
                  <a:pt x="6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99" name="Freeform 18">
            <a:extLst>
              <a:ext uri="{FF2B5EF4-FFF2-40B4-BE49-F238E27FC236}">
                <a16:creationId xmlns:a16="http://schemas.microsoft.com/office/drawing/2014/main" id="{7AF3023E-4FFC-4C02-B71B-8E4BCEC7F5CE}"/>
              </a:ext>
            </a:extLst>
          </p:cNvPr>
          <p:cNvSpPr>
            <a:spLocks/>
          </p:cNvSpPr>
          <p:nvPr/>
        </p:nvSpPr>
        <p:spPr bwMode="gray">
          <a:xfrm>
            <a:off x="1198319" y="1345297"/>
            <a:ext cx="81339" cy="38721"/>
          </a:xfrm>
          <a:custGeom>
            <a:avLst/>
            <a:gdLst>
              <a:gd name="T0" fmla="*/ 0 w 112"/>
              <a:gd name="T1" fmla="*/ 50 h 58"/>
              <a:gd name="T2" fmla="*/ 4 w 112"/>
              <a:gd name="T3" fmla="*/ 40 h 58"/>
              <a:gd name="T4" fmla="*/ 16 w 112"/>
              <a:gd name="T5" fmla="*/ 38 h 58"/>
              <a:gd name="T6" fmla="*/ 26 w 112"/>
              <a:gd name="T7" fmla="*/ 32 h 58"/>
              <a:gd name="T8" fmla="*/ 36 w 112"/>
              <a:gd name="T9" fmla="*/ 26 h 58"/>
              <a:gd name="T10" fmla="*/ 50 w 112"/>
              <a:gd name="T11" fmla="*/ 18 h 58"/>
              <a:gd name="T12" fmla="*/ 58 w 112"/>
              <a:gd name="T13" fmla="*/ 10 h 58"/>
              <a:gd name="T14" fmla="*/ 76 w 112"/>
              <a:gd name="T15" fmla="*/ 8 h 58"/>
              <a:gd name="T16" fmla="*/ 86 w 112"/>
              <a:gd name="T17" fmla="*/ 8 h 58"/>
              <a:gd name="T18" fmla="*/ 92 w 112"/>
              <a:gd name="T19" fmla="*/ 12 h 58"/>
              <a:gd name="T20" fmla="*/ 96 w 112"/>
              <a:gd name="T21" fmla="*/ 0 h 58"/>
              <a:gd name="T22" fmla="*/ 106 w 112"/>
              <a:gd name="T23" fmla="*/ 4 h 58"/>
              <a:gd name="T24" fmla="*/ 112 w 112"/>
              <a:gd name="T25" fmla="*/ 8 h 58"/>
              <a:gd name="T26" fmla="*/ 108 w 112"/>
              <a:gd name="T27" fmla="*/ 14 h 58"/>
              <a:gd name="T28" fmla="*/ 100 w 112"/>
              <a:gd name="T29" fmla="*/ 16 h 58"/>
              <a:gd name="T30" fmla="*/ 106 w 112"/>
              <a:gd name="T31" fmla="*/ 24 h 58"/>
              <a:gd name="T32" fmla="*/ 104 w 112"/>
              <a:gd name="T33" fmla="*/ 30 h 58"/>
              <a:gd name="T34" fmla="*/ 96 w 112"/>
              <a:gd name="T35" fmla="*/ 32 h 58"/>
              <a:gd name="T36" fmla="*/ 90 w 112"/>
              <a:gd name="T37" fmla="*/ 38 h 58"/>
              <a:gd name="T38" fmla="*/ 84 w 112"/>
              <a:gd name="T39" fmla="*/ 44 h 58"/>
              <a:gd name="T40" fmla="*/ 74 w 112"/>
              <a:gd name="T41" fmla="*/ 42 h 58"/>
              <a:gd name="T42" fmla="*/ 76 w 112"/>
              <a:gd name="T43" fmla="*/ 32 h 58"/>
              <a:gd name="T44" fmla="*/ 72 w 112"/>
              <a:gd name="T45" fmla="*/ 28 h 58"/>
              <a:gd name="T46" fmla="*/ 66 w 112"/>
              <a:gd name="T47" fmla="*/ 30 h 58"/>
              <a:gd name="T48" fmla="*/ 64 w 112"/>
              <a:gd name="T49" fmla="*/ 34 h 58"/>
              <a:gd name="T50" fmla="*/ 64 w 112"/>
              <a:gd name="T51" fmla="*/ 40 h 58"/>
              <a:gd name="T52" fmla="*/ 60 w 112"/>
              <a:gd name="T53" fmla="*/ 48 h 58"/>
              <a:gd name="T54" fmla="*/ 54 w 112"/>
              <a:gd name="T55" fmla="*/ 50 h 58"/>
              <a:gd name="T56" fmla="*/ 48 w 112"/>
              <a:gd name="T57" fmla="*/ 48 h 58"/>
              <a:gd name="T58" fmla="*/ 48 w 112"/>
              <a:gd name="T59" fmla="*/ 58 h 58"/>
              <a:gd name="T60" fmla="*/ 34 w 112"/>
              <a:gd name="T61" fmla="*/ 58 h 58"/>
              <a:gd name="T62" fmla="*/ 32 w 112"/>
              <a:gd name="T63" fmla="*/ 50 h 58"/>
              <a:gd name="T64" fmla="*/ 24 w 112"/>
              <a:gd name="T65" fmla="*/ 50 h 58"/>
              <a:gd name="T66" fmla="*/ 24 w 112"/>
              <a:gd name="T67" fmla="*/ 54 h 58"/>
              <a:gd name="T68" fmla="*/ 8 w 112"/>
              <a:gd name="T69" fmla="*/ 54 h 58"/>
              <a:gd name="T70" fmla="*/ 0 w 112"/>
              <a:gd name="T71" fmla="*/ 5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12" h="58">
                <a:moveTo>
                  <a:pt x="0" y="50"/>
                </a:moveTo>
                <a:lnTo>
                  <a:pt x="4" y="40"/>
                </a:lnTo>
                <a:lnTo>
                  <a:pt x="16" y="38"/>
                </a:lnTo>
                <a:lnTo>
                  <a:pt x="26" y="32"/>
                </a:lnTo>
                <a:lnTo>
                  <a:pt x="36" y="26"/>
                </a:lnTo>
                <a:lnTo>
                  <a:pt x="50" y="18"/>
                </a:lnTo>
                <a:lnTo>
                  <a:pt x="58" y="10"/>
                </a:lnTo>
                <a:lnTo>
                  <a:pt x="76" y="8"/>
                </a:lnTo>
                <a:lnTo>
                  <a:pt x="86" y="8"/>
                </a:lnTo>
                <a:lnTo>
                  <a:pt x="92" y="12"/>
                </a:lnTo>
                <a:lnTo>
                  <a:pt x="96" y="0"/>
                </a:lnTo>
                <a:lnTo>
                  <a:pt x="106" y="4"/>
                </a:lnTo>
                <a:lnTo>
                  <a:pt x="112" y="8"/>
                </a:lnTo>
                <a:lnTo>
                  <a:pt x="108" y="14"/>
                </a:lnTo>
                <a:lnTo>
                  <a:pt x="100" y="16"/>
                </a:lnTo>
                <a:lnTo>
                  <a:pt x="106" y="24"/>
                </a:lnTo>
                <a:lnTo>
                  <a:pt x="104" y="30"/>
                </a:lnTo>
                <a:lnTo>
                  <a:pt x="96" y="32"/>
                </a:lnTo>
                <a:lnTo>
                  <a:pt x="90" y="38"/>
                </a:lnTo>
                <a:lnTo>
                  <a:pt x="84" y="44"/>
                </a:lnTo>
                <a:lnTo>
                  <a:pt x="74" y="42"/>
                </a:lnTo>
                <a:lnTo>
                  <a:pt x="76" y="32"/>
                </a:lnTo>
                <a:lnTo>
                  <a:pt x="72" y="28"/>
                </a:lnTo>
                <a:lnTo>
                  <a:pt x="66" y="30"/>
                </a:lnTo>
                <a:lnTo>
                  <a:pt x="64" y="34"/>
                </a:lnTo>
                <a:lnTo>
                  <a:pt x="64" y="40"/>
                </a:lnTo>
                <a:lnTo>
                  <a:pt x="60" y="48"/>
                </a:lnTo>
                <a:lnTo>
                  <a:pt x="54" y="50"/>
                </a:lnTo>
                <a:lnTo>
                  <a:pt x="48" y="48"/>
                </a:lnTo>
                <a:lnTo>
                  <a:pt x="48" y="58"/>
                </a:lnTo>
                <a:lnTo>
                  <a:pt x="34" y="58"/>
                </a:lnTo>
                <a:lnTo>
                  <a:pt x="32" y="50"/>
                </a:lnTo>
                <a:lnTo>
                  <a:pt x="24" y="50"/>
                </a:lnTo>
                <a:lnTo>
                  <a:pt x="24" y="54"/>
                </a:lnTo>
                <a:lnTo>
                  <a:pt x="8" y="54"/>
                </a:lnTo>
                <a:lnTo>
                  <a:pt x="0" y="5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00" name="Freeform 19">
            <a:extLst>
              <a:ext uri="{FF2B5EF4-FFF2-40B4-BE49-F238E27FC236}">
                <a16:creationId xmlns:a16="http://schemas.microsoft.com/office/drawing/2014/main" id="{FC4A3987-8AE1-4B24-9435-8FA5AE1515CF}"/>
              </a:ext>
            </a:extLst>
          </p:cNvPr>
          <p:cNvSpPr>
            <a:spLocks/>
          </p:cNvSpPr>
          <p:nvPr/>
        </p:nvSpPr>
        <p:spPr bwMode="gray">
          <a:xfrm>
            <a:off x="1237536" y="1378677"/>
            <a:ext cx="20335" cy="13352"/>
          </a:xfrm>
          <a:custGeom>
            <a:avLst/>
            <a:gdLst>
              <a:gd name="T0" fmla="*/ 18 w 28"/>
              <a:gd name="T1" fmla="*/ 0 h 20"/>
              <a:gd name="T2" fmla="*/ 28 w 28"/>
              <a:gd name="T3" fmla="*/ 2 h 20"/>
              <a:gd name="T4" fmla="*/ 26 w 28"/>
              <a:gd name="T5" fmla="*/ 8 h 20"/>
              <a:gd name="T6" fmla="*/ 20 w 28"/>
              <a:gd name="T7" fmla="*/ 18 h 20"/>
              <a:gd name="T8" fmla="*/ 12 w 28"/>
              <a:gd name="T9" fmla="*/ 20 h 20"/>
              <a:gd name="T10" fmla="*/ 0 w 28"/>
              <a:gd name="T11" fmla="*/ 16 h 20"/>
              <a:gd name="T12" fmla="*/ 4 w 28"/>
              <a:gd name="T13" fmla="*/ 8 h 20"/>
              <a:gd name="T14" fmla="*/ 14 w 28"/>
              <a:gd name="T15" fmla="*/ 2 h 20"/>
              <a:gd name="T16" fmla="*/ 18 w 28"/>
              <a:gd name="T17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" h="20">
                <a:moveTo>
                  <a:pt x="18" y="0"/>
                </a:moveTo>
                <a:lnTo>
                  <a:pt x="28" y="2"/>
                </a:lnTo>
                <a:lnTo>
                  <a:pt x="26" y="8"/>
                </a:lnTo>
                <a:lnTo>
                  <a:pt x="20" y="18"/>
                </a:lnTo>
                <a:lnTo>
                  <a:pt x="12" y="20"/>
                </a:lnTo>
                <a:lnTo>
                  <a:pt x="0" y="16"/>
                </a:lnTo>
                <a:lnTo>
                  <a:pt x="4" y="8"/>
                </a:lnTo>
                <a:lnTo>
                  <a:pt x="14" y="2"/>
                </a:lnTo>
                <a:lnTo>
                  <a:pt x="18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01" name="Freeform 20">
            <a:extLst>
              <a:ext uri="{FF2B5EF4-FFF2-40B4-BE49-F238E27FC236}">
                <a16:creationId xmlns:a16="http://schemas.microsoft.com/office/drawing/2014/main" id="{51314B8E-4F42-4E50-9848-8C2D289229A0}"/>
              </a:ext>
            </a:extLst>
          </p:cNvPr>
          <p:cNvSpPr>
            <a:spLocks/>
          </p:cNvSpPr>
          <p:nvPr/>
        </p:nvSpPr>
        <p:spPr bwMode="gray">
          <a:xfrm>
            <a:off x="1307255" y="1334615"/>
            <a:ext cx="40669" cy="17358"/>
          </a:xfrm>
          <a:custGeom>
            <a:avLst/>
            <a:gdLst>
              <a:gd name="T0" fmla="*/ 0 w 56"/>
              <a:gd name="T1" fmla="*/ 6 h 26"/>
              <a:gd name="T2" fmla="*/ 14 w 56"/>
              <a:gd name="T3" fmla="*/ 0 h 26"/>
              <a:gd name="T4" fmla="*/ 32 w 56"/>
              <a:gd name="T5" fmla="*/ 0 h 26"/>
              <a:gd name="T6" fmla="*/ 54 w 56"/>
              <a:gd name="T7" fmla="*/ 0 h 26"/>
              <a:gd name="T8" fmla="*/ 56 w 56"/>
              <a:gd name="T9" fmla="*/ 6 h 26"/>
              <a:gd name="T10" fmla="*/ 44 w 56"/>
              <a:gd name="T11" fmla="*/ 8 h 26"/>
              <a:gd name="T12" fmla="*/ 40 w 56"/>
              <a:gd name="T13" fmla="*/ 12 h 26"/>
              <a:gd name="T14" fmla="*/ 50 w 56"/>
              <a:gd name="T15" fmla="*/ 12 h 26"/>
              <a:gd name="T16" fmla="*/ 50 w 56"/>
              <a:gd name="T17" fmla="*/ 18 h 26"/>
              <a:gd name="T18" fmla="*/ 44 w 56"/>
              <a:gd name="T19" fmla="*/ 24 h 26"/>
              <a:gd name="T20" fmla="*/ 32 w 56"/>
              <a:gd name="T21" fmla="*/ 24 h 26"/>
              <a:gd name="T22" fmla="*/ 22 w 56"/>
              <a:gd name="T23" fmla="*/ 24 h 26"/>
              <a:gd name="T24" fmla="*/ 16 w 56"/>
              <a:gd name="T25" fmla="*/ 26 h 26"/>
              <a:gd name="T26" fmla="*/ 4 w 56"/>
              <a:gd name="T27" fmla="*/ 20 h 26"/>
              <a:gd name="T28" fmla="*/ 0 w 56"/>
              <a:gd name="T29" fmla="*/ 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6" h="26">
                <a:moveTo>
                  <a:pt x="0" y="6"/>
                </a:moveTo>
                <a:lnTo>
                  <a:pt x="14" y="0"/>
                </a:lnTo>
                <a:lnTo>
                  <a:pt x="32" y="0"/>
                </a:lnTo>
                <a:lnTo>
                  <a:pt x="54" y="0"/>
                </a:lnTo>
                <a:lnTo>
                  <a:pt x="56" y="6"/>
                </a:lnTo>
                <a:lnTo>
                  <a:pt x="44" y="8"/>
                </a:lnTo>
                <a:lnTo>
                  <a:pt x="40" y="12"/>
                </a:lnTo>
                <a:lnTo>
                  <a:pt x="50" y="12"/>
                </a:lnTo>
                <a:lnTo>
                  <a:pt x="50" y="18"/>
                </a:lnTo>
                <a:lnTo>
                  <a:pt x="44" y="24"/>
                </a:lnTo>
                <a:lnTo>
                  <a:pt x="32" y="24"/>
                </a:lnTo>
                <a:lnTo>
                  <a:pt x="22" y="24"/>
                </a:lnTo>
                <a:lnTo>
                  <a:pt x="16" y="26"/>
                </a:lnTo>
                <a:lnTo>
                  <a:pt x="4" y="20"/>
                </a:lnTo>
                <a:lnTo>
                  <a:pt x="0" y="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02" name="Freeform 21">
            <a:extLst>
              <a:ext uri="{FF2B5EF4-FFF2-40B4-BE49-F238E27FC236}">
                <a16:creationId xmlns:a16="http://schemas.microsoft.com/office/drawing/2014/main" id="{4D3C21A4-2954-4AEC-941C-2D8587936519}"/>
              </a:ext>
            </a:extLst>
          </p:cNvPr>
          <p:cNvSpPr>
            <a:spLocks/>
          </p:cNvSpPr>
          <p:nvPr/>
        </p:nvSpPr>
        <p:spPr bwMode="gray">
          <a:xfrm>
            <a:off x="1307255" y="1318592"/>
            <a:ext cx="46479" cy="12017"/>
          </a:xfrm>
          <a:custGeom>
            <a:avLst/>
            <a:gdLst>
              <a:gd name="T0" fmla="*/ 8 w 64"/>
              <a:gd name="T1" fmla="*/ 12 h 18"/>
              <a:gd name="T2" fmla="*/ 24 w 64"/>
              <a:gd name="T3" fmla="*/ 6 h 18"/>
              <a:gd name="T4" fmla="*/ 42 w 64"/>
              <a:gd name="T5" fmla="*/ 0 h 18"/>
              <a:gd name="T6" fmla="*/ 56 w 64"/>
              <a:gd name="T7" fmla="*/ 2 h 18"/>
              <a:gd name="T8" fmla="*/ 64 w 64"/>
              <a:gd name="T9" fmla="*/ 8 h 18"/>
              <a:gd name="T10" fmla="*/ 62 w 64"/>
              <a:gd name="T11" fmla="*/ 14 h 18"/>
              <a:gd name="T12" fmla="*/ 52 w 64"/>
              <a:gd name="T13" fmla="*/ 16 h 18"/>
              <a:gd name="T14" fmla="*/ 34 w 64"/>
              <a:gd name="T15" fmla="*/ 16 h 18"/>
              <a:gd name="T16" fmla="*/ 14 w 64"/>
              <a:gd name="T17" fmla="*/ 18 h 18"/>
              <a:gd name="T18" fmla="*/ 0 w 64"/>
              <a:gd name="T19" fmla="*/ 18 h 18"/>
              <a:gd name="T20" fmla="*/ 8 w 64"/>
              <a:gd name="T21" fmla="*/ 12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4" h="18">
                <a:moveTo>
                  <a:pt x="8" y="12"/>
                </a:moveTo>
                <a:lnTo>
                  <a:pt x="24" y="6"/>
                </a:lnTo>
                <a:lnTo>
                  <a:pt x="42" y="0"/>
                </a:lnTo>
                <a:lnTo>
                  <a:pt x="56" y="2"/>
                </a:lnTo>
                <a:lnTo>
                  <a:pt x="64" y="8"/>
                </a:lnTo>
                <a:lnTo>
                  <a:pt x="62" y="14"/>
                </a:lnTo>
                <a:lnTo>
                  <a:pt x="52" y="16"/>
                </a:lnTo>
                <a:lnTo>
                  <a:pt x="34" y="16"/>
                </a:lnTo>
                <a:lnTo>
                  <a:pt x="14" y="18"/>
                </a:lnTo>
                <a:lnTo>
                  <a:pt x="0" y="18"/>
                </a:lnTo>
                <a:lnTo>
                  <a:pt x="8" y="1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03" name="Freeform 22">
            <a:extLst>
              <a:ext uri="{FF2B5EF4-FFF2-40B4-BE49-F238E27FC236}">
                <a16:creationId xmlns:a16="http://schemas.microsoft.com/office/drawing/2014/main" id="{100E4607-C819-43A9-9ECF-8538F7D12797}"/>
              </a:ext>
            </a:extLst>
          </p:cNvPr>
          <p:cNvSpPr>
            <a:spLocks/>
          </p:cNvSpPr>
          <p:nvPr/>
        </p:nvSpPr>
        <p:spPr bwMode="gray">
          <a:xfrm>
            <a:off x="1430716" y="1426745"/>
            <a:ext cx="69719" cy="52074"/>
          </a:xfrm>
          <a:custGeom>
            <a:avLst/>
            <a:gdLst>
              <a:gd name="T0" fmla="*/ 62 w 96"/>
              <a:gd name="T1" fmla="*/ 78 h 78"/>
              <a:gd name="T2" fmla="*/ 50 w 96"/>
              <a:gd name="T3" fmla="*/ 66 h 78"/>
              <a:gd name="T4" fmla="*/ 34 w 96"/>
              <a:gd name="T5" fmla="*/ 56 h 78"/>
              <a:gd name="T6" fmla="*/ 26 w 96"/>
              <a:gd name="T7" fmla="*/ 48 h 78"/>
              <a:gd name="T8" fmla="*/ 10 w 96"/>
              <a:gd name="T9" fmla="*/ 46 h 78"/>
              <a:gd name="T10" fmla="*/ 2 w 96"/>
              <a:gd name="T11" fmla="*/ 40 h 78"/>
              <a:gd name="T12" fmla="*/ 0 w 96"/>
              <a:gd name="T13" fmla="*/ 32 h 78"/>
              <a:gd name="T14" fmla="*/ 4 w 96"/>
              <a:gd name="T15" fmla="*/ 22 h 78"/>
              <a:gd name="T16" fmla="*/ 12 w 96"/>
              <a:gd name="T17" fmla="*/ 24 h 78"/>
              <a:gd name="T18" fmla="*/ 18 w 96"/>
              <a:gd name="T19" fmla="*/ 32 h 78"/>
              <a:gd name="T20" fmla="*/ 28 w 96"/>
              <a:gd name="T21" fmla="*/ 30 h 78"/>
              <a:gd name="T22" fmla="*/ 38 w 96"/>
              <a:gd name="T23" fmla="*/ 24 h 78"/>
              <a:gd name="T24" fmla="*/ 34 w 96"/>
              <a:gd name="T25" fmla="*/ 18 h 78"/>
              <a:gd name="T26" fmla="*/ 20 w 96"/>
              <a:gd name="T27" fmla="*/ 12 h 78"/>
              <a:gd name="T28" fmla="*/ 32 w 96"/>
              <a:gd name="T29" fmla="*/ 2 h 78"/>
              <a:gd name="T30" fmla="*/ 46 w 96"/>
              <a:gd name="T31" fmla="*/ 0 h 78"/>
              <a:gd name="T32" fmla="*/ 50 w 96"/>
              <a:gd name="T33" fmla="*/ 4 h 78"/>
              <a:gd name="T34" fmla="*/ 58 w 96"/>
              <a:gd name="T35" fmla="*/ 4 h 78"/>
              <a:gd name="T36" fmla="*/ 66 w 96"/>
              <a:gd name="T37" fmla="*/ 0 h 78"/>
              <a:gd name="T38" fmla="*/ 92 w 96"/>
              <a:gd name="T39" fmla="*/ 2 h 78"/>
              <a:gd name="T40" fmla="*/ 86 w 96"/>
              <a:gd name="T41" fmla="*/ 6 h 78"/>
              <a:gd name="T42" fmla="*/ 78 w 96"/>
              <a:gd name="T43" fmla="*/ 14 h 78"/>
              <a:gd name="T44" fmla="*/ 68 w 96"/>
              <a:gd name="T45" fmla="*/ 20 h 78"/>
              <a:gd name="T46" fmla="*/ 64 w 96"/>
              <a:gd name="T47" fmla="*/ 26 h 78"/>
              <a:gd name="T48" fmla="*/ 74 w 96"/>
              <a:gd name="T49" fmla="*/ 26 h 78"/>
              <a:gd name="T50" fmla="*/ 80 w 96"/>
              <a:gd name="T51" fmla="*/ 26 h 78"/>
              <a:gd name="T52" fmla="*/ 86 w 96"/>
              <a:gd name="T53" fmla="*/ 34 h 78"/>
              <a:gd name="T54" fmla="*/ 94 w 96"/>
              <a:gd name="T55" fmla="*/ 28 h 78"/>
              <a:gd name="T56" fmla="*/ 96 w 96"/>
              <a:gd name="T57" fmla="*/ 38 h 78"/>
              <a:gd name="T58" fmla="*/ 92 w 96"/>
              <a:gd name="T59" fmla="*/ 54 h 78"/>
              <a:gd name="T60" fmla="*/ 84 w 96"/>
              <a:gd name="T61" fmla="*/ 66 h 78"/>
              <a:gd name="T62" fmla="*/ 78 w 96"/>
              <a:gd name="T63" fmla="*/ 68 h 78"/>
              <a:gd name="T64" fmla="*/ 70 w 96"/>
              <a:gd name="T65" fmla="*/ 64 h 78"/>
              <a:gd name="T66" fmla="*/ 68 w 96"/>
              <a:gd name="T67" fmla="*/ 68 h 78"/>
              <a:gd name="T68" fmla="*/ 62 w 96"/>
              <a:gd name="T69" fmla="*/ 78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96" h="78">
                <a:moveTo>
                  <a:pt x="62" y="78"/>
                </a:moveTo>
                <a:lnTo>
                  <a:pt x="50" y="66"/>
                </a:lnTo>
                <a:lnTo>
                  <a:pt x="34" y="56"/>
                </a:lnTo>
                <a:lnTo>
                  <a:pt x="26" y="48"/>
                </a:lnTo>
                <a:lnTo>
                  <a:pt x="10" y="46"/>
                </a:lnTo>
                <a:lnTo>
                  <a:pt x="2" y="40"/>
                </a:lnTo>
                <a:lnTo>
                  <a:pt x="0" y="32"/>
                </a:lnTo>
                <a:lnTo>
                  <a:pt x="4" y="22"/>
                </a:lnTo>
                <a:lnTo>
                  <a:pt x="12" y="24"/>
                </a:lnTo>
                <a:lnTo>
                  <a:pt x="18" y="32"/>
                </a:lnTo>
                <a:lnTo>
                  <a:pt x="28" y="30"/>
                </a:lnTo>
                <a:lnTo>
                  <a:pt x="38" y="24"/>
                </a:lnTo>
                <a:lnTo>
                  <a:pt x="34" y="18"/>
                </a:lnTo>
                <a:lnTo>
                  <a:pt x="20" y="12"/>
                </a:lnTo>
                <a:lnTo>
                  <a:pt x="32" y="2"/>
                </a:lnTo>
                <a:lnTo>
                  <a:pt x="46" y="0"/>
                </a:lnTo>
                <a:lnTo>
                  <a:pt x="50" y="4"/>
                </a:lnTo>
                <a:lnTo>
                  <a:pt x="58" y="4"/>
                </a:lnTo>
                <a:lnTo>
                  <a:pt x="66" y="0"/>
                </a:lnTo>
                <a:lnTo>
                  <a:pt x="92" y="2"/>
                </a:lnTo>
                <a:lnTo>
                  <a:pt x="86" y="6"/>
                </a:lnTo>
                <a:lnTo>
                  <a:pt x="78" y="14"/>
                </a:lnTo>
                <a:lnTo>
                  <a:pt x="68" y="20"/>
                </a:lnTo>
                <a:lnTo>
                  <a:pt x="64" y="26"/>
                </a:lnTo>
                <a:lnTo>
                  <a:pt x="74" y="26"/>
                </a:lnTo>
                <a:lnTo>
                  <a:pt x="80" y="26"/>
                </a:lnTo>
                <a:lnTo>
                  <a:pt x="86" y="34"/>
                </a:lnTo>
                <a:lnTo>
                  <a:pt x="94" y="28"/>
                </a:lnTo>
                <a:lnTo>
                  <a:pt x="96" y="38"/>
                </a:lnTo>
                <a:lnTo>
                  <a:pt x="92" y="54"/>
                </a:lnTo>
                <a:lnTo>
                  <a:pt x="84" y="66"/>
                </a:lnTo>
                <a:lnTo>
                  <a:pt x="78" y="68"/>
                </a:lnTo>
                <a:lnTo>
                  <a:pt x="70" y="64"/>
                </a:lnTo>
                <a:lnTo>
                  <a:pt x="68" y="68"/>
                </a:lnTo>
                <a:lnTo>
                  <a:pt x="62" y="78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04" name="Freeform 23">
            <a:extLst>
              <a:ext uri="{FF2B5EF4-FFF2-40B4-BE49-F238E27FC236}">
                <a16:creationId xmlns:a16="http://schemas.microsoft.com/office/drawing/2014/main" id="{7A7320CE-1809-48AE-AC38-FF175A0420E8}"/>
              </a:ext>
            </a:extLst>
          </p:cNvPr>
          <p:cNvSpPr>
            <a:spLocks/>
          </p:cNvSpPr>
          <p:nvPr/>
        </p:nvSpPr>
        <p:spPr bwMode="gray">
          <a:xfrm>
            <a:off x="1500435" y="1385353"/>
            <a:ext cx="33407" cy="22699"/>
          </a:xfrm>
          <a:custGeom>
            <a:avLst/>
            <a:gdLst>
              <a:gd name="T0" fmla="*/ 46 w 46"/>
              <a:gd name="T1" fmla="*/ 34 h 34"/>
              <a:gd name="T2" fmla="*/ 28 w 46"/>
              <a:gd name="T3" fmla="*/ 32 h 34"/>
              <a:gd name="T4" fmla="*/ 12 w 46"/>
              <a:gd name="T5" fmla="*/ 30 h 34"/>
              <a:gd name="T6" fmla="*/ 0 w 46"/>
              <a:gd name="T7" fmla="*/ 22 h 34"/>
              <a:gd name="T8" fmla="*/ 8 w 46"/>
              <a:gd name="T9" fmla="*/ 12 h 34"/>
              <a:gd name="T10" fmla="*/ 18 w 46"/>
              <a:gd name="T11" fmla="*/ 6 h 34"/>
              <a:gd name="T12" fmla="*/ 26 w 46"/>
              <a:gd name="T13" fmla="*/ 0 h 34"/>
              <a:gd name="T14" fmla="*/ 34 w 46"/>
              <a:gd name="T15" fmla="*/ 6 h 34"/>
              <a:gd name="T16" fmla="*/ 44 w 46"/>
              <a:gd name="T17" fmla="*/ 14 h 34"/>
              <a:gd name="T18" fmla="*/ 46 w 46"/>
              <a:gd name="T19" fmla="*/ 22 h 34"/>
              <a:gd name="T20" fmla="*/ 46 w 46"/>
              <a:gd name="T21" fmla="*/ 34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6" h="34">
                <a:moveTo>
                  <a:pt x="46" y="34"/>
                </a:moveTo>
                <a:lnTo>
                  <a:pt x="28" y="32"/>
                </a:lnTo>
                <a:lnTo>
                  <a:pt x="12" y="30"/>
                </a:lnTo>
                <a:lnTo>
                  <a:pt x="0" y="22"/>
                </a:lnTo>
                <a:lnTo>
                  <a:pt x="8" y="12"/>
                </a:lnTo>
                <a:lnTo>
                  <a:pt x="18" y="6"/>
                </a:lnTo>
                <a:lnTo>
                  <a:pt x="26" y="0"/>
                </a:lnTo>
                <a:lnTo>
                  <a:pt x="34" y="6"/>
                </a:lnTo>
                <a:lnTo>
                  <a:pt x="44" y="14"/>
                </a:lnTo>
                <a:lnTo>
                  <a:pt x="46" y="22"/>
                </a:lnTo>
                <a:lnTo>
                  <a:pt x="46" y="34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05" name="Freeform 24">
            <a:extLst>
              <a:ext uri="{FF2B5EF4-FFF2-40B4-BE49-F238E27FC236}">
                <a16:creationId xmlns:a16="http://schemas.microsoft.com/office/drawing/2014/main" id="{74DD27EB-A8D9-4427-AE72-14F7E361C10E}"/>
              </a:ext>
            </a:extLst>
          </p:cNvPr>
          <p:cNvSpPr>
            <a:spLocks/>
          </p:cNvSpPr>
          <p:nvPr/>
        </p:nvSpPr>
        <p:spPr bwMode="gray">
          <a:xfrm>
            <a:off x="1480101" y="1317257"/>
            <a:ext cx="39217" cy="21364"/>
          </a:xfrm>
          <a:custGeom>
            <a:avLst/>
            <a:gdLst>
              <a:gd name="T0" fmla="*/ 4 w 54"/>
              <a:gd name="T1" fmla="*/ 0 h 32"/>
              <a:gd name="T2" fmla="*/ 22 w 54"/>
              <a:gd name="T3" fmla="*/ 4 h 32"/>
              <a:gd name="T4" fmla="*/ 36 w 54"/>
              <a:gd name="T5" fmla="*/ 10 h 32"/>
              <a:gd name="T6" fmla="*/ 48 w 54"/>
              <a:gd name="T7" fmla="*/ 14 h 32"/>
              <a:gd name="T8" fmla="*/ 54 w 54"/>
              <a:gd name="T9" fmla="*/ 20 h 32"/>
              <a:gd name="T10" fmla="*/ 48 w 54"/>
              <a:gd name="T11" fmla="*/ 30 h 32"/>
              <a:gd name="T12" fmla="*/ 36 w 54"/>
              <a:gd name="T13" fmla="*/ 32 h 32"/>
              <a:gd name="T14" fmla="*/ 20 w 54"/>
              <a:gd name="T15" fmla="*/ 32 h 32"/>
              <a:gd name="T16" fmla="*/ 16 w 54"/>
              <a:gd name="T17" fmla="*/ 22 h 32"/>
              <a:gd name="T18" fmla="*/ 6 w 54"/>
              <a:gd name="T19" fmla="*/ 18 h 32"/>
              <a:gd name="T20" fmla="*/ 0 w 54"/>
              <a:gd name="T21" fmla="*/ 12 h 32"/>
              <a:gd name="T22" fmla="*/ 0 w 54"/>
              <a:gd name="T23" fmla="*/ 4 h 32"/>
              <a:gd name="T24" fmla="*/ 4 w 54"/>
              <a:gd name="T25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4" h="32">
                <a:moveTo>
                  <a:pt x="4" y="0"/>
                </a:moveTo>
                <a:lnTo>
                  <a:pt x="22" y="4"/>
                </a:lnTo>
                <a:lnTo>
                  <a:pt x="36" y="10"/>
                </a:lnTo>
                <a:lnTo>
                  <a:pt x="48" y="14"/>
                </a:lnTo>
                <a:lnTo>
                  <a:pt x="54" y="20"/>
                </a:lnTo>
                <a:lnTo>
                  <a:pt x="48" y="30"/>
                </a:lnTo>
                <a:lnTo>
                  <a:pt x="36" y="32"/>
                </a:lnTo>
                <a:lnTo>
                  <a:pt x="20" y="32"/>
                </a:lnTo>
                <a:lnTo>
                  <a:pt x="16" y="22"/>
                </a:lnTo>
                <a:lnTo>
                  <a:pt x="6" y="18"/>
                </a:lnTo>
                <a:lnTo>
                  <a:pt x="0" y="12"/>
                </a:lnTo>
                <a:lnTo>
                  <a:pt x="0" y="4"/>
                </a:lnTo>
                <a:lnTo>
                  <a:pt x="4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06" name="Freeform 25">
            <a:extLst>
              <a:ext uri="{FF2B5EF4-FFF2-40B4-BE49-F238E27FC236}">
                <a16:creationId xmlns:a16="http://schemas.microsoft.com/office/drawing/2014/main" id="{69BE6953-5708-4385-9095-F50B303226FE}"/>
              </a:ext>
            </a:extLst>
          </p:cNvPr>
          <p:cNvSpPr>
            <a:spLocks/>
          </p:cNvSpPr>
          <p:nvPr/>
        </p:nvSpPr>
        <p:spPr bwMode="gray">
          <a:xfrm>
            <a:off x="1497530" y="1255837"/>
            <a:ext cx="132176" cy="77443"/>
          </a:xfrm>
          <a:custGeom>
            <a:avLst/>
            <a:gdLst>
              <a:gd name="T0" fmla="*/ 116 w 182"/>
              <a:gd name="T1" fmla="*/ 110 h 116"/>
              <a:gd name="T2" fmla="*/ 102 w 182"/>
              <a:gd name="T3" fmla="*/ 104 h 116"/>
              <a:gd name="T4" fmla="*/ 96 w 182"/>
              <a:gd name="T5" fmla="*/ 112 h 116"/>
              <a:gd name="T6" fmla="*/ 66 w 182"/>
              <a:gd name="T7" fmla="*/ 110 h 116"/>
              <a:gd name="T8" fmla="*/ 78 w 182"/>
              <a:gd name="T9" fmla="*/ 102 h 116"/>
              <a:gd name="T10" fmla="*/ 62 w 182"/>
              <a:gd name="T11" fmla="*/ 96 h 116"/>
              <a:gd name="T12" fmla="*/ 40 w 182"/>
              <a:gd name="T13" fmla="*/ 86 h 116"/>
              <a:gd name="T14" fmla="*/ 70 w 182"/>
              <a:gd name="T15" fmla="*/ 82 h 116"/>
              <a:gd name="T16" fmla="*/ 96 w 182"/>
              <a:gd name="T17" fmla="*/ 80 h 116"/>
              <a:gd name="T18" fmla="*/ 78 w 182"/>
              <a:gd name="T19" fmla="*/ 72 h 116"/>
              <a:gd name="T20" fmla="*/ 50 w 182"/>
              <a:gd name="T21" fmla="*/ 74 h 116"/>
              <a:gd name="T22" fmla="*/ 24 w 182"/>
              <a:gd name="T23" fmla="*/ 74 h 116"/>
              <a:gd name="T24" fmla="*/ 0 w 182"/>
              <a:gd name="T25" fmla="*/ 44 h 116"/>
              <a:gd name="T26" fmla="*/ 14 w 182"/>
              <a:gd name="T27" fmla="*/ 48 h 116"/>
              <a:gd name="T28" fmla="*/ 36 w 182"/>
              <a:gd name="T29" fmla="*/ 42 h 116"/>
              <a:gd name="T30" fmla="*/ 16 w 182"/>
              <a:gd name="T31" fmla="*/ 38 h 116"/>
              <a:gd name="T32" fmla="*/ 24 w 182"/>
              <a:gd name="T33" fmla="*/ 28 h 116"/>
              <a:gd name="T34" fmla="*/ 42 w 182"/>
              <a:gd name="T35" fmla="*/ 26 h 116"/>
              <a:gd name="T36" fmla="*/ 24 w 182"/>
              <a:gd name="T37" fmla="*/ 18 h 116"/>
              <a:gd name="T38" fmla="*/ 34 w 182"/>
              <a:gd name="T39" fmla="*/ 10 h 116"/>
              <a:gd name="T40" fmla="*/ 58 w 182"/>
              <a:gd name="T41" fmla="*/ 10 h 116"/>
              <a:gd name="T42" fmla="*/ 42 w 182"/>
              <a:gd name="T43" fmla="*/ 4 h 116"/>
              <a:gd name="T44" fmla="*/ 70 w 182"/>
              <a:gd name="T45" fmla="*/ 2 h 116"/>
              <a:gd name="T46" fmla="*/ 118 w 182"/>
              <a:gd name="T47" fmla="*/ 34 h 116"/>
              <a:gd name="T48" fmla="*/ 126 w 182"/>
              <a:gd name="T49" fmla="*/ 48 h 116"/>
              <a:gd name="T50" fmla="*/ 138 w 182"/>
              <a:gd name="T51" fmla="*/ 34 h 116"/>
              <a:gd name="T52" fmla="*/ 142 w 182"/>
              <a:gd name="T53" fmla="*/ 46 h 116"/>
              <a:gd name="T54" fmla="*/ 152 w 182"/>
              <a:gd name="T55" fmla="*/ 58 h 116"/>
              <a:gd name="T56" fmla="*/ 164 w 182"/>
              <a:gd name="T57" fmla="*/ 66 h 116"/>
              <a:gd name="T58" fmla="*/ 176 w 182"/>
              <a:gd name="T59" fmla="*/ 68 h 116"/>
              <a:gd name="T60" fmla="*/ 178 w 182"/>
              <a:gd name="T61" fmla="*/ 80 h 116"/>
              <a:gd name="T62" fmla="*/ 162 w 182"/>
              <a:gd name="T63" fmla="*/ 82 h 116"/>
              <a:gd name="T64" fmla="*/ 140 w 182"/>
              <a:gd name="T65" fmla="*/ 98 h 116"/>
              <a:gd name="T66" fmla="*/ 144 w 182"/>
              <a:gd name="T67" fmla="*/ 82 h 116"/>
              <a:gd name="T68" fmla="*/ 134 w 182"/>
              <a:gd name="T69" fmla="*/ 92 h 116"/>
              <a:gd name="T70" fmla="*/ 136 w 182"/>
              <a:gd name="T71" fmla="*/ 102 h 116"/>
              <a:gd name="T72" fmla="*/ 136 w 182"/>
              <a:gd name="T73" fmla="*/ 108 h 116"/>
              <a:gd name="T74" fmla="*/ 128 w 182"/>
              <a:gd name="T75" fmla="*/ 106 h 116"/>
              <a:gd name="T76" fmla="*/ 124 w 182"/>
              <a:gd name="T77" fmla="*/ 116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82" h="116">
                <a:moveTo>
                  <a:pt x="124" y="116"/>
                </a:moveTo>
                <a:lnTo>
                  <a:pt x="116" y="110"/>
                </a:lnTo>
                <a:lnTo>
                  <a:pt x="108" y="100"/>
                </a:lnTo>
                <a:lnTo>
                  <a:pt x="102" y="104"/>
                </a:lnTo>
                <a:lnTo>
                  <a:pt x="104" y="110"/>
                </a:lnTo>
                <a:lnTo>
                  <a:pt x="96" y="112"/>
                </a:lnTo>
                <a:lnTo>
                  <a:pt x="84" y="116"/>
                </a:lnTo>
                <a:lnTo>
                  <a:pt x="66" y="110"/>
                </a:lnTo>
                <a:lnTo>
                  <a:pt x="64" y="100"/>
                </a:lnTo>
                <a:lnTo>
                  <a:pt x="78" y="102"/>
                </a:lnTo>
                <a:lnTo>
                  <a:pt x="76" y="98"/>
                </a:lnTo>
                <a:lnTo>
                  <a:pt x="62" y="96"/>
                </a:lnTo>
                <a:lnTo>
                  <a:pt x="56" y="98"/>
                </a:lnTo>
                <a:lnTo>
                  <a:pt x="40" y="86"/>
                </a:lnTo>
                <a:lnTo>
                  <a:pt x="52" y="82"/>
                </a:lnTo>
                <a:lnTo>
                  <a:pt x="70" y="82"/>
                </a:lnTo>
                <a:lnTo>
                  <a:pt x="84" y="82"/>
                </a:lnTo>
                <a:lnTo>
                  <a:pt x="96" y="80"/>
                </a:lnTo>
                <a:lnTo>
                  <a:pt x="90" y="74"/>
                </a:lnTo>
                <a:lnTo>
                  <a:pt x="78" y="72"/>
                </a:lnTo>
                <a:lnTo>
                  <a:pt x="62" y="72"/>
                </a:lnTo>
                <a:lnTo>
                  <a:pt x="50" y="74"/>
                </a:lnTo>
                <a:lnTo>
                  <a:pt x="34" y="72"/>
                </a:lnTo>
                <a:lnTo>
                  <a:pt x="24" y="74"/>
                </a:lnTo>
                <a:lnTo>
                  <a:pt x="6" y="54"/>
                </a:lnTo>
                <a:lnTo>
                  <a:pt x="0" y="44"/>
                </a:lnTo>
                <a:lnTo>
                  <a:pt x="8" y="44"/>
                </a:lnTo>
                <a:lnTo>
                  <a:pt x="14" y="48"/>
                </a:lnTo>
                <a:lnTo>
                  <a:pt x="30" y="50"/>
                </a:lnTo>
                <a:lnTo>
                  <a:pt x="36" y="42"/>
                </a:lnTo>
                <a:lnTo>
                  <a:pt x="24" y="40"/>
                </a:lnTo>
                <a:lnTo>
                  <a:pt x="16" y="38"/>
                </a:lnTo>
                <a:lnTo>
                  <a:pt x="14" y="28"/>
                </a:lnTo>
                <a:lnTo>
                  <a:pt x="24" y="28"/>
                </a:lnTo>
                <a:lnTo>
                  <a:pt x="36" y="30"/>
                </a:lnTo>
                <a:lnTo>
                  <a:pt x="42" y="26"/>
                </a:lnTo>
                <a:lnTo>
                  <a:pt x="34" y="22"/>
                </a:lnTo>
                <a:lnTo>
                  <a:pt x="24" y="18"/>
                </a:lnTo>
                <a:lnTo>
                  <a:pt x="26" y="10"/>
                </a:lnTo>
                <a:lnTo>
                  <a:pt x="34" y="10"/>
                </a:lnTo>
                <a:lnTo>
                  <a:pt x="42" y="12"/>
                </a:lnTo>
                <a:lnTo>
                  <a:pt x="58" y="10"/>
                </a:lnTo>
                <a:lnTo>
                  <a:pt x="56" y="6"/>
                </a:lnTo>
                <a:lnTo>
                  <a:pt x="42" y="4"/>
                </a:lnTo>
                <a:lnTo>
                  <a:pt x="46" y="0"/>
                </a:lnTo>
                <a:lnTo>
                  <a:pt x="70" y="2"/>
                </a:lnTo>
                <a:lnTo>
                  <a:pt x="98" y="30"/>
                </a:lnTo>
                <a:lnTo>
                  <a:pt x="118" y="34"/>
                </a:lnTo>
                <a:lnTo>
                  <a:pt x="118" y="42"/>
                </a:lnTo>
                <a:lnTo>
                  <a:pt x="126" y="48"/>
                </a:lnTo>
                <a:lnTo>
                  <a:pt x="130" y="38"/>
                </a:lnTo>
                <a:lnTo>
                  <a:pt x="138" y="34"/>
                </a:lnTo>
                <a:lnTo>
                  <a:pt x="144" y="36"/>
                </a:lnTo>
                <a:lnTo>
                  <a:pt x="142" y="46"/>
                </a:lnTo>
                <a:lnTo>
                  <a:pt x="150" y="52"/>
                </a:lnTo>
                <a:lnTo>
                  <a:pt x="152" y="58"/>
                </a:lnTo>
                <a:lnTo>
                  <a:pt x="150" y="68"/>
                </a:lnTo>
                <a:lnTo>
                  <a:pt x="164" y="66"/>
                </a:lnTo>
                <a:lnTo>
                  <a:pt x="172" y="68"/>
                </a:lnTo>
                <a:lnTo>
                  <a:pt x="176" y="68"/>
                </a:lnTo>
                <a:lnTo>
                  <a:pt x="182" y="74"/>
                </a:lnTo>
                <a:lnTo>
                  <a:pt x="178" y="80"/>
                </a:lnTo>
                <a:lnTo>
                  <a:pt x="172" y="84"/>
                </a:lnTo>
                <a:lnTo>
                  <a:pt x="162" y="82"/>
                </a:lnTo>
                <a:lnTo>
                  <a:pt x="156" y="84"/>
                </a:lnTo>
                <a:lnTo>
                  <a:pt x="140" y="98"/>
                </a:lnTo>
                <a:lnTo>
                  <a:pt x="140" y="92"/>
                </a:lnTo>
                <a:lnTo>
                  <a:pt x="144" y="82"/>
                </a:lnTo>
                <a:lnTo>
                  <a:pt x="138" y="82"/>
                </a:lnTo>
                <a:lnTo>
                  <a:pt x="134" y="92"/>
                </a:lnTo>
                <a:lnTo>
                  <a:pt x="134" y="96"/>
                </a:lnTo>
                <a:lnTo>
                  <a:pt x="136" y="102"/>
                </a:lnTo>
                <a:lnTo>
                  <a:pt x="136" y="106"/>
                </a:lnTo>
                <a:lnTo>
                  <a:pt x="136" y="108"/>
                </a:lnTo>
                <a:lnTo>
                  <a:pt x="134" y="110"/>
                </a:lnTo>
                <a:lnTo>
                  <a:pt x="128" y="106"/>
                </a:lnTo>
                <a:lnTo>
                  <a:pt x="126" y="104"/>
                </a:lnTo>
                <a:lnTo>
                  <a:pt x="124" y="11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07" name="Freeform 26">
            <a:extLst>
              <a:ext uri="{FF2B5EF4-FFF2-40B4-BE49-F238E27FC236}">
                <a16:creationId xmlns:a16="http://schemas.microsoft.com/office/drawing/2014/main" id="{2700C8A2-CD28-4C70-AAED-212F2B02B978}"/>
              </a:ext>
            </a:extLst>
          </p:cNvPr>
          <p:cNvSpPr>
            <a:spLocks/>
          </p:cNvSpPr>
          <p:nvPr/>
        </p:nvSpPr>
        <p:spPr bwMode="gray">
          <a:xfrm>
            <a:off x="1455408" y="1285212"/>
            <a:ext cx="18882" cy="10682"/>
          </a:xfrm>
          <a:custGeom>
            <a:avLst/>
            <a:gdLst>
              <a:gd name="T0" fmla="*/ 8 w 26"/>
              <a:gd name="T1" fmla="*/ 0 h 16"/>
              <a:gd name="T2" fmla="*/ 18 w 26"/>
              <a:gd name="T3" fmla="*/ 0 h 16"/>
              <a:gd name="T4" fmla="*/ 26 w 26"/>
              <a:gd name="T5" fmla="*/ 6 h 16"/>
              <a:gd name="T6" fmla="*/ 26 w 26"/>
              <a:gd name="T7" fmla="*/ 16 h 16"/>
              <a:gd name="T8" fmla="*/ 18 w 26"/>
              <a:gd name="T9" fmla="*/ 16 h 16"/>
              <a:gd name="T10" fmla="*/ 14 w 26"/>
              <a:gd name="T11" fmla="*/ 12 h 16"/>
              <a:gd name="T12" fmla="*/ 4 w 26"/>
              <a:gd name="T13" fmla="*/ 12 h 16"/>
              <a:gd name="T14" fmla="*/ 0 w 26"/>
              <a:gd name="T15" fmla="*/ 4 h 16"/>
              <a:gd name="T16" fmla="*/ 8 w 26"/>
              <a:gd name="T17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" h="16">
                <a:moveTo>
                  <a:pt x="8" y="0"/>
                </a:moveTo>
                <a:lnTo>
                  <a:pt x="18" y="0"/>
                </a:lnTo>
                <a:lnTo>
                  <a:pt x="26" y="6"/>
                </a:lnTo>
                <a:lnTo>
                  <a:pt x="26" y="16"/>
                </a:lnTo>
                <a:lnTo>
                  <a:pt x="18" y="16"/>
                </a:lnTo>
                <a:lnTo>
                  <a:pt x="14" y="12"/>
                </a:lnTo>
                <a:lnTo>
                  <a:pt x="4" y="12"/>
                </a:lnTo>
                <a:lnTo>
                  <a:pt x="0" y="4"/>
                </a:lnTo>
                <a:lnTo>
                  <a:pt x="8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08" name="Freeform 27">
            <a:extLst>
              <a:ext uri="{FF2B5EF4-FFF2-40B4-BE49-F238E27FC236}">
                <a16:creationId xmlns:a16="http://schemas.microsoft.com/office/drawing/2014/main" id="{F71F1B96-5395-4749-8DCF-1A7FB10182F9}"/>
              </a:ext>
            </a:extLst>
          </p:cNvPr>
          <p:cNvSpPr>
            <a:spLocks/>
          </p:cNvSpPr>
          <p:nvPr/>
        </p:nvSpPr>
        <p:spPr bwMode="gray">
          <a:xfrm>
            <a:off x="1681995" y="1429416"/>
            <a:ext cx="50837" cy="18693"/>
          </a:xfrm>
          <a:custGeom>
            <a:avLst/>
            <a:gdLst>
              <a:gd name="T0" fmla="*/ 4 w 70"/>
              <a:gd name="T1" fmla="*/ 0 h 28"/>
              <a:gd name="T2" fmla="*/ 22 w 70"/>
              <a:gd name="T3" fmla="*/ 0 h 28"/>
              <a:gd name="T4" fmla="*/ 42 w 70"/>
              <a:gd name="T5" fmla="*/ 2 h 28"/>
              <a:gd name="T6" fmla="*/ 62 w 70"/>
              <a:gd name="T7" fmla="*/ 12 h 28"/>
              <a:gd name="T8" fmla="*/ 70 w 70"/>
              <a:gd name="T9" fmla="*/ 22 h 28"/>
              <a:gd name="T10" fmla="*/ 60 w 70"/>
              <a:gd name="T11" fmla="*/ 24 h 28"/>
              <a:gd name="T12" fmla="*/ 46 w 70"/>
              <a:gd name="T13" fmla="*/ 24 h 28"/>
              <a:gd name="T14" fmla="*/ 32 w 70"/>
              <a:gd name="T15" fmla="*/ 24 h 28"/>
              <a:gd name="T16" fmla="*/ 26 w 70"/>
              <a:gd name="T17" fmla="*/ 28 h 28"/>
              <a:gd name="T18" fmla="*/ 14 w 70"/>
              <a:gd name="T19" fmla="*/ 26 h 28"/>
              <a:gd name="T20" fmla="*/ 10 w 70"/>
              <a:gd name="T21" fmla="*/ 16 h 28"/>
              <a:gd name="T22" fmla="*/ 0 w 70"/>
              <a:gd name="T23" fmla="*/ 10 h 28"/>
              <a:gd name="T24" fmla="*/ 0 w 70"/>
              <a:gd name="T25" fmla="*/ 0 h 28"/>
              <a:gd name="T26" fmla="*/ 4 w 70"/>
              <a:gd name="T27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70" h="28">
                <a:moveTo>
                  <a:pt x="4" y="0"/>
                </a:moveTo>
                <a:lnTo>
                  <a:pt x="22" y="0"/>
                </a:lnTo>
                <a:lnTo>
                  <a:pt x="42" y="2"/>
                </a:lnTo>
                <a:lnTo>
                  <a:pt x="62" y="12"/>
                </a:lnTo>
                <a:lnTo>
                  <a:pt x="70" y="22"/>
                </a:lnTo>
                <a:lnTo>
                  <a:pt x="60" y="24"/>
                </a:lnTo>
                <a:lnTo>
                  <a:pt x="46" y="24"/>
                </a:lnTo>
                <a:lnTo>
                  <a:pt x="32" y="24"/>
                </a:lnTo>
                <a:lnTo>
                  <a:pt x="26" y="28"/>
                </a:lnTo>
                <a:lnTo>
                  <a:pt x="14" y="26"/>
                </a:lnTo>
                <a:lnTo>
                  <a:pt x="10" y="16"/>
                </a:lnTo>
                <a:lnTo>
                  <a:pt x="0" y="10"/>
                </a:lnTo>
                <a:lnTo>
                  <a:pt x="0" y="0"/>
                </a:lnTo>
                <a:lnTo>
                  <a:pt x="4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09" name="Freeform 28">
            <a:extLst>
              <a:ext uri="{FF2B5EF4-FFF2-40B4-BE49-F238E27FC236}">
                <a16:creationId xmlns:a16="http://schemas.microsoft.com/office/drawing/2014/main" id="{2CFF2458-065B-42DA-B518-4B5A6BA25531}"/>
              </a:ext>
            </a:extLst>
          </p:cNvPr>
          <p:cNvSpPr>
            <a:spLocks/>
          </p:cNvSpPr>
          <p:nvPr/>
        </p:nvSpPr>
        <p:spPr bwMode="gray">
          <a:xfrm>
            <a:off x="1721212" y="1533563"/>
            <a:ext cx="26145" cy="20028"/>
          </a:xfrm>
          <a:custGeom>
            <a:avLst/>
            <a:gdLst>
              <a:gd name="T0" fmla="*/ 36 w 36"/>
              <a:gd name="T1" fmla="*/ 4 h 30"/>
              <a:gd name="T2" fmla="*/ 36 w 36"/>
              <a:gd name="T3" fmla="*/ 10 h 30"/>
              <a:gd name="T4" fmla="*/ 34 w 36"/>
              <a:gd name="T5" fmla="*/ 20 h 30"/>
              <a:gd name="T6" fmla="*/ 26 w 36"/>
              <a:gd name="T7" fmla="*/ 26 h 30"/>
              <a:gd name="T8" fmla="*/ 14 w 36"/>
              <a:gd name="T9" fmla="*/ 30 h 30"/>
              <a:gd name="T10" fmla="*/ 0 w 36"/>
              <a:gd name="T11" fmla="*/ 26 h 30"/>
              <a:gd name="T12" fmla="*/ 2 w 36"/>
              <a:gd name="T13" fmla="*/ 12 h 30"/>
              <a:gd name="T14" fmla="*/ 6 w 36"/>
              <a:gd name="T15" fmla="*/ 4 h 30"/>
              <a:gd name="T16" fmla="*/ 12 w 36"/>
              <a:gd name="T17" fmla="*/ 2 h 30"/>
              <a:gd name="T18" fmla="*/ 24 w 36"/>
              <a:gd name="T19" fmla="*/ 0 h 30"/>
              <a:gd name="T20" fmla="*/ 36 w 36"/>
              <a:gd name="T21" fmla="*/ 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6" h="30">
                <a:moveTo>
                  <a:pt x="36" y="4"/>
                </a:moveTo>
                <a:lnTo>
                  <a:pt x="36" y="10"/>
                </a:lnTo>
                <a:lnTo>
                  <a:pt x="34" y="20"/>
                </a:lnTo>
                <a:lnTo>
                  <a:pt x="26" y="26"/>
                </a:lnTo>
                <a:lnTo>
                  <a:pt x="14" y="30"/>
                </a:lnTo>
                <a:lnTo>
                  <a:pt x="0" y="26"/>
                </a:lnTo>
                <a:lnTo>
                  <a:pt x="2" y="12"/>
                </a:lnTo>
                <a:lnTo>
                  <a:pt x="6" y="4"/>
                </a:lnTo>
                <a:lnTo>
                  <a:pt x="12" y="2"/>
                </a:lnTo>
                <a:lnTo>
                  <a:pt x="24" y="0"/>
                </a:lnTo>
                <a:lnTo>
                  <a:pt x="36" y="4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10" name="Freeform 29">
            <a:extLst>
              <a:ext uri="{FF2B5EF4-FFF2-40B4-BE49-F238E27FC236}">
                <a16:creationId xmlns:a16="http://schemas.microsoft.com/office/drawing/2014/main" id="{641BEC05-FEA5-4A40-8173-CBAF5F4B5052}"/>
              </a:ext>
            </a:extLst>
          </p:cNvPr>
          <p:cNvSpPr>
            <a:spLocks/>
          </p:cNvSpPr>
          <p:nvPr/>
        </p:nvSpPr>
        <p:spPr bwMode="gray">
          <a:xfrm>
            <a:off x="1606466" y="1577626"/>
            <a:ext cx="79886" cy="46733"/>
          </a:xfrm>
          <a:custGeom>
            <a:avLst/>
            <a:gdLst>
              <a:gd name="T0" fmla="*/ 18 w 110"/>
              <a:gd name="T1" fmla="*/ 16 h 70"/>
              <a:gd name="T2" fmla="*/ 18 w 110"/>
              <a:gd name="T3" fmla="*/ 6 h 70"/>
              <a:gd name="T4" fmla="*/ 28 w 110"/>
              <a:gd name="T5" fmla="*/ 0 h 70"/>
              <a:gd name="T6" fmla="*/ 40 w 110"/>
              <a:gd name="T7" fmla="*/ 0 h 70"/>
              <a:gd name="T8" fmla="*/ 40 w 110"/>
              <a:gd name="T9" fmla="*/ 8 h 70"/>
              <a:gd name="T10" fmla="*/ 42 w 110"/>
              <a:gd name="T11" fmla="*/ 12 h 70"/>
              <a:gd name="T12" fmla="*/ 52 w 110"/>
              <a:gd name="T13" fmla="*/ 14 h 70"/>
              <a:gd name="T14" fmla="*/ 54 w 110"/>
              <a:gd name="T15" fmla="*/ 16 h 70"/>
              <a:gd name="T16" fmla="*/ 56 w 110"/>
              <a:gd name="T17" fmla="*/ 20 h 70"/>
              <a:gd name="T18" fmla="*/ 62 w 110"/>
              <a:gd name="T19" fmla="*/ 22 h 70"/>
              <a:gd name="T20" fmla="*/ 70 w 110"/>
              <a:gd name="T21" fmla="*/ 30 h 70"/>
              <a:gd name="T22" fmla="*/ 84 w 110"/>
              <a:gd name="T23" fmla="*/ 32 h 70"/>
              <a:gd name="T24" fmla="*/ 86 w 110"/>
              <a:gd name="T25" fmla="*/ 38 h 70"/>
              <a:gd name="T26" fmla="*/ 88 w 110"/>
              <a:gd name="T27" fmla="*/ 46 h 70"/>
              <a:gd name="T28" fmla="*/ 98 w 110"/>
              <a:gd name="T29" fmla="*/ 46 h 70"/>
              <a:gd name="T30" fmla="*/ 108 w 110"/>
              <a:gd name="T31" fmla="*/ 48 h 70"/>
              <a:gd name="T32" fmla="*/ 110 w 110"/>
              <a:gd name="T33" fmla="*/ 52 h 70"/>
              <a:gd name="T34" fmla="*/ 110 w 110"/>
              <a:gd name="T35" fmla="*/ 56 h 70"/>
              <a:gd name="T36" fmla="*/ 108 w 110"/>
              <a:gd name="T37" fmla="*/ 56 h 70"/>
              <a:gd name="T38" fmla="*/ 106 w 110"/>
              <a:gd name="T39" fmla="*/ 60 h 70"/>
              <a:gd name="T40" fmla="*/ 102 w 110"/>
              <a:gd name="T41" fmla="*/ 60 h 70"/>
              <a:gd name="T42" fmla="*/ 100 w 110"/>
              <a:gd name="T43" fmla="*/ 62 h 70"/>
              <a:gd name="T44" fmla="*/ 90 w 110"/>
              <a:gd name="T45" fmla="*/ 60 h 70"/>
              <a:gd name="T46" fmla="*/ 84 w 110"/>
              <a:gd name="T47" fmla="*/ 58 h 70"/>
              <a:gd name="T48" fmla="*/ 76 w 110"/>
              <a:gd name="T49" fmla="*/ 52 h 70"/>
              <a:gd name="T50" fmla="*/ 68 w 110"/>
              <a:gd name="T51" fmla="*/ 46 h 70"/>
              <a:gd name="T52" fmla="*/ 64 w 110"/>
              <a:gd name="T53" fmla="*/ 42 h 70"/>
              <a:gd name="T54" fmla="*/ 60 w 110"/>
              <a:gd name="T55" fmla="*/ 44 h 70"/>
              <a:gd name="T56" fmla="*/ 58 w 110"/>
              <a:gd name="T57" fmla="*/ 48 h 70"/>
              <a:gd name="T58" fmla="*/ 52 w 110"/>
              <a:gd name="T59" fmla="*/ 56 h 70"/>
              <a:gd name="T60" fmla="*/ 40 w 110"/>
              <a:gd name="T61" fmla="*/ 68 h 70"/>
              <a:gd name="T62" fmla="*/ 24 w 110"/>
              <a:gd name="T63" fmla="*/ 70 h 70"/>
              <a:gd name="T64" fmla="*/ 26 w 110"/>
              <a:gd name="T65" fmla="*/ 56 h 70"/>
              <a:gd name="T66" fmla="*/ 14 w 110"/>
              <a:gd name="T67" fmla="*/ 56 h 70"/>
              <a:gd name="T68" fmla="*/ 10 w 110"/>
              <a:gd name="T69" fmla="*/ 56 h 70"/>
              <a:gd name="T70" fmla="*/ 6 w 110"/>
              <a:gd name="T71" fmla="*/ 62 h 70"/>
              <a:gd name="T72" fmla="*/ 0 w 110"/>
              <a:gd name="T73" fmla="*/ 56 h 70"/>
              <a:gd name="T74" fmla="*/ 6 w 110"/>
              <a:gd name="T75" fmla="*/ 48 h 70"/>
              <a:gd name="T76" fmla="*/ 16 w 110"/>
              <a:gd name="T77" fmla="*/ 38 h 70"/>
              <a:gd name="T78" fmla="*/ 16 w 110"/>
              <a:gd name="T79" fmla="*/ 26 h 70"/>
              <a:gd name="T80" fmla="*/ 18 w 110"/>
              <a:gd name="T81" fmla="*/ 22 h 70"/>
              <a:gd name="T82" fmla="*/ 18 w 110"/>
              <a:gd name="T83" fmla="*/ 16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10" h="70">
                <a:moveTo>
                  <a:pt x="18" y="16"/>
                </a:moveTo>
                <a:lnTo>
                  <a:pt x="18" y="6"/>
                </a:lnTo>
                <a:lnTo>
                  <a:pt x="28" y="0"/>
                </a:lnTo>
                <a:lnTo>
                  <a:pt x="40" y="0"/>
                </a:lnTo>
                <a:lnTo>
                  <a:pt x="40" y="8"/>
                </a:lnTo>
                <a:lnTo>
                  <a:pt x="42" y="12"/>
                </a:lnTo>
                <a:lnTo>
                  <a:pt x="52" y="14"/>
                </a:lnTo>
                <a:lnTo>
                  <a:pt x="54" y="16"/>
                </a:lnTo>
                <a:lnTo>
                  <a:pt x="56" y="20"/>
                </a:lnTo>
                <a:lnTo>
                  <a:pt x="62" y="22"/>
                </a:lnTo>
                <a:lnTo>
                  <a:pt x="70" y="30"/>
                </a:lnTo>
                <a:lnTo>
                  <a:pt x="84" y="32"/>
                </a:lnTo>
                <a:lnTo>
                  <a:pt x="86" y="38"/>
                </a:lnTo>
                <a:lnTo>
                  <a:pt x="88" y="46"/>
                </a:lnTo>
                <a:lnTo>
                  <a:pt x="98" y="46"/>
                </a:lnTo>
                <a:lnTo>
                  <a:pt x="108" y="48"/>
                </a:lnTo>
                <a:lnTo>
                  <a:pt x="110" y="52"/>
                </a:lnTo>
                <a:lnTo>
                  <a:pt x="110" y="56"/>
                </a:lnTo>
                <a:lnTo>
                  <a:pt x="108" y="56"/>
                </a:lnTo>
                <a:lnTo>
                  <a:pt x="106" y="60"/>
                </a:lnTo>
                <a:lnTo>
                  <a:pt x="102" y="60"/>
                </a:lnTo>
                <a:lnTo>
                  <a:pt x="100" y="62"/>
                </a:lnTo>
                <a:lnTo>
                  <a:pt x="90" y="60"/>
                </a:lnTo>
                <a:lnTo>
                  <a:pt x="84" y="58"/>
                </a:lnTo>
                <a:lnTo>
                  <a:pt x="76" y="52"/>
                </a:lnTo>
                <a:lnTo>
                  <a:pt x="68" y="46"/>
                </a:lnTo>
                <a:lnTo>
                  <a:pt x="64" y="42"/>
                </a:lnTo>
                <a:lnTo>
                  <a:pt x="60" y="44"/>
                </a:lnTo>
                <a:lnTo>
                  <a:pt x="58" y="48"/>
                </a:lnTo>
                <a:lnTo>
                  <a:pt x="52" y="56"/>
                </a:lnTo>
                <a:lnTo>
                  <a:pt x="40" y="68"/>
                </a:lnTo>
                <a:lnTo>
                  <a:pt x="24" y="70"/>
                </a:lnTo>
                <a:lnTo>
                  <a:pt x="26" y="56"/>
                </a:lnTo>
                <a:lnTo>
                  <a:pt x="14" y="56"/>
                </a:lnTo>
                <a:lnTo>
                  <a:pt x="10" y="56"/>
                </a:lnTo>
                <a:lnTo>
                  <a:pt x="6" y="62"/>
                </a:lnTo>
                <a:lnTo>
                  <a:pt x="0" y="56"/>
                </a:lnTo>
                <a:lnTo>
                  <a:pt x="6" y="48"/>
                </a:lnTo>
                <a:lnTo>
                  <a:pt x="16" y="38"/>
                </a:lnTo>
                <a:lnTo>
                  <a:pt x="16" y="26"/>
                </a:lnTo>
                <a:lnTo>
                  <a:pt x="18" y="22"/>
                </a:lnTo>
                <a:lnTo>
                  <a:pt x="18" y="1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11" name="Freeform 30">
            <a:extLst>
              <a:ext uri="{FF2B5EF4-FFF2-40B4-BE49-F238E27FC236}">
                <a16:creationId xmlns:a16="http://schemas.microsoft.com/office/drawing/2014/main" id="{6496C90E-02F0-4ED1-A81D-FC6B058EF25E}"/>
              </a:ext>
            </a:extLst>
          </p:cNvPr>
          <p:cNvSpPr>
            <a:spLocks/>
          </p:cNvSpPr>
          <p:nvPr/>
        </p:nvSpPr>
        <p:spPr bwMode="gray">
          <a:xfrm>
            <a:off x="1467028" y="1505523"/>
            <a:ext cx="49384" cy="24034"/>
          </a:xfrm>
          <a:custGeom>
            <a:avLst/>
            <a:gdLst>
              <a:gd name="T0" fmla="*/ 6 w 68"/>
              <a:gd name="T1" fmla="*/ 26 h 36"/>
              <a:gd name="T2" fmla="*/ 0 w 68"/>
              <a:gd name="T3" fmla="*/ 24 h 36"/>
              <a:gd name="T4" fmla="*/ 10 w 68"/>
              <a:gd name="T5" fmla="*/ 16 h 36"/>
              <a:gd name="T6" fmla="*/ 18 w 68"/>
              <a:gd name="T7" fmla="*/ 10 h 36"/>
              <a:gd name="T8" fmla="*/ 20 w 68"/>
              <a:gd name="T9" fmla="*/ 0 h 36"/>
              <a:gd name="T10" fmla="*/ 28 w 68"/>
              <a:gd name="T11" fmla="*/ 2 h 36"/>
              <a:gd name="T12" fmla="*/ 38 w 68"/>
              <a:gd name="T13" fmla="*/ 6 h 36"/>
              <a:gd name="T14" fmla="*/ 48 w 68"/>
              <a:gd name="T15" fmla="*/ 14 h 36"/>
              <a:gd name="T16" fmla="*/ 60 w 68"/>
              <a:gd name="T17" fmla="*/ 18 h 36"/>
              <a:gd name="T18" fmla="*/ 66 w 68"/>
              <a:gd name="T19" fmla="*/ 24 h 36"/>
              <a:gd name="T20" fmla="*/ 68 w 68"/>
              <a:gd name="T21" fmla="*/ 32 h 36"/>
              <a:gd name="T22" fmla="*/ 64 w 68"/>
              <a:gd name="T23" fmla="*/ 34 h 36"/>
              <a:gd name="T24" fmla="*/ 56 w 68"/>
              <a:gd name="T25" fmla="*/ 36 h 36"/>
              <a:gd name="T26" fmla="*/ 44 w 68"/>
              <a:gd name="T27" fmla="*/ 36 h 36"/>
              <a:gd name="T28" fmla="*/ 28 w 68"/>
              <a:gd name="T29" fmla="*/ 34 h 36"/>
              <a:gd name="T30" fmla="*/ 18 w 68"/>
              <a:gd name="T31" fmla="*/ 30 h 36"/>
              <a:gd name="T32" fmla="*/ 6 w 68"/>
              <a:gd name="T33" fmla="*/ 2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8" h="36">
                <a:moveTo>
                  <a:pt x="6" y="26"/>
                </a:moveTo>
                <a:lnTo>
                  <a:pt x="0" y="24"/>
                </a:lnTo>
                <a:lnTo>
                  <a:pt x="10" y="16"/>
                </a:lnTo>
                <a:lnTo>
                  <a:pt x="18" y="10"/>
                </a:lnTo>
                <a:lnTo>
                  <a:pt x="20" y="0"/>
                </a:lnTo>
                <a:lnTo>
                  <a:pt x="28" y="2"/>
                </a:lnTo>
                <a:lnTo>
                  <a:pt x="38" y="6"/>
                </a:lnTo>
                <a:lnTo>
                  <a:pt x="48" y="14"/>
                </a:lnTo>
                <a:lnTo>
                  <a:pt x="60" y="18"/>
                </a:lnTo>
                <a:lnTo>
                  <a:pt x="66" y="24"/>
                </a:lnTo>
                <a:lnTo>
                  <a:pt x="68" y="32"/>
                </a:lnTo>
                <a:lnTo>
                  <a:pt x="64" y="34"/>
                </a:lnTo>
                <a:lnTo>
                  <a:pt x="56" y="36"/>
                </a:lnTo>
                <a:lnTo>
                  <a:pt x="44" y="36"/>
                </a:lnTo>
                <a:lnTo>
                  <a:pt x="28" y="34"/>
                </a:lnTo>
                <a:lnTo>
                  <a:pt x="18" y="30"/>
                </a:lnTo>
                <a:lnTo>
                  <a:pt x="6" y="2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12" name="Freeform 31">
            <a:extLst>
              <a:ext uri="{FF2B5EF4-FFF2-40B4-BE49-F238E27FC236}">
                <a16:creationId xmlns:a16="http://schemas.microsoft.com/office/drawing/2014/main" id="{D11A32EB-5C6C-4406-A414-69E999D96B9F}"/>
              </a:ext>
            </a:extLst>
          </p:cNvPr>
          <p:cNvSpPr>
            <a:spLocks/>
          </p:cNvSpPr>
          <p:nvPr/>
        </p:nvSpPr>
        <p:spPr bwMode="gray">
          <a:xfrm>
            <a:off x="1575964" y="1426745"/>
            <a:ext cx="334070" cy="218977"/>
          </a:xfrm>
          <a:custGeom>
            <a:avLst/>
            <a:gdLst>
              <a:gd name="T0" fmla="*/ 148 w 460"/>
              <a:gd name="T1" fmla="*/ 30 h 328"/>
              <a:gd name="T2" fmla="*/ 154 w 460"/>
              <a:gd name="T3" fmla="*/ 52 h 328"/>
              <a:gd name="T4" fmla="*/ 184 w 460"/>
              <a:gd name="T5" fmla="*/ 36 h 328"/>
              <a:gd name="T6" fmla="*/ 238 w 460"/>
              <a:gd name="T7" fmla="*/ 44 h 328"/>
              <a:gd name="T8" fmla="*/ 250 w 460"/>
              <a:gd name="T9" fmla="*/ 54 h 328"/>
              <a:gd name="T10" fmla="*/ 258 w 460"/>
              <a:gd name="T11" fmla="*/ 58 h 328"/>
              <a:gd name="T12" fmla="*/ 280 w 460"/>
              <a:gd name="T13" fmla="*/ 68 h 328"/>
              <a:gd name="T14" fmla="*/ 284 w 460"/>
              <a:gd name="T15" fmla="*/ 86 h 328"/>
              <a:gd name="T16" fmla="*/ 306 w 460"/>
              <a:gd name="T17" fmla="*/ 90 h 328"/>
              <a:gd name="T18" fmla="*/ 332 w 460"/>
              <a:gd name="T19" fmla="*/ 92 h 328"/>
              <a:gd name="T20" fmla="*/ 324 w 460"/>
              <a:gd name="T21" fmla="*/ 108 h 328"/>
              <a:gd name="T22" fmla="*/ 360 w 460"/>
              <a:gd name="T23" fmla="*/ 116 h 328"/>
              <a:gd name="T24" fmla="*/ 342 w 460"/>
              <a:gd name="T25" fmla="*/ 122 h 328"/>
              <a:gd name="T26" fmla="*/ 368 w 460"/>
              <a:gd name="T27" fmla="*/ 134 h 328"/>
              <a:gd name="T28" fmla="*/ 346 w 460"/>
              <a:gd name="T29" fmla="*/ 136 h 328"/>
              <a:gd name="T30" fmla="*/ 346 w 460"/>
              <a:gd name="T31" fmla="*/ 150 h 328"/>
              <a:gd name="T32" fmla="*/ 382 w 460"/>
              <a:gd name="T33" fmla="*/ 160 h 328"/>
              <a:gd name="T34" fmla="*/ 404 w 460"/>
              <a:gd name="T35" fmla="*/ 174 h 328"/>
              <a:gd name="T36" fmla="*/ 434 w 460"/>
              <a:gd name="T37" fmla="*/ 190 h 328"/>
              <a:gd name="T38" fmla="*/ 460 w 460"/>
              <a:gd name="T39" fmla="*/ 208 h 328"/>
              <a:gd name="T40" fmla="*/ 434 w 460"/>
              <a:gd name="T41" fmla="*/ 216 h 328"/>
              <a:gd name="T42" fmla="*/ 420 w 460"/>
              <a:gd name="T43" fmla="*/ 240 h 328"/>
              <a:gd name="T44" fmla="*/ 386 w 460"/>
              <a:gd name="T45" fmla="*/ 222 h 328"/>
              <a:gd name="T46" fmla="*/ 358 w 460"/>
              <a:gd name="T47" fmla="*/ 230 h 328"/>
              <a:gd name="T48" fmla="*/ 408 w 460"/>
              <a:gd name="T49" fmla="*/ 284 h 328"/>
              <a:gd name="T50" fmla="*/ 394 w 460"/>
              <a:gd name="T51" fmla="*/ 290 h 328"/>
              <a:gd name="T52" fmla="*/ 356 w 460"/>
              <a:gd name="T53" fmla="*/ 290 h 328"/>
              <a:gd name="T54" fmla="*/ 366 w 460"/>
              <a:gd name="T55" fmla="*/ 306 h 328"/>
              <a:gd name="T56" fmla="*/ 354 w 460"/>
              <a:gd name="T57" fmla="*/ 322 h 328"/>
              <a:gd name="T58" fmla="*/ 310 w 460"/>
              <a:gd name="T59" fmla="*/ 314 h 328"/>
              <a:gd name="T60" fmla="*/ 288 w 460"/>
              <a:gd name="T61" fmla="*/ 280 h 328"/>
              <a:gd name="T62" fmla="*/ 256 w 460"/>
              <a:gd name="T63" fmla="*/ 258 h 328"/>
              <a:gd name="T64" fmla="*/ 238 w 460"/>
              <a:gd name="T65" fmla="*/ 260 h 328"/>
              <a:gd name="T66" fmla="*/ 208 w 460"/>
              <a:gd name="T67" fmla="*/ 270 h 328"/>
              <a:gd name="T68" fmla="*/ 202 w 460"/>
              <a:gd name="T69" fmla="*/ 236 h 328"/>
              <a:gd name="T70" fmla="*/ 238 w 460"/>
              <a:gd name="T71" fmla="*/ 240 h 328"/>
              <a:gd name="T72" fmla="*/ 246 w 460"/>
              <a:gd name="T73" fmla="*/ 222 h 328"/>
              <a:gd name="T74" fmla="*/ 272 w 460"/>
              <a:gd name="T75" fmla="*/ 172 h 328"/>
              <a:gd name="T76" fmla="*/ 246 w 460"/>
              <a:gd name="T77" fmla="*/ 156 h 328"/>
              <a:gd name="T78" fmla="*/ 218 w 460"/>
              <a:gd name="T79" fmla="*/ 150 h 328"/>
              <a:gd name="T80" fmla="*/ 212 w 460"/>
              <a:gd name="T81" fmla="*/ 124 h 328"/>
              <a:gd name="T82" fmla="*/ 186 w 460"/>
              <a:gd name="T83" fmla="*/ 106 h 328"/>
              <a:gd name="T84" fmla="*/ 178 w 460"/>
              <a:gd name="T85" fmla="*/ 112 h 328"/>
              <a:gd name="T86" fmla="*/ 130 w 460"/>
              <a:gd name="T87" fmla="*/ 116 h 328"/>
              <a:gd name="T88" fmla="*/ 56 w 460"/>
              <a:gd name="T89" fmla="*/ 110 h 328"/>
              <a:gd name="T90" fmla="*/ 20 w 460"/>
              <a:gd name="T91" fmla="*/ 102 h 328"/>
              <a:gd name="T92" fmla="*/ 32 w 460"/>
              <a:gd name="T93" fmla="*/ 86 h 328"/>
              <a:gd name="T94" fmla="*/ 0 w 460"/>
              <a:gd name="T95" fmla="*/ 72 h 328"/>
              <a:gd name="T96" fmla="*/ 38 w 460"/>
              <a:gd name="T97" fmla="*/ 2 h 328"/>
              <a:gd name="T98" fmla="*/ 64 w 460"/>
              <a:gd name="T99" fmla="*/ 12 h 328"/>
              <a:gd name="T100" fmla="*/ 68 w 460"/>
              <a:gd name="T101" fmla="*/ 76 h 328"/>
              <a:gd name="T102" fmla="*/ 78 w 460"/>
              <a:gd name="T103" fmla="*/ 46 h 328"/>
              <a:gd name="T104" fmla="*/ 108 w 460"/>
              <a:gd name="T105" fmla="*/ 4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60" h="328">
                <a:moveTo>
                  <a:pt x="134" y="6"/>
                </a:moveTo>
                <a:lnTo>
                  <a:pt x="140" y="14"/>
                </a:lnTo>
                <a:lnTo>
                  <a:pt x="146" y="22"/>
                </a:lnTo>
                <a:lnTo>
                  <a:pt x="148" y="30"/>
                </a:lnTo>
                <a:lnTo>
                  <a:pt x="148" y="38"/>
                </a:lnTo>
                <a:lnTo>
                  <a:pt x="144" y="42"/>
                </a:lnTo>
                <a:lnTo>
                  <a:pt x="144" y="52"/>
                </a:lnTo>
                <a:lnTo>
                  <a:pt x="154" y="52"/>
                </a:lnTo>
                <a:lnTo>
                  <a:pt x="158" y="42"/>
                </a:lnTo>
                <a:lnTo>
                  <a:pt x="168" y="42"/>
                </a:lnTo>
                <a:lnTo>
                  <a:pt x="180" y="50"/>
                </a:lnTo>
                <a:lnTo>
                  <a:pt x="184" y="36"/>
                </a:lnTo>
                <a:lnTo>
                  <a:pt x="198" y="34"/>
                </a:lnTo>
                <a:lnTo>
                  <a:pt x="214" y="34"/>
                </a:lnTo>
                <a:lnTo>
                  <a:pt x="230" y="40"/>
                </a:lnTo>
                <a:lnTo>
                  <a:pt x="238" y="44"/>
                </a:lnTo>
                <a:lnTo>
                  <a:pt x="228" y="50"/>
                </a:lnTo>
                <a:lnTo>
                  <a:pt x="226" y="58"/>
                </a:lnTo>
                <a:lnTo>
                  <a:pt x="240" y="52"/>
                </a:lnTo>
                <a:lnTo>
                  <a:pt x="250" y="54"/>
                </a:lnTo>
                <a:lnTo>
                  <a:pt x="244" y="60"/>
                </a:lnTo>
                <a:lnTo>
                  <a:pt x="238" y="68"/>
                </a:lnTo>
                <a:lnTo>
                  <a:pt x="246" y="66"/>
                </a:lnTo>
                <a:lnTo>
                  <a:pt x="258" y="58"/>
                </a:lnTo>
                <a:lnTo>
                  <a:pt x="260" y="66"/>
                </a:lnTo>
                <a:lnTo>
                  <a:pt x="254" y="74"/>
                </a:lnTo>
                <a:lnTo>
                  <a:pt x="264" y="74"/>
                </a:lnTo>
                <a:lnTo>
                  <a:pt x="280" y="68"/>
                </a:lnTo>
                <a:lnTo>
                  <a:pt x="290" y="70"/>
                </a:lnTo>
                <a:lnTo>
                  <a:pt x="296" y="76"/>
                </a:lnTo>
                <a:lnTo>
                  <a:pt x="292" y="80"/>
                </a:lnTo>
                <a:lnTo>
                  <a:pt x="284" y="86"/>
                </a:lnTo>
                <a:lnTo>
                  <a:pt x="290" y="90"/>
                </a:lnTo>
                <a:lnTo>
                  <a:pt x="300" y="86"/>
                </a:lnTo>
                <a:lnTo>
                  <a:pt x="306" y="84"/>
                </a:lnTo>
                <a:lnTo>
                  <a:pt x="306" y="90"/>
                </a:lnTo>
                <a:lnTo>
                  <a:pt x="298" y="98"/>
                </a:lnTo>
                <a:lnTo>
                  <a:pt x="304" y="98"/>
                </a:lnTo>
                <a:lnTo>
                  <a:pt x="320" y="92"/>
                </a:lnTo>
                <a:lnTo>
                  <a:pt x="332" y="92"/>
                </a:lnTo>
                <a:lnTo>
                  <a:pt x="342" y="96"/>
                </a:lnTo>
                <a:lnTo>
                  <a:pt x="342" y="100"/>
                </a:lnTo>
                <a:lnTo>
                  <a:pt x="334" y="104"/>
                </a:lnTo>
                <a:lnTo>
                  <a:pt x="324" y="108"/>
                </a:lnTo>
                <a:lnTo>
                  <a:pt x="332" y="112"/>
                </a:lnTo>
                <a:lnTo>
                  <a:pt x="350" y="108"/>
                </a:lnTo>
                <a:lnTo>
                  <a:pt x="356" y="110"/>
                </a:lnTo>
                <a:lnTo>
                  <a:pt x="360" y="116"/>
                </a:lnTo>
                <a:lnTo>
                  <a:pt x="362" y="122"/>
                </a:lnTo>
                <a:lnTo>
                  <a:pt x="354" y="122"/>
                </a:lnTo>
                <a:lnTo>
                  <a:pt x="348" y="122"/>
                </a:lnTo>
                <a:lnTo>
                  <a:pt x="342" y="122"/>
                </a:lnTo>
                <a:lnTo>
                  <a:pt x="342" y="128"/>
                </a:lnTo>
                <a:lnTo>
                  <a:pt x="352" y="128"/>
                </a:lnTo>
                <a:lnTo>
                  <a:pt x="362" y="128"/>
                </a:lnTo>
                <a:lnTo>
                  <a:pt x="368" y="134"/>
                </a:lnTo>
                <a:lnTo>
                  <a:pt x="370" y="138"/>
                </a:lnTo>
                <a:lnTo>
                  <a:pt x="368" y="138"/>
                </a:lnTo>
                <a:lnTo>
                  <a:pt x="362" y="138"/>
                </a:lnTo>
                <a:lnTo>
                  <a:pt x="346" y="136"/>
                </a:lnTo>
                <a:lnTo>
                  <a:pt x="344" y="138"/>
                </a:lnTo>
                <a:lnTo>
                  <a:pt x="342" y="140"/>
                </a:lnTo>
                <a:lnTo>
                  <a:pt x="342" y="144"/>
                </a:lnTo>
                <a:lnTo>
                  <a:pt x="346" y="150"/>
                </a:lnTo>
                <a:lnTo>
                  <a:pt x="354" y="156"/>
                </a:lnTo>
                <a:lnTo>
                  <a:pt x="362" y="156"/>
                </a:lnTo>
                <a:lnTo>
                  <a:pt x="370" y="154"/>
                </a:lnTo>
                <a:lnTo>
                  <a:pt x="382" y="160"/>
                </a:lnTo>
                <a:lnTo>
                  <a:pt x="382" y="166"/>
                </a:lnTo>
                <a:lnTo>
                  <a:pt x="388" y="168"/>
                </a:lnTo>
                <a:lnTo>
                  <a:pt x="398" y="170"/>
                </a:lnTo>
                <a:lnTo>
                  <a:pt x="404" y="174"/>
                </a:lnTo>
                <a:lnTo>
                  <a:pt x="406" y="180"/>
                </a:lnTo>
                <a:lnTo>
                  <a:pt x="416" y="180"/>
                </a:lnTo>
                <a:lnTo>
                  <a:pt x="424" y="182"/>
                </a:lnTo>
                <a:lnTo>
                  <a:pt x="434" y="190"/>
                </a:lnTo>
                <a:lnTo>
                  <a:pt x="438" y="194"/>
                </a:lnTo>
                <a:lnTo>
                  <a:pt x="450" y="196"/>
                </a:lnTo>
                <a:lnTo>
                  <a:pt x="460" y="204"/>
                </a:lnTo>
                <a:lnTo>
                  <a:pt x="460" y="208"/>
                </a:lnTo>
                <a:lnTo>
                  <a:pt x="460" y="212"/>
                </a:lnTo>
                <a:lnTo>
                  <a:pt x="458" y="214"/>
                </a:lnTo>
                <a:lnTo>
                  <a:pt x="444" y="216"/>
                </a:lnTo>
                <a:lnTo>
                  <a:pt x="434" y="216"/>
                </a:lnTo>
                <a:lnTo>
                  <a:pt x="436" y="226"/>
                </a:lnTo>
                <a:lnTo>
                  <a:pt x="430" y="232"/>
                </a:lnTo>
                <a:lnTo>
                  <a:pt x="420" y="232"/>
                </a:lnTo>
                <a:lnTo>
                  <a:pt x="420" y="240"/>
                </a:lnTo>
                <a:lnTo>
                  <a:pt x="414" y="248"/>
                </a:lnTo>
                <a:lnTo>
                  <a:pt x="398" y="240"/>
                </a:lnTo>
                <a:lnTo>
                  <a:pt x="390" y="230"/>
                </a:lnTo>
                <a:lnTo>
                  <a:pt x="386" y="222"/>
                </a:lnTo>
                <a:lnTo>
                  <a:pt x="364" y="208"/>
                </a:lnTo>
                <a:lnTo>
                  <a:pt x="356" y="212"/>
                </a:lnTo>
                <a:lnTo>
                  <a:pt x="360" y="222"/>
                </a:lnTo>
                <a:lnTo>
                  <a:pt x="358" y="230"/>
                </a:lnTo>
                <a:lnTo>
                  <a:pt x="364" y="244"/>
                </a:lnTo>
                <a:lnTo>
                  <a:pt x="376" y="256"/>
                </a:lnTo>
                <a:lnTo>
                  <a:pt x="394" y="270"/>
                </a:lnTo>
                <a:lnTo>
                  <a:pt x="408" y="284"/>
                </a:lnTo>
                <a:lnTo>
                  <a:pt x="406" y="290"/>
                </a:lnTo>
                <a:lnTo>
                  <a:pt x="400" y="288"/>
                </a:lnTo>
                <a:lnTo>
                  <a:pt x="396" y="288"/>
                </a:lnTo>
                <a:lnTo>
                  <a:pt x="394" y="290"/>
                </a:lnTo>
                <a:lnTo>
                  <a:pt x="400" y="304"/>
                </a:lnTo>
                <a:lnTo>
                  <a:pt x="394" y="310"/>
                </a:lnTo>
                <a:lnTo>
                  <a:pt x="378" y="302"/>
                </a:lnTo>
                <a:lnTo>
                  <a:pt x="356" y="290"/>
                </a:lnTo>
                <a:lnTo>
                  <a:pt x="344" y="278"/>
                </a:lnTo>
                <a:lnTo>
                  <a:pt x="338" y="282"/>
                </a:lnTo>
                <a:lnTo>
                  <a:pt x="348" y="292"/>
                </a:lnTo>
                <a:lnTo>
                  <a:pt x="366" y="306"/>
                </a:lnTo>
                <a:lnTo>
                  <a:pt x="370" y="312"/>
                </a:lnTo>
                <a:lnTo>
                  <a:pt x="374" y="320"/>
                </a:lnTo>
                <a:lnTo>
                  <a:pt x="378" y="328"/>
                </a:lnTo>
                <a:lnTo>
                  <a:pt x="354" y="322"/>
                </a:lnTo>
                <a:lnTo>
                  <a:pt x="334" y="314"/>
                </a:lnTo>
                <a:lnTo>
                  <a:pt x="320" y="304"/>
                </a:lnTo>
                <a:lnTo>
                  <a:pt x="312" y="304"/>
                </a:lnTo>
                <a:lnTo>
                  <a:pt x="310" y="314"/>
                </a:lnTo>
                <a:lnTo>
                  <a:pt x="296" y="298"/>
                </a:lnTo>
                <a:lnTo>
                  <a:pt x="290" y="290"/>
                </a:lnTo>
                <a:lnTo>
                  <a:pt x="294" y="286"/>
                </a:lnTo>
                <a:lnTo>
                  <a:pt x="288" y="280"/>
                </a:lnTo>
                <a:lnTo>
                  <a:pt x="280" y="282"/>
                </a:lnTo>
                <a:lnTo>
                  <a:pt x="272" y="274"/>
                </a:lnTo>
                <a:lnTo>
                  <a:pt x="262" y="264"/>
                </a:lnTo>
                <a:lnTo>
                  <a:pt x="256" y="258"/>
                </a:lnTo>
                <a:lnTo>
                  <a:pt x="244" y="254"/>
                </a:lnTo>
                <a:lnTo>
                  <a:pt x="238" y="250"/>
                </a:lnTo>
                <a:lnTo>
                  <a:pt x="238" y="258"/>
                </a:lnTo>
                <a:lnTo>
                  <a:pt x="238" y="260"/>
                </a:lnTo>
                <a:lnTo>
                  <a:pt x="236" y="262"/>
                </a:lnTo>
                <a:lnTo>
                  <a:pt x="224" y="262"/>
                </a:lnTo>
                <a:lnTo>
                  <a:pt x="218" y="266"/>
                </a:lnTo>
                <a:lnTo>
                  <a:pt x="208" y="270"/>
                </a:lnTo>
                <a:lnTo>
                  <a:pt x="194" y="268"/>
                </a:lnTo>
                <a:lnTo>
                  <a:pt x="186" y="258"/>
                </a:lnTo>
                <a:lnTo>
                  <a:pt x="188" y="246"/>
                </a:lnTo>
                <a:lnTo>
                  <a:pt x="202" y="236"/>
                </a:lnTo>
                <a:lnTo>
                  <a:pt x="214" y="238"/>
                </a:lnTo>
                <a:lnTo>
                  <a:pt x="226" y="242"/>
                </a:lnTo>
                <a:lnTo>
                  <a:pt x="232" y="246"/>
                </a:lnTo>
                <a:lnTo>
                  <a:pt x="238" y="240"/>
                </a:lnTo>
                <a:lnTo>
                  <a:pt x="246" y="236"/>
                </a:lnTo>
                <a:lnTo>
                  <a:pt x="258" y="232"/>
                </a:lnTo>
                <a:lnTo>
                  <a:pt x="254" y="228"/>
                </a:lnTo>
                <a:lnTo>
                  <a:pt x="246" y="222"/>
                </a:lnTo>
                <a:lnTo>
                  <a:pt x="254" y="210"/>
                </a:lnTo>
                <a:lnTo>
                  <a:pt x="268" y="202"/>
                </a:lnTo>
                <a:lnTo>
                  <a:pt x="280" y="190"/>
                </a:lnTo>
                <a:lnTo>
                  <a:pt x="272" y="172"/>
                </a:lnTo>
                <a:lnTo>
                  <a:pt x="264" y="160"/>
                </a:lnTo>
                <a:lnTo>
                  <a:pt x="256" y="160"/>
                </a:lnTo>
                <a:lnTo>
                  <a:pt x="254" y="152"/>
                </a:lnTo>
                <a:lnTo>
                  <a:pt x="246" y="156"/>
                </a:lnTo>
                <a:lnTo>
                  <a:pt x="240" y="148"/>
                </a:lnTo>
                <a:lnTo>
                  <a:pt x="240" y="142"/>
                </a:lnTo>
                <a:lnTo>
                  <a:pt x="228" y="142"/>
                </a:lnTo>
                <a:lnTo>
                  <a:pt x="218" y="150"/>
                </a:lnTo>
                <a:lnTo>
                  <a:pt x="210" y="142"/>
                </a:lnTo>
                <a:lnTo>
                  <a:pt x="222" y="134"/>
                </a:lnTo>
                <a:lnTo>
                  <a:pt x="218" y="128"/>
                </a:lnTo>
                <a:lnTo>
                  <a:pt x="212" y="124"/>
                </a:lnTo>
                <a:lnTo>
                  <a:pt x="202" y="114"/>
                </a:lnTo>
                <a:lnTo>
                  <a:pt x="196" y="120"/>
                </a:lnTo>
                <a:lnTo>
                  <a:pt x="190" y="112"/>
                </a:lnTo>
                <a:lnTo>
                  <a:pt x="186" y="106"/>
                </a:lnTo>
                <a:lnTo>
                  <a:pt x="178" y="98"/>
                </a:lnTo>
                <a:lnTo>
                  <a:pt x="172" y="100"/>
                </a:lnTo>
                <a:lnTo>
                  <a:pt x="176" y="106"/>
                </a:lnTo>
                <a:lnTo>
                  <a:pt x="178" y="112"/>
                </a:lnTo>
                <a:lnTo>
                  <a:pt x="172" y="116"/>
                </a:lnTo>
                <a:lnTo>
                  <a:pt x="158" y="116"/>
                </a:lnTo>
                <a:lnTo>
                  <a:pt x="136" y="110"/>
                </a:lnTo>
                <a:lnTo>
                  <a:pt x="130" y="116"/>
                </a:lnTo>
                <a:lnTo>
                  <a:pt x="118" y="118"/>
                </a:lnTo>
                <a:lnTo>
                  <a:pt x="90" y="114"/>
                </a:lnTo>
                <a:lnTo>
                  <a:pt x="74" y="110"/>
                </a:lnTo>
                <a:lnTo>
                  <a:pt x="56" y="110"/>
                </a:lnTo>
                <a:lnTo>
                  <a:pt x="48" y="104"/>
                </a:lnTo>
                <a:lnTo>
                  <a:pt x="40" y="100"/>
                </a:lnTo>
                <a:lnTo>
                  <a:pt x="32" y="106"/>
                </a:lnTo>
                <a:lnTo>
                  <a:pt x="20" y="102"/>
                </a:lnTo>
                <a:lnTo>
                  <a:pt x="8" y="94"/>
                </a:lnTo>
                <a:lnTo>
                  <a:pt x="8" y="84"/>
                </a:lnTo>
                <a:lnTo>
                  <a:pt x="16" y="84"/>
                </a:lnTo>
                <a:lnTo>
                  <a:pt x="32" y="86"/>
                </a:lnTo>
                <a:lnTo>
                  <a:pt x="38" y="82"/>
                </a:lnTo>
                <a:lnTo>
                  <a:pt x="32" y="76"/>
                </a:lnTo>
                <a:lnTo>
                  <a:pt x="16" y="78"/>
                </a:lnTo>
                <a:lnTo>
                  <a:pt x="0" y="72"/>
                </a:lnTo>
                <a:lnTo>
                  <a:pt x="0" y="50"/>
                </a:lnTo>
                <a:lnTo>
                  <a:pt x="8" y="30"/>
                </a:lnTo>
                <a:lnTo>
                  <a:pt x="20" y="14"/>
                </a:lnTo>
                <a:lnTo>
                  <a:pt x="38" y="2"/>
                </a:lnTo>
                <a:lnTo>
                  <a:pt x="52" y="0"/>
                </a:lnTo>
                <a:lnTo>
                  <a:pt x="82" y="2"/>
                </a:lnTo>
                <a:lnTo>
                  <a:pt x="76" y="8"/>
                </a:lnTo>
                <a:lnTo>
                  <a:pt x="64" y="12"/>
                </a:lnTo>
                <a:lnTo>
                  <a:pt x="54" y="28"/>
                </a:lnTo>
                <a:lnTo>
                  <a:pt x="54" y="40"/>
                </a:lnTo>
                <a:lnTo>
                  <a:pt x="54" y="50"/>
                </a:lnTo>
                <a:lnTo>
                  <a:pt x="68" y="76"/>
                </a:lnTo>
                <a:lnTo>
                  <a:pt x="82" y="72"/>
                </a:lnTo>
                <a:lnTo>
                  <a:pt x="76" y="64"/>
                </a:lnTo>
                <a:lnTo>
                  <a:pt x="66" y="50"/>
                </a:lnTo>
                <a:lnTo>
                  <a:pt x="78" y="46"/>
                </a:lnTo>
                <a:lnTo>
                  <a:pt x="70" y="38"/>
                </a:lnTo>
                <a:lnTo>
                  <a:pt x="72" y="26"/>
                </a:lnTo>
                <a:lnTo>
                  <a:pt x="84" y="16"/>
                </a:lnTo>
                <a:lnTo>
                  <a:pt x="108" y="4"/>
                </a:lnTo>
                <a:lnTo>
                  <a:pt x="122" y="2"/>
                </a:lnTo>
                <a:lnTo>
                  <a:pt x="134" y="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13" name="Freeform 32">
            <a:extLst>
              <a:ext uri="{FF2B5EF4-FFF2-40B4-BE49-F238E27FC236}">
                <a16:creationId xmlns:a16="http://schemas.microsoft.com/office/drawing/2014/main" id="{5DB3505C-4639-41FC-9B9F-99DAC57F9E55}"/>
              </a:ext>
            </a:extLst>
          </p:cNvPr>
          <p:cNvSpPr>
            <a:spLocks/>
          </p:cNvSpPr>
          <p:nvPr/>
        </p:nvSpPr>
        <p:spPr bwMode="gray">
          <a:xfrm>
            <a:off x="1641326" y="1627029"/>
            <a:ext cx="26145" cy="14687"/>
          </a:xfrm>
          <a:custGeom>
            <a:avLst/>
            <a:gdLst>
              <a:gd name="T0" fmla="*/ 34 w 36"/>
              <a:gd name="T1" fmla="*/ 0 h 22"/>
              <a:gd name="T2" fmla="*/ 22 w 36"/>
              <a:gd name="T3" fmla="*/ 0 h 22"/>
              <a:gd name="T4" fmla="*/ 8 w 36"/>
              <a:gd name="T5" fmla="*/ 6 h 22"/>
              <a:gd name="T6" fmla="*/ 4 w 36"/>
              <a:gd name="T7" fmla="*/ 10 h 22"/>
              <a:gd name="T8" fmla="*/ 2 w 36"/>
              <a:gd name="T9" fmla="*/ 12 h 22"/>
              <a:gd name="T10" fmla="*/ 0 w 36"/>
              <a:gd name="T11" fmla="*/ 14 h 22"/>
              <a:gd name="T12" fmla="*/ 6 w 36"/>
              <a:gd name="T13" fmla="*/ 18 h 22"/>
              <a:gd name="T14" fmla="*/ 10 w 36"/>
              <a:gd name="T15" fmla="*/ 22 h 22"/>
              <a:gd name="T16" fmla="*/ 22 w 36"/>
              <a:gd name="T17" fmla="*/ 18 h 22"/>
              <a:gd name="T18" fmla="*/ 30 w 36"/>
              <a:gd name="T19" fmla="*/ 12 h 22"/>
              <a:gd name="T20" fmla="*/ 36 w 36"/>
              <a:gd name="T21" fmla="*/ 4 h 22"/>
              <a:gd name="T22" fmla="*/ 34 w 36"/>
              <a:gd name="T23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6" h="22">
                <a:moveTo>
                  <a:pt x="34" y="0"/>
                </a:moveTo>
                <a:lnTo>
                  <a:pt x="22" y="0"/>
                </a:lnTo>
                <a:lnTo>
                  <a:pt x="8" y="6"/>
                </a:lnTo>
                <a:lnTo>
                  <a:pt x="4" y="10"/>
                </a:lnTo>
                <a:lnTo>
                  <a:pt x="2" y="12"/>
                </a:lnTo>
                <a:lnTo>
                  <a:pt x="0" y="14"/>
                </a:lnTo>
                <a:lnTo>
                  <a:pt x="6" y="18"/>
                </a:lnTo>
                <a:lnTo>
                  <a:pt x="10" y="22"/>
                </a:lnTo>
                <a:lnTo>
                  <a:pt x="22" y="18"/>
                </a:lnTo>
                <a:lnTo>
                  <a:pt x="30" y="12"/>
                </a:lnTo>
                <a:lnTo>
                  <a:pt x="36" y="4"/>
                </a:lnTo>
                <a:lnTo>
                  <a:pt x="34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14" name="Freeform 33">
            <a:extLst>
              <a:ext uri="{FF2B5EF4-FFF2-40B4-BE49-F238E27FC236}">
                <a16:creationId xmlns:a16="http://schemas.microsoft.com/office/drawing/2014/main" id="{27A5DC2E-AE8B-4CFB-92F8-CC942116F7F6}"/>
              </a:ext>
            </a:extLst>
          </p:cNvPr>
          <p:cNvSpPr>
            <a:spLocks/>
          </p:cNvSpPr>
          <p:nvPr/>
        </p:nvSpPr>
        <p:spPr bwMode="gray">
          <a:xfrm>
            <a:off x="1686353" y="1636375"/>
            <a:ext cx="13072" cy="14687"/>
          </a:xfrm>
          <a:custGeom>
            <a:avLst/>
            <a:gdLst>
              <a:gd name="T0" fmla="*/ 8 w 18"/>
              <a:gd name="T1" fmla="*/ 0 h 22"/>
              <a:gd name="T2" fmla="*/ 2 w 18"/>
              <a:gd name="T3" fmla="*/ 6 h 22"/>
              <a:gd name="T4" fmla="*/ 0 w 18"/>
              <a:gd name="T5" fmla="*/ 14 h 22"/>
              <a:gd name="T6" fmla="*/ 8 w 18"/>
              <a:gd name="T7" fmla="*/ 22 h 22"/>
              <a:gd name="T8" fmla="*/ 18 w 18"/>
              <a:gd name="T9" fmla="*/ 10 h 22"/>
              <a:gd name="T10" fmla="*/ 16 w 18"/>
              <a:gd name="T11" fmla="*/ 2 h 22"/>
              <a:gd name="T12" fmla="*/ 8 w 18"/>
              <a:gd name="T13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22">
                <a:moveTo>
                  <a:pt x="8" y="0"/>
                </a:moveTo>
                <a:lnTo>
                  <a:pt x="2" y="6"/>
                </a:lnTo>
                <a:lnTo>
                  <a:pt x="0" y="14"/>
                </a:lnTo>
                <a:lnTo>
                  <a:pt x="8" y="22"/>
                </a:lnTo>
                <a:lnTo>
                  <a:pt x="18" y="10"/>
                </a:lnTo>
                <a:lnTo>
                  <a:pt x="16" y="2"/>
                </a:lnTo>
                <a:lnTo>
                  <a:pt x="8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15" name="Freeform 34">
            <a:extLst>
              <a:ext uri="{FF2B5EF4-FFF2-40B4-BE49-F238E27FC236}">
                <a16:creationId xmlns:a16="http://schemas.microsoft.com/office/drawing/2014/main" id="{D0EC8758-64D0-45E7-9A99-D2BC035EFCD7}"/>
              </a:ext>
            </a:extLst>
          </p:cNvPr>
          <p:cNvSpPr>
            <a:spLocks/>
          </p:cNvSpPr>
          <p:nvPr/>
        </p:nvSpPr>
        <p:spPr bwMode="gray">
          <a:xfrm>
            <a:off x="1286921" y="1334615"/>
            <a:ext cx="15977" cy="9347"/>
          </a:xfrm>
          <a:custGeom>
            <a:avLst/>
            <a:gdLst>
              <a:gd name="T0" fmla="*/ 8 w 22"/>
              <a:gd name="T1" fmla="*/ 0 h 14"/>
              <a:gd name="T2" fmla="*/ 16 w 22"/>
              <a:gd name="T3" fmla="*/ 2 h 14"/>
              <a:gd name="T4" fmla="*/ 22 w 22"/>
              <a:gd name="T5" fmla="*/ 8 h 14"/>
              <a:gd name="T6" fmla="*/ 20 w 22"/>
              <a:gd name="T7" fmla="*/ 12 h 14"/>
              <a:gd name="T8" fmla="*/ 10 w 22"/>
              <a:gd name="T9" fmla="*/ 14 h 14"/>
              <a:gd name="T10" fmla="*/ 2 w 22"/>
              <a:gd name="T11" fmla="*/ 8 h 14"/>
              <a:gd name="T12" fmla="*/ 0 w 22"/>
              <a:gd name="T13" fmla="*/ 2 h 14"/>
              <a:gd name="T14" fmla="*/ 8 w 22"/>
              <a:gd name="T15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" h="14">
                <a:moveTo>
                  <a:pt x="8" y="0"/>
                </a:moveTo>
                <a:lnTo>
                  <a:pt x="16" y="2"/>
                </a:lnTo>
                <a:lnTo>
                  <a:pt x="22" y="8"/>
                </a:lnTo>
                <a:lnTo>
                  <a:pt x="20" y="12"/>
                </a:lnTo>
                <a:lnTo>
                  <a:pt x="10" y="14"/>
                </a:lnTo>
                <a:lnTo>
                  <a:pt x="2" y="8"/>
                </a:lnTo>
                <a:lnTo>
                  <a:pt x="0" y="2"/>
                </a:lnTo>
                <a:lnTo>
                  <a:pt x="8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16" name="Freeform 35">
            <a:extLst>
              <a:ext uri="{FF2B5EF4-FFF2-40B4-BE49-F238E27FC236}">
                <a16:creationId xmlns:a16="http://schemas.microsoft.com/office/drawing/2014/main" id="{1F028ACB-6409-42CA-AEBE-DC6C859B8C7D}"/>
              </a:ext>
            </a:extLst>
          </p:cNvPr>
          <p:cNvSpPr>
            <a:spLocks/>
          </p:cNvSpPr>
          <p:nvPr/>
        </p:nvSpPr>
        <p:spPr bwMode="gray">
          <a:xfrm>
            <a:off x="1751714" y="1534898"/>
            <a:ext cx="14525" cy="10682"/>
          </a:xfrm>
          <a:custGeom>
            <a:avLst/>
            <a:gdLst>
              <a:gd name="T0" fmla="*/ 8 w 20"/>
              <a:gd name="T1" fmla="*/ 0 h 16"/>
              <a:gd name="T2" fmla="*/ 16 w 20"/>
              <a:gd name="T3" fmla="*/ 6 h 16"/>
              <a:gd name="T4" fmla="*/ 20 w 20"/>
              <a:gd name="T5" fmla="*/ 12 h 16"/>
              <a:gd name="T6" fmla="*/ 16 w 20"/>
              <a:gd name="T7" fmla="*/ 16 h 16"/>
              <a:gd name="T8" fmla="*/ 6 w 20"/>
              <a:gd name="T9" fmla="*/ 14 h 16"/>
              <a:gd name="T10" fmla="*/ 0 w 20"/>
              <a:gd name="T11" fmla="*/ 10 h 16"/>
              <a:gd name="T12" fmla="*/ 0 w 20"/>
              <a:gd name="T13" fmla="*/ 2 h 16"/>
              <a:gd name="T14" fmla="*/ 8 w 20"/>
              <a:gd name="T15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" h="16">
                <a:moveTo>
                  <a:pt x="8" y="0"/>
                </a:moveTo>
                <a:lnTo>
                  <a:pt x="16" y="6"/>
                </a:lnTo>
                <a:lnTo>
                  <a:pt x="20" y="12"/>
                </a:lnTo>
                <a:lnTo>
                  <a:pt x="16" y="16"/>
                </a:lnTo>
                <a:lnTo>
                  <a:pt x="6" y="14"/>
                </a:lnTo>
                <a:lnTo>
                  <a:pt x="0" y="10"/>
                </a:lnTo>
                <a:lnTo>
                  <a:pt x="0" y="2"/>
                </a:lnTo>
                <a:lnTo>
                  <a:pt x="8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17" name="Freeform 36">
            <a:extLst>
              <a:ext uri="{FF2B5EF4-FFF2-40B4-BE49-F238E27FC236}">
                <a16:creationId xmlns:a16="http://schemas.microsoft.com/office/drawing/2014/main" id="{CE8090E4-03D2-432D-8436-94D2FE43788C}"/>
              </a:ext>
            </a:extLst>
          </p:cNvPr>
          <p:cNvSpPr>
            <a:spLocks/>
          </p:cNvSpPr>
          <p:nvPr/>
        </p:nvSpPr>
        <p:spPr bwMode="gray">
          <a:xfrm>
            <a:off x="1872270" y="1824642"/>
            <a:ext cx="27597" cy="12017"/>
          </a:xfrm>
          <a:custGeom>
            <a:avLst/>
            <a:gdLst>
              <a:gd name="T0" fmla="*/ 0 w 38"/>
              <a:gd name="T1" fmla="*/ 2 h 18"/>
              <a:gd name="T2" fmla="*/ 8 w 38"/>
              <a:gd name="T3" fmla="*/ 8 h 18"/>
              <a:gd name="T4" fmla="*/ 18 w 38"/>
              <a:gd name="T5" fmla="*/ 14 h 18"/>
              <a:gd name="T6" fmla="*/ 34 w 38"/>
              <a:gd name="T7" fmla="*/ 18 h 18"/>
              <a:gd name="T8" fmla="*/ 38 w 38"/>
              <a:gd name="T9" fmla="*/ 12 h 18"/>
              <a:gd name="T10" fmla="*/ 30 w 38"/>
              <a:gd name="T11" fmla="*/ 6 h 18"/>
              <a:gd name="T12" fmla="*/ 22 w 38"/>
              <a:gd name="T13" fmla="*/ 2 h 18"/>
              <a:gd name="T14" fmla="*/ 14 w 38"/>
              <a:gd name="T15" fmla="*/ 0 h 18"/>
              <a:gd name="T16" fmla="*/ 8 w 38"/>
              <a:gd name="T17" fmla="*/ 0 h 18"/>
              <a:gd name="T18" fmla="*/ 0 w 38"/>
              <a:gd name="T19" fmla="*/ 2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8" h="18">
                <a:moveTo>
                  <a:pt x="0" y="2"/>
                </a:moveTo>
                <a:lnTo>
                  <a:pt x="8" y="8"/>
                </a:lnTo>
                <a:lnTo>
                  <a:pt x="18" y="14"/>
                </a:lnTo>
                <a:lnTo>
                  <a:pt x="34" y="18"/>
                </a:lnTo>
                <a:lnTo>
                  <a:pt x="38" y="12"/>
                </a:lnTo>
                <a:lnTo>
                  <a:pt x="30" y="6"/>
                </a:lnTo>
                <a:lnTo>
                  <a:pt x="22" y="2"/>
                </a:lnTo>
                <a:lnTo>
                  <a:pt x="14" y="0"/>
                </a:lnTo>
                <a:lnTo>
                  <a:pt x="8" y="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18" name="Freeform 37">
            <a:extLst>
              <a:ext uri="{FF2B5EF4-FFF2-40B4-BE49-F238E27FC236}">
                <a16:creationId xmlns:a16="http://schemas.microsoft.com/office/drawing/2014/main" id="{FA481CA0-8A1A-4019-8B1F-78722BCC2CE7}"/>
              </a:ext>
            </a:extLst>
          </p:cNvPr>
          <p:cNvSpPr>
            <a:spLocks/>
          </p:cNvSpPr>
          <p:nvPr/>
        </p:nvSpPr>
        <p:spPr bwMode="gray">
          <a:xfrm>
            <a:off x="1135863" y="1811290"/>
            <a:ext cx="52289" cy="33381"/>
          </a:xfrm>
          <a:custGeom>
            <a:avLst/>
            <a:gdLst>
              <a:gd name="T0" fmla="*/ 0 w 72"/>
              <a:gd name="T1" fmla="*/ 0 h 50"/>
              <a:gd name="T2" fmla="*/ 12 w 72"/>
              <a:gd name="T3" fmla="*/ 2 h 50"/>
              <a:gd name="T4" fmla="*/ 24 w 72"/>
              <a:gd name="T5" fmla="*/ 6 h 50"/>
              <a:gd name="T6" fmla="*/ 32 w 72"/>
              <a:gd name="T7" fmla="*/ 10 h 50"/>
              <a:gd name="T8" fmla="*/ 42 w 72"/>
              <a:gd name="T9" fmla="*/ 16 h 50"/>
              <a:gd name="T10" fmla="*/ 50 w 72"/>
              <a:gd name="T11" fmla="*/ 26 h 50"/>
              <a:gd name="T12" fmla="*/ 56 w 72"/>
              <a:gd name="T13" fmla="*/ 30 h 50"/>
              <a:gd name="T14" fmla="*/ 66 w 72"/>
              <a:gd name="T15" fmla="*/ 36 h 50"/>
              <a:gd name="T16" fmla="*/ 70 w 72"/>
              <a:gd name="T17" fmla="*/ 42 h 50"/>
              <a:gd name="T18" fmla="*/ 72 w 72"/>
              <a:gd name="T19" fmla="*/ 46 h 50"/>
              <a:gd name="T20" fmla="*/ 66 w 72"/>
              <a:gd name="T21" fmla="*/ 48 h 50"/>
              <a:gd name="T22" fmla="*/ 56 w 72"/>
              <a:gd name="T23" fmla="*/ 50 h 50"/>
              <a:gd name="T24" fmla="*/ 46 w 72"/>
              <a:gd name="T25" fmla="*/ 46 h 50"/>
              <a:gd name="T26" fmla="*/ 46 w 72"/>
              <a:gd name="T27" fmla="*/ 38 h 50"/>
              <a:gd name="T28" fmla="*/ 40 w 72"/>
              <a:gd name="T29" fmla="*/ 38 h 50"/>
              <a:gd name="T30" fmla="*/ 34 w 72"/>
              <a:gd name="T31" fmla="*/ 32 h 50"/>
              <a:gd name="T32" fmla="*/ 28 w 72"/>
              <a:gd name="T33" fmla="*/ 24 h 50"/>
              <a:gd name="T34" fmla="*/ 22 w 72"/>
              <a:gd name="T35" fmla="*/ 24 h 50"/>
              <a:gd name="T36" fmla="*/ 20 w 72"/>
              <a:gd name="T37" fmla="*/ 18 h 50"/>
              <a:gd name="T38" fmla="*/ 14 w 72"/>
              <a:gd name="T39" fmla="*/ 18 h 50"/>
              <a:gd name="T40" fmla="*/ 6 w 72"/>
              <a:gd name="T41" fmla="*/ 14 h 50"/>
              <a:gd name="T42" fmla="*/ 0 w 72"/>
              <a:gd name="T43" fmla="*/ 10 h 50"/>
              <a:gd name="T44" fmla="*/ 0 w 72"/>
              <a:gd name="T45" fmla="*/ 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72" h="50">
                <a:moveTo>
                  <a:pt x="0" y="0"/>
                </a:moveTo>
                <a:lnTo>
                  <a:pt x="12" y="2"/>
                </a:lnTo>
                <a:lnTo>
                  <a:pt x="24" y="6"/>
                </a:lnTo>
                <a:lnTo>
                  <a:pt x="32" y="10"/>
                </a:lnTo>
                <a:lnTo>
                  <a:pt x="42" y="16"/>
                </a:lnTo>
                <a:lnTo>
                  <a:pt x="50" y="26"/>
                </a:lnTo>
                <a:lnTo>
                  <a:pt x="56" y="30"/>
                </a:lnTo>
                <a:lnTo>
                  <a:pt x="66" y="36"/>
                </a:lnTo>
                <a:lnTo>
                  <a:pt x="70" y="42"/>
                </a:lnTo>
                <a:lnTo>
                  <a:pt x="72" y="46"/>
                </a:lnTo>
                <a:lnTo>
                  <a:pt x="66" y="48"/>
                </a:lnTo>
                <a:lnTo>
                  <a:pt x="56" y="50"/>
                </a:lnTo>
                <a:lnTo>
                  <a:pt x="46" y="46"/>
                </a:lnTo>
                <a:lnTo>
                  <a:pt x="46" y="38"/>
                </a:lnTo>
                <a:lnTo>
                  <a:pt x="40" y="38"/>
                </a:lnTo>
                <a:lnTo>
                  <a:pt x="34" y="32"/>
                </a:lnTo>
                <a:lnTo>
                  <a:pt x="28" y="24"/>
                </a:lnTo>
                <a:lnTo>
                  <a:pt x="22" y="24"/>
                </a:lnTo>
                <a:lnTo>
                  <a:pt x="20" y="18"/>
                </a:lnTo>
                <a:lnTo>
                  <a:pt x="14" y="18"/>
                </a:lnTo>
                <a:lnTo>
                  <a:pt x="6" y="14"/>
                </a:lnTo>
                <a:lnTo>
                  <a:pt x="0" y="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grpSp>
        <p:nvGrpSpPr>
          <p:cNvPr id="119" name="Group 38">
            <a:extLst>
              <a:ext uri="{FF2B5EF4-FFF2-40B4-BE49-F238E27FC236}">
                <a16:creationId xmlns:a16="http://schemas.microsoft.com/office/drawing/2014/main" id="{97C92B00-99FF-411B-AC85-588585F5BB18}"/>
              </a:ext>
            </a:extLst>
          </p:cNvPr>
          <p:cNvGrpSpPr>
            <a:grpSpLocks/>
          </p:cNvGrpSpPr>
          <p:nvPr/>
        </p:nvGrpSpPr>
        <p:grpSpPr bwMode="auto">
          <a:xfrm>
            <a:off x="682689" y="1477484"/>
            <a:ext cx="431387" cy="309772"/>
            <a:chOff x="44" y="1185"/>
            <a:chExt cx="594" cy="464"/>
          </a:xfrm>
          <a:solidFill>
            <a:schemeClr val="accent3"/>
          </a:solidFill>
        </p:grpSpPr>
        <p:sp>
          <p:nvSpPr>
            <p:cNvPr id="352" name="Freeform 39">
              <a:extLst>
                <a:ext uri="{FF2B5EF4-FFF2-40B4-BE49-F238E27FC236}">
                  <a16:creationId xmlns:a16="http://schemas.microsoft.com/office/drawing/2014/main" id="{29A2458D-9934-4307-9139-12FA4A78505F}"/>
                </a:ext>
              </a:extLst>
            </p:cNvPr>
            <p:cNvSpPr>
              <a:spLocks/>
            </p:cNvSpPr>
            <p:nvPr/>
          </p:nvSpPr>
          <p:spPr bwMode="gray">
            <a:xfrm>
              <a:off x="44" y="1185"/>
              <a:ext cx="594" cy="414"/>
            </a:xfrm>
            <a:custGeom>
              <a:avLst/>
              <a:gdLst>
                <a:gd name="T0" fmla="*/ 540 w 594"/>
                <a:gd name="T1" fmla="*/ 354 h 414"/>
                <a:gd name="T2" fmla="*/ 510 w 594"/>
                <a:gd name="T3" fmla="*/ 318 h 414"/>
                <a:gd name="T4" fmla="*/ 500 w 594"/>
                <a:gd name="T5" fmla="*/ 332 h 414"/>
                <a:gd name="T6" fmla="*/ 464 w 594"/>
                <a:gd name="T7" fmla="*/ 324 h 414"/>
                <a:gd name="T8" fmla="*/ 414 w 594"/>
                <a:gd name="T9" fmla="*/ 298 h 414"/>
                <a:gd name="T10" fmla="*/ 362 w 594"/>
                <a:gd name="T11" fmla="*/ 288 h 414"/>
                <a:gd name="T12" fmla="*/ 318 w 594"/>
                <a:gd name="T13" fmla="*/ 272 h 414"/>
                <a:gd name="T14" fmla="*/ 314 w 594"/>
                <a:gd name="T15" fmla="*/ 294 h 414"/>
                <a:gd name="T16" fmla="*/ 278 w 594"/>
                <a:gd name="T17" fmla="*/ 304 h 414"/>
                <a:gd name="T18" fmla="*/ 252 w 594"/>
                <a:gd name="T19" fmla="*/ 298 h 414"/>
                <a:gd name="T20" fmla="*/ 270 w 594"/>
                <a:gd name="T21" fmla="*/ 274 h 414"/>
                <a:gd name="T22" fmla="*/ 274 w 594"/>
                <a:gd name="T23" fmla="*/ 266 h 414"/>
                <a:gd name="T24" fmla="*/ 236 w 594"/>
                <a:gd name="T25" fmla="*/ 298 h 414"/>
                <a:gd name="T26" fmla="*/ 222 w 594"/>
                <a:gd name="T27" fmla="*/ 322 h 414"/>
                <a:gd name="T28" fmla="*/ 196 w 594"/>
                <a:gd name="T29" fmla="*/ 348 h 414"/>
                <a:gd name="T30" fmla="*/ 146 w 594"/>
                <a:gd name="T31" fmla="*/ 384 h 414"/>
                <a:gd name="T32" fmla="*/ 112 w 594"/>
                <a:gd name="T33" fmla="*/ 398 h 414"/>
                <a:gd name="T34" fmla="*/ 90 w 594"/>
                <a:gd name="T35" fmla="*/ 408 h 414"/>
                <a:gd name="T36" fmla="*/ 84 w 594"/>
                <a:gd name="T37" fmla="*/ 394 h 414"/>
                <a:gd name="T38" fmla="*/ 114 w 594"/>
                <a:gd name="T39" fmla="*/ 382 h 414"/>
                <a:gd name="T40" fmla="*/ 156 w 594"/>
                <a:gd name="T41" fmla="*/ 354 h 414"/>
                <a:gd name="T42" fmla="*/ 170 w 594"/>
                <a:gd name="T43" fmla="*/ 320 h 414"/>
                <a:gd name="T44" fmla="*/ 138 w 594"/>
                <a:gd name="T45" fmla="*/ 328 h 414"/>
                <a:gd name="T46" fmla="*/ 100 w 594"/>
                <a:gd name="T47" fmla="*/ 328 h 414"/>
                <a:gd name="T48" fmla="*/ 86 w 594"/>
                <a:gd name="T49" fmla="*/ 286 h 414"/>
                <a:gd name="T50" fmla="*/ 56 w 594"/>
                <a:gd name="T51" fmla="*/ 300 h 414"/>
                <a:gd name="T52" fmla="*/ 48 w 594"/>
                <a:gd name="T53" fmla="*/ 274 h 414"/>
                <a:gd name="T54" fmla="*/ 24 w 594"/>
                <a:gd name="T55" fmla="*/ 258 h 414"/>
                <a:gd name="T56" fmla="*/ 46 w 594"/>
                <a:gd name="T57" fmla="*/ 226 h 414"/>
                <a:gd name="T58" fmla="*/ 80 w 594"/>
                <a:gd name="T59" fmla="*/ 214 h 414"/>
                <a:gd name="T60" fmla="*/ 102 w 594"/>
                <a:gd name="T61" fmla="*/ 184 h 414"/>
                <a:gd name="T62" fmla="*/ 86 w 594"/>
                <a:gd name="T63" fmla="*/ 180 h 414"/>
                <a:gd name="T64" fmla="*/ 20 w 594"/>
                <a:gd name="T65" fmla="*/ 168 h 414"/>
                <a:gd name="T66" fmla="*/ 10 w 594"/>
                <a:gd name="T67" fmla="*/ 150 h 414"/>
                <a:gd name="T68" fmla="*/ 60 w 594"/>
                <a:gd name="T69" fmla="*/ 132 h 414"/>
                <a:gd name="T70" fmla="*/ 100 w 594"/>
                <a:gd name="T71" fmla="*/ 142 h 414"/>
                <a:gd name="T72" fmla="*/ 102 w 594"/>
                <a:gd name="T73" fmla="*/ 132 h 414"/>
                <a:gd name="T74" fmla="*/ 84 w 594"/>
                <a:gd name="T75" fmla="*/ 116 h 414"/>
                <a:gd name="T76" fmla="*/ 44 w 594"/>
                <a:gd name="T77" fmla="*/ 94 h 414"/>
                <a:gd name="T78" fmla="*/ 22 w 594"/>
                <a:gd name="T79" fmla="*/ 68 h 414"/>
                <a:gd name="T80" fmla="*/ 88 w 594"/>
                <a:gd name="T81" fmla="*/ 28 h 414"/>
                <a:gd name="T82" fmla="*/ 132 w 594"/>
                <a:gd name="T83" fmla="*/ 12 h 414"/>
                <a:gd name="T84" fmla="*/ 186 w 594"/>
                <a:gd name="T85" fmla="*/ 8 h 414"/>
                <a:gd name="T86" fmla="*/ 244 w 594"/>
                <a:gd name="T87" fmla="*/ 16 h 414"/>
                <a:gd name="T88" fmla="*/ 318 w 594"/>
                <a:gd name="T89" fmla="*/ 30 h 414"/>
                <a:gd name="T90" fmla="*/ 400 w 594"/>
                <a:gd name="T91" fmla="*/ 40 h 414"/>
                <a:gd name="T92" fmla="*/ 438 w 594"/>
                <a:gd name="T93" fmla="*/ 288 h 414"/>
                <a:gd name="T94" fmla="*/ 478 w 594"/>
                <a:gd name="T95" fmla="*/ 316 h 414"/>
                <a:gd name="T96" fmla="*/ 508 w 594"/>
                <a:gd name="T97" fmla="*/ 300 h 414"/>
                <a:gd name="T98" fmla="*/ 556 w 594"/>
                <a:gd name="T99" fmla="*/ 358 h 414"/>
                <a:gd name="T100" fmla="*/ 594 w 594"/>
                <a:gd name="T101" fmla="*/ 394 h 414"/>
                <a:gd name="T102" fmla="*/ 582 w 594"/>
                <a:gd name="T103" fmla="*/ 394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4" h="414">
                  <a:moveTo>
                    <a:pt x="568" y="384"/>
                  </a:moveTo>
                  <a:lnTo>
                    <a:pt x="552" y="370"/>
                  </a:lnTo>
                  <a:lnTo>
                    <a:pt x="542" y="362"/>
                  </a:lnTo>
                  <a:lnTo>
                    <a:pt x="540" y="354"/>
                  </a:lnTo>
                  <a:lnTo>
                    <a:pt x="530" y="342"/>
                  </a:lnTo>
                  <a:lnTo>
                    <a:pt x="522" y="336"/>
                  </a:lnTo>
                  <a:lnTo>
                    <a:pt x="518" y="330"/>
                  </a:lnTo>
                  <a:lnTo>
                    <a:pt x="510" y="318"/>
                  </a:lnTo>
                  <a:lnTo>
                    <a:pt x="506" y="322"/>
                  </a:lnTo>
                  <a:lnTo>
                    <a:pt x="510" y="334"/>
                  </a:lnTo>
                  <a:lnTo>
                    <a:pt x="506" y="338"/>
                  </a:lnTo>
                  <a:lnTo>
                    <a:pt x="500" y="332"/>
                  </a:lnTo>
                  <a:lnTo>
                    <a:pt x="496" y="328"/>
                  </a:lnTo>
                  <a:lnTo>
                    <a:pt x="492" y="336"/>
                  </a:lnTo>
                  <a:lnTo>
                    <a:pt x="480" y="332"/>
                  </a:lnTo>
                  <a:lnTo>
                    <a:pt x="464" y="324"/>
                  </a:lnTo>
                  <a:lnTo>
                    <a:pt x="440" y="310"/>
                  </a:lnTo>
                  <a:lnTo>
                    <a:pt x="438" y="302"/>
                  </a:lnTo>
                  <a:lnTo>
                    <a:pt x="426" y="304"/>
                  </a:lnTo>
                  <a:lnTo>
                    <a:pt x="414" y="298"/>
                  </a:lnTo>
                  <a:lnTo>
                    <a:pt x="400" y="296"/>
                  </a:lnTo>
                  <a:lnTo>
                    <a:pt x="378" y="296"/>
                  </a:lnTo>
                  <a:lnTo>
                    <a:pt x="368" y="296"/>
                  </a:lnTo>
                  <a:lnTo>
                    <a:pt x="362" y="288"/>
                  </a:lnTo>
                  <a:lnTo>
                    <a:pt x="348" y="286"/>
                  </a:lnTo>
                  <a:lnTo>
                    <a:pt x="344" y="280"/>
                  </a:lnTo>
                  <a:lnTo>
                    <a:pt x="332" y="274"/>
                  </a:lnTo>
                  <a:lnTo>
                    <a:pt x="318" y="272"/>
                  </a:lnTo>
                  <a:lnTo>
                    <a:pt x="306" y="272"/>
                  </a:lnTo>
                  <a:lnTo>
                    <a:pt x="306" y="280"/>
                  </a:lnTo>
                  <a:lnTo>
                    <a:pt x="310" y="286"/>
                  </a:lnTo>
                  <a:lnTo>
                    <a:pt x="314" y="294"/>
                  </a:lnTo>
                  <a:lnTo>
                    <a:pt x="310" y="296"/>
                  </a:lnTo>
                  <a:lnTo>
                    <a:pt x="294" y="296"/>
                  </a:lnTo>
                  <a:lnTo>
                    <a:pt x="286" y="298"/>
                  </a:lnTo>
                  <a:lnTo>
                    <a:pt x="278" y="304"/>
                  </a:lnTo>
                  <a:lnTo>
                    <a:pt x="268" y="312"/>
                  </a:lnTo>
                  <a:lnTo>
                    <a:pt x="256" y="316"/>
                  </a:lnTo>
                  <a:lnTo>
                    <a:pt x="250" y="308"/>
                  </a:lnTo>
                  <a:lnTo>
                    <a:pt x="252" y="298"/>
                  </a:lnTo>
                  <a:lnTo>
                    <a:pt x="256" y="290"/>
                  </a:lnTo>
                  <a:lnTo>
                    <a:pt x="258" y="280"/>
                  </a:lnTo>
                  <a:lnTo>
                    <a:pt x="262" y="276"/>
                  </a:lnTo>
                  <a:lnTo>
                    <a:pt x="270" y="274"/>
                  </a:lnTo>
                  <a:lnTo>
                    <a:pt x="280" y="272"/>
                  </a:lnTo>
                  <a:lnTo>
                    <a:pt x="284" y="264"/>
                  </a:lnTo>
                  <a:lnTo>
                    <a:pt x="286" y="260"/>
                  </a:lnTo>
                  <a:lnTo>
                    <a:pt x="274" y="266"/>
                  </a:lnTo>
                  <a:lnTo>
                    <a:pt x="264" y="268"/>
                  </a:lnTo>
                  <a:lnTo>
                    <a:pt x="244" y="282"/>
                  </a:lnTo>
                  <a:lnTo>
                    <a:pt x="236" y="290"/>
                  </a:lnTo>
                  <a:lnTo>
                    <a:pt x="236" y="298"/>
                  </a:lnTo>
                  <a:lnTo>
                    <a:pt x="230" y="304"/>
                  </a:lnTo>
                  <a:lnTo>
                    <a:pt x="220" y="306"/>
                  </a:lnTo>
                  <a:lnTo>
                    <a:pt x="216" y="314"/>
                  </a:lnTo>
                  <a:lnTo>
                    <a:pt x="222" y="322"/>
                  </a:lnTo>
                  <a:lnTo>
                    <a:pt x="224" y="326"/>
                  </a:lnTo>
                  <a:lnTo>
                    <a:pt x="218" y="332"/>
                  </a:lnTo>
                  <a:lnTo>
                    <a:pt x="208" y="340"/>
                  </a:lnTo>
                  <a:lnTo>
                    <a:pt x="196" y="348"/>
                  </a:lnTo>
                  <a:lnTo>
                    <a:pt x="176" y="360"/>
                  </a:lnTo>
                  <a:lnTo>
                    <a:pt x="154" y="372"/>
                  </a:lnTo>
                  <a:lnTo>
                    <a:pt x="148" y="378"/>
                  </a:lnTo>
                  <a:lnTo>
                    <a:pt x="146" y="384"/>
                  </a:lnTo>
                  <a:lnTo>
                    <a:pt x="134" y="390"/>
                  </a:lnTo>
                  <a:lnTo>
                    <a:pt x="130" y="394"/>
                  </a:lnTo>
                  <a:lnTo>
                    <a:pt x="116" y="394"/>
                  </a:lnTo>
                  <a:lnTo>
                    <a:pt x="112" y="398"/>
                  </a:lnTo>
                  <a:lnTo>
                    <a:pt x="104" y="402"/>
                  </a:lnTo>
                  <a:lnTo>
                    <a:pt x="98" y="398"/>
                  </a:lnTo>
                  <a:lnTo>
                    <a:pt x="94" y="400"/>
                  </a:lnTo>
                  <a:lnTo>
                    <a:pt x="90" y="408"/>
                  </a:lnTo>
                  <a:lnTo>
                    <a:pt x="84" y="412"/>
                  </a:lnTo>
                  <a:lnTo>
                    <a:pt x="76" y="410"/>
                  </a:lnTo>
                  <a:lnTo>
                    <a:pt x="78" y="402"/>
                  </a:lnTo>
                  <a:lnTo>
                    <a:pt x="84" y="394"/>
                  </a:lnTo>
                  <a:lnTo>
                    <a:pt x="90" y="390"/>
                  </a:lnTo>
                  <a:lnTo>
                    <a:pt x="100" y="388"/>
                  </a:lnTo>
                  <a:lnTo>
                    <a:pt x="110" y="388"/>
                  </a:lnTo>
                  <a:lnTo>
                    <a:pt x="114" y="382"/>
                  </a:lnTo>
                  <a:lnTo>
                    <a:pt x="124" y="378"/>
                  </a:lnTo>
                  <a:lnTo>
                    <a:pt x="140" y="366"/>
                  </a:lnTo>
                  <a:lnTo>
                    <a:pt x="150" y="356"/>
                  </a:lnTo>
                  <a:lnTo>
                    <a:pt x="156" y="354"/>
                  </a:lnTo>
                  <a:lnTo>
                    <a:pt x="160" y="342"/>
                  </a:lnTo>
                  <a:lnTo>
                    <a:pt x="160" y="332"/>
                  </a:lnTo>
                  <a:lnTo>
                    <a:pt x="168" y="328"/>
                  </a:lnTo>
                  <a:lnTo>
                    <a:pt x="170" y="320"/>
                  </a:lnTo>
                  <a:lnTo>
                    <a:pt x="160" y="322"/>
                  </a:lnTo>
                  <a:lnTo>
                    <a:pt x="148" y="328"/>
                  </a:lnTo>
                  <a:lnTo>
                    <a:pt x="142" y="322"/>
                  </a:lnTo>
                  <a:lnTo>
                    <a:pt x="138" y="328"/>
                  </a:lnTo>
                  <a:lnTo>
                    <a:pt x="134" y="330"/>
                  </a:lnTo>
                  <a:lnTo>
                    <a:pt x="126" y="322"/>
                  </a:lnTo>
                  <a:lnTo>
                    <a:pt x="110" y="320"/>
                  </a:lnTo>
                  <a:lnTo>
                    <a:pt x="100" y="328"/>
                  </a:lnTo>
                  <a:lnTo>
                    <a:pt x="90" y="330"/>
                  </a:lnTo>
                  <a:lnTo>
                    <a:pt x="88" y="304"/>
                  </a:lnTo>
                  <a:lnTo>
                    <a:pt x="86" y="296"/>
                  </a:lnTo>
                  <a:lnTo>
                    <a:pt x="86" y="286"/>
                  </a:lnTo>
                  <a:lnTo>
                    <a:pt x="80" y="286"/>
                  </a:lnTo>
                  <a:lnTo>
                    <a:pt x="78" y="296"/>
                  </a:lnTo>
                  <a:lnTo>
                    <a:pt x="74" y="300"/>
                  </a:lnTo>
                  <a:lnTo>
                    <a:pt x="56" y="300"/>
                  </a:lnTo>
                  <a:lnTo>
                    <a:pt x="48" y="292"/>
                  </a:lnTo>
                  <a:lnTo>
                    <a:pt x="40" y="280"/>
                  </a:lnTo>
                  <a:lnTo>
                    <a:pt x="42" y="274"/>
                  </a:lnTo>
                  <a:lnTo>
                    <a:pt x="48" y="274"/>
                  </a:lnTo>
                  <a:lnTo>
                    <a:pt x="40" y="268"/>
                  </a:lnTo>
                  <a:lnTo>
                    <a:pt x="40" y="260"/>
                  </a:lnTo>
                  <a:lnTo>
                    <a:pt x="36" y="268"/>
                  </a:lnTo>
                  <a:lnTo>
                    <a:pt x="24" y="258"/>
                  </a:lnTo>
                  <a:lnTo>
                    <a:pt x="30" y="246"/>
                  </a:lnTo>
                  <a:lnTo>
                    <a:pt x="34" y="242"/>
                  </a:lnTo>
                  <a:lnTo>
                    <a:pt x="46" y="234"/>
                  </a:lnTo>
                  <a:lnTo>
                    <a:pt x="46" y="226"/>
                  </a:lnTo>
                  <a:lnTo>
                    <a:pt x="50" y="220"/>
                  </a:lnTo>
                  <a:lnTo>
                    <a:pt x="58" y="220"/>
                  </a:lnTo>
                  <a:lnTo>
                    <a:pt x="72" y="222"/>
                  </a:lnTo>
                  <a:lnTo>
                    <a:pt x="80" y="214"/>
                  </a:lnTo>
                  <a:lnTo>
                    <a:pt x="88" y="210"/>
                  </a:lnTo>
                  <a:lnTo>
                    <a:pt x="110" y="208"/>
                  </a:lnTo>
                  <a:lnTo>
                    <a:pt x="108" y="194"/>
                  </a:lnTo>
                  <a:lnTo>
                    <a:pt x="102" y="184"/>
                  </a:lnTo>
                  <a:lnTo>
                    <a:pt x="108" y="178"/>
                  </a:lnTo>
                  <a:lnTo>
                    <a:pt x="104" y="174"/>
                  </a:lnTo>
                  <a:lnTo>
                    <a:pt x="94" y="174"/>
                  </a:lnTo>
                  <a:lnTo>
                    <a:pt x="86" y="180"/>
                  </a:lnTo>
                  <a:lnTo>
                    <a:pt x="76" y="186"/>
                  </a:lnTo>
                  <a:lnTo>
                    <a:pt x="22" y="184"/>
                  </a:lnTo>
                  <a:lnTo>
                    <a:pt x="14" y="176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4" y="164"/>
                  </a:lnTo>
                  <a:lnTo>
                    <a:pt x="0" y="156"/>
                  </a:lnTo>
                  <a:lnTo>
                    <a:pt x="10" y="150"/>
                  </a:lnTo>
                  <a:lnTo>
                    <a:pt x="22" y="140"/>
                  </a:lnTo>
                  <a:lnTo>
                    <a:pt x="36" y="136"/>
                  </a:lnTo>
                  <a:lnTo>
                    <a:pt x="52" y="130"/>
                  </a:lnTo>
                  <a:lnTo>
                    <a:pt x="60" y="132"/>
                  </a:lnTo>
                  <a:lnTo>
                    <a:pt x="62" y="140"/>
                  </a:lnTo>
                  <a:lnTo>
                    <a:pt x="72" y="146"/>
                  </a:lnTo>
                  <a:lnTo>
                    <a:pt x="88" y="144"/>
                  </a:lnTo>
                  <a:lnTo>
                    <a:pt x="100" y="142"/>
                  </a:lnTo>
                  <a:lnTo>
                    <a:pt x="114" y="136"/>
                  </a:lnTo>
                  <a:lnTo>
                    <a:pt x="118" y="130"/>
                  </a:lnTo>
                  <a:lnTo>
                    <a:pt x="108" y="128"/>
                  </a:lnTo>
                  <a:lnTo>
                    <a:pt x="102" y="132"/>
                  </a:lnTo>
                  <a:lnTo>
                    <a:pt x="88" y="130"/>
                  </a:lnTo>
                  <a:lnTo>
                    <a:pt x="88" y="122"/>
                  </a:lnTo>
                  <a:lnTo>
                    <a:pt x="92" y="118"/>
                  </a:lnTo>
                  <a:lnTo>
                    <a:pt x="84" y="116"/>
                  </a:lnTo>
                  <a:lnTo>
                    <a:pt x="66" y="120"/>
                  </a:lnTo>
                  <a:lnTo>
                    <a:pt x="60" y="108"/>
                  </a:lnTo>
                  <a:lnTo>
                    <a:pt x="50" y="100"/>
                  </a:lnTo>
                  <a:lnTo>
                    <a:pt x="44" y="94"/>
                  </a:lnTo>
                  <a:lnTo>
                    <a:pt x="38" y="90"/>
                  </a:lnTo>
                  <a:lnTo>
                    <a:pt x="26" y="90"/>
                  </a:lnTo>
                  <a:lnTo>
                    <a:pt x="20" y="82"/>
                  </a:lnTo>
                  <a:lnTo>
                    <a:pt x="22" y="68"/>
                  </a:lnTo>
                  <a:lnTo>
                    <a:pt x="58" y="64"/>
                  </a:lnTo>
                  <a:lnTo>
                    <a:pt x="70" y="54"/>
                  </a:lnTo>
                  <a:lnTo>
                    <a:pt x="74" y="42"/>
                  </a:lnTo>
                  <a:lnTo>
                    <a:pt x="88" y="28"/>
                  </a:lnTo>
                  <a:lnTo>
                    <a:pt x="104" y="28"/>
                  </a:lnTo>
                  <a:lnTo>
                    <a:pt x="120" y="20"/>
                  </a:lnTo>
                  <a:lnTo>
                    <a:pt x="128" y="20"/>
                  </a:lnTo>
                  <a:lnTo>
                    <a:pt x="132" y="12"/>
                  </a:lnTo>
                  <a:lnTo>
                    <a:pt x="158" y="10"/>
                  </a:lnTo>
                  <a:lnTo>
                    <a:pt x="176" y="0"/>
                  </a:lnTo>
                  <a:lnTo>
                    <a:pt x="190" y="2"/>
                  </a:lnTo>
                  <a:lnTo>
                    <a:pt x="186" y="8"/>
                  </a:lnTo>
                  <a:lnTo>
                    <a:pt x="190" y="14"/>
                  </a:lnTo>
                  <a:lnTo>
                    <a:pt x="204" y="8"/>
                  </a:lnTo>
                  <a:lnTo>
                    <a:pt x="212" y="12"/>
                  </a:lnTo>
                  <a:lnTo>
                    <a:pt x="244" y="16"/>
                  </a:lnTo>
                  <a:lnTo>
                    <a:pt x="244" y="22"/>
                  </a:lnTo>
                  <a:lnTo>
                    <a:pt x="268" y="24"/>
                  </a:lnTo>
                  <a:lnTo>
                    <a:pt x="296" y="24"/>
                  </a:lnTo>
                  <a:lnTo>
                    <a:pt x="318" y="30"/>
                  </a:lnTo>
                  <a:lnTo>
                    <a:pt x="344" y="36"/>
                  </a:lnTo>
                  <a:lnTo>
                    <a:pt x="364" y="40"/>
                  </a:lnTo>
                  <a:lnTo>
                    <a:pt x="394" y="36"/>
                  </a:lnTo>
                  <a:lnTo>
                    <a:pt x="400" y="40"/>
                  </a:lnTo>
                  <a:lnTo>
                    <a:pt x="420" y="48"/>
                  </a:lnTo>
                  <a:lnTo>
                    <a:pt x="420" y="288"/>
                  </a:lnTo>
                  <a:lnTo>
                    <a:pt x="430" y="292"/>
                  </a:lnTo>
                  <a:lnTo>
                    <a:pt x="438" y="288"/>
                  </a:lnTo>
                  <a:lnTo>
                    <a:pt x="446" y="286"/>
                  </a:lnTo>
                  <a:lnTo>
                    <a:pt x="454" y="296"/>
                  </a:lnTo>
                  <a:lnTo>
                    <a:pt x="470" y="308"/>
                  </a:lnTo>
                  <a:lnTo>
                    <a:pt x="478" y="316"/>
                  </a:lnTo>
                  <a:lnTo>
                    <a:pt x="488" y="314"/>
                  </a:lnTo>
                  <a:lnTo>
                    <a:pt x="490" y="308"/>
                  </a:lnTo>
                  <a:lnTo>
                    <a:pt x="498" y="304"/>
                  </a:lnTo>
                  <a:lnTo>
                    <a:pt x="508" y="300"/>
                  </a:lnTo>
                  <a:lnTo>
                    <a:pt x="520" y="312"/>
                  </a:lnTo>
                  <a:lnTo>
                    <a:pt x="530" y="322"/>
                  </a:lnTo>
                  <a:lnTo>
                    <a:pt x="546" y="338"/>
                  </a:lnTo>
                  <a:lnTo>
                    <a:pt x="556" y="358"/>
                  </a:lnTo>
                  <a:lnTo>
                    <a:pt x="566" y="370"/>
                  </a:lnTo>
                  <a:lnTo>
                    <a:pt x="578" y="378"/>
                  </a:lnTo>
                  <a:lnTo>
                    <a:pt x="592" y="386"/>
                  </a:lnTo>
                  <a:lnTo>
                    <a:pt x="594" y="394"/>
                  </a:lnTo>
                  <a:lnTo>
                    <a:pt x="590" y="410"/>
                  </a:lnTo>
                  <a:lnTo>
                    <a:pt x="576" y="414"/>
                  </a:lnTo>
                  <a:lnTo>
                    <a:pt x="580" y="404"/>
                  </a:lnTo>
                  <a:lnTo>
                    <a:pt x="582" y="394"/>
                  </a:lnTo>
                  <a:lnTo>
                    <a:pt x="576" y="392"/>
                  </a:lnTo>
                  <a:lnTo>
                    <a:pt x="570" y="386"/>
                  </a:lnTo>
                  <a:lnTo>
                    <a:pt x="568" y="384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  <p:sp>
          <p:nvSpPr>
            <p:cNvPr id="353" name="Freeform 40">
              <a:extLst>
                <a:ext uri="{FF2B5EF4-FFF2-40B4-BE49-F238E27FC236}">
                  <a16:creationId xmlns:a16="http://schemas.microsoft.com/office/drawing/2014/main" id="{FF5DA2B0-1F2F-4D13-A7DE-FC50118A08EC}"/>
                </a:ext>
              </a:extLst>
            </p:cNvPr>
            <p:cNvSpPr>
              <a:spLocks/>
            </p:cNvSpPr>
            <p:nvPr/>
          </p:nvSpPr>
          <p:spPr bwMode="gray">
            <a:xfrm>
              <a:off x="250" y="1527"/>
              <a:ext cx="38" cy="26"/>
            </a:xfrm>
            <a:custGeom>
              <a:avLst/>
              <a:gdLst>
                <a:gd name="T0" fmla="*/ 28 w 38"/>
                <a:gd name="T1" fmla="*/ 2 h 26"/>
                <a:gd name="T2" fmla="*/ 20 w 38"/>
                <a:gd name="T3" fmla="*/ 4 h 26"/>
                <a:gd name="T4" fmla="*/ 14 w 38"/>
                <a:gd name="T5" fmla="*/ 6 h 26"/>
                <a:gd name="T6" fmla="*/ 14 w 38"/>
                <a:gd name="T7" fmla="*/ 14 h 26"/>
                <a:gd name="T8" fmla="*/ 8 w 38"/>
                <a:gd name="T9" fmla="*/ 12 h 26"/>
                <a:gd name="T10" fmla="*/ 4 w 38"/>
                <a:gd name="T11" fmla="*/ 8 h 26"/>
                <a:gd name="T12" fmla="*/ 0 w 38"/>
                <a:gd name="T13" fmla="*/ 12 h 26"/>
                <a:gd name="T14" fmla="*/ 2 w 38"/>
                <a:gd name="T15" fmla="*/ 20 h 26"/>
                <a:gd name="T16" fmla="*/ 8 w 38"/>
                <a:gd name="T17" fmla="*/ 26 h 26"/>
                <a:gd name="T18" fmla="*/ 26 w 38"/>
                <a:gd name="T19" fmla="*/ 24 h 26"/>
                <a:gd name="T20" fmla="*/ 32 w 38"/>
                <a:gd name="T21" fmla="*/ 16 h 26"/>
                <a:gd name="T22" fmla="*/ 38 w 38"/>
                <a:gd name="T23" fmla="*/ 10 h 26"/>
                <a:gd name="T24" fmla="*/ 34 w 38"/>
                <a:gd name="T25" fmla="*/ 0 h 26"/>
                <a:gd name="T26" fmla="*/ 28 w 38"/>
                <a:gd name="T27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26">
                  <a:moveTo>
                    <a:pt x="28" y="2"/>
                  </a:moveTo>
                  <a:lnTo>
                    <a:pt x="20" y="4"/>
                  </a:lnTo>
                  <a:lnTo>
                    <a:pt x="14" y="6"/>
                  </a:lnTo>
                  <a:lnTo>
                    <a:pt x="14" y="14"/>
                  </a:lnTo>
                  <a:lnTo>
                    <a:pt x="8" y="12"/>
                  </a:lnTo>
                  <a:lnTo>
                    <a:pt x="4" y="8"/>
                  </a:lnTo>
                  <a:lnTo>
                    <a:pt x="0" y="12"/>
                  </a:lnTo>
                  <a:lnTo>
                    <a:pt x="2" y="20"/>
                  </a:lnTo>
                  <a:lnTo>
                    <a:pt x="8" y="26"/>
                  </a:lnTo>
                  <a:lnTo>
                    <a:pt x="26" y="24"/>
                  </a:lnTo>
                  <a:lnTo>
                    <a:pt x="32" y="16"/>
                  </a:lnTo>
                  <a:lnTo>
                    <a:pt x="38" y="10"/>
                  </a:lnTo>
                  <a:lnTo>
                    <a:pt x="34" y="0"/>
                  </a:lnTo>
                  <a:lnTo>
                    <a:pt x="28" y="2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  <p:sp>
          <p:nvSpPr>
            <p:cNvPr id="354" name="Freeform 41">
              <a:extLst>
                <a:ext uri="{FF2B5EF4-FFF2-40B4-BE49-F238E27FC236}">
                  <a16:creationId xmlns:a16="http://schemas.microsoft.com/office/drawing/2014/main" id="{2C664618-7FDB-4F17-8D32-717B346E8123}"/>
                </a:ext>
              </a:extLst>
            </p:cNvPr>
            <p:cNvSpPr>
              <a:spLocks/>
            </p:cNvSpPr>
            <p:nvPr/>
          </p:nvSpPr>
          <p:spPr bwMode="gray">
            <a:xfrm>
              <a:off x="50" y="1473"/>
              <a:ext cx="26" cy="16"/>
            </a:xfrm>
            <a:custGeom>
              <a:avLst/>
              <a:gdLst>
                <a:gd name="T0" fmla="*/ 22 w 26"/>
                <a:gd name="T1" fmla="*/ 0 h 16"/>
                <a:gd name="T2" fmla="*/ 26 w 26"/>
                <a:gd name="T3" fmla="*/ 4 h 16"/>
                <a:gd name="T4" fmla="*/ 26 w 26"/>
                <a:gd name="T5" fmla="*/ 8 h 16"/>
                <a:gd name="T6" fmla="*/ 22 w 26"/>
                <a:gd name="T7" fmla="*/ 16 h 16"/>
                <a:gd name="T8" fmla="*/ 14 w 26"/>
                <a:gd name="T9" fmla="*/ 14 h 16"/>
                <a:gd name="T10" fmla="*/ 10 w 26"/>
                <a:gd name="T11" fmla="*/ 16 h 16"/>
                <a:gd name="T12" fmla="*/ 4 w 26"/>
                <a:gd name="T13" fmla="*/ 10 h 16"/>
                <a:gd name="T14" fmla="*/ 0 w 26"/>
                <a:gd name="T15" fmla="*/ 6 h 16"/>
                <a:gd name="T16" fmla="*/ 2 w 26"/>
                <a:gd name="T17" fmla="*/ 0 h 16"/>
                <a:gd name="T18" fmla="*/ 8 w 26"/>
                <a:gd name="T19" fmla="*/ 0 h 16"/>
                <a:gd name="T20" fmla="*/ 22 w 26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6">
                  <a:moveTo>
                    <a:pt x="22" y="0"/>
                  </a:moveTo>
                  <a:lnTo>
                    <a:pt x="26" y="4"/>
                  </a:lnTo>
                  <a:lnTo>
                    <a:pt x="26" y="8"/>
                  </a:lnTo>
                  <a:lnTo>
                    <a:pt x="22" y="16"/>
                  </a:lnTo>
                  <a:lnTo>
                    <a:pt x="14" y="14"/>
                  </a:lnTo>
                  <a:lnTo>
                    <a:pt x="10" y="16"/>
                  </a:lnTo>
                  <a:lnTo>
                    <a:pt x="4" y="10"/>
                  </a:lnTo>
                  <a:lnTo>
                    <a:pt x="0" y="6"/>
                  </a:lnTo>
                  <a:lnTo>
                    <a:pt x="2" y="0"/>
                  </a:lnTo>
                  <a:lnTo>
                    <a:pt x="8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  <p:sp>
          <p:nvSpPr>
            <p:cNvPr id="355" name="Freeform 42">
              <a:extLst>
                <a:ext uri="{FF2B5EF4-FFF2-40B4-BE49-F238E27FC236}">
                  <a16:creationId xmlns:a16="http://schemas.microsoft.com/office/drawing/2014/main" id="{4CFF782B-24F6-4C91-BB23-6C86587DA50F}"/>
                </a:ext>
              </a:extLst>
            </p:cNvPr>
            <p:cNvSpPr>
              <a:spLocks/>
            </p:cNvSpPr>
            <p:nvPr/>
          </p:nvSpPr>
          <p:spPr bwMode="gray">
            <a:xfrm>
              <a:off x="540" y="1525"/>
              <a:ext cx="24" cy="40"/>
            </a:xfrm>
            <a:custGeom>
              <a:avLst/>
              <a:gdLst>
                <a:gd name="T0" fmla="*/ 0 w 24"/>
                <a:gd name="T1" fmla="*/ 0 h 40"/>
                <a:gd name="T2" fmla="*/ 10 w 24"/>
                <a:gd name="T3" fmla="*/ 2 h 40"/>
                <a:gd name="T4" fmla="*/ 16 w 24"/>
                <a:gd name="T5" fmla="*/ 6 h 40"/>
                <a:gd name="T6" fmla="*/ 18 w 24"/>
                <a:gd name="T7" fmla="*/ 20 h 40"/>
                <a:gd name="T8" fmla="*/ 24 w 24"/>
                <a:gd name="T9" fmla="*/ 30 h 40"/>
                <a:gd name="T10" fmla="*/ 24 w 24"/>
                <a:gd name="T11" fmla="*/ 40 h 40"/>
                <a:gd name="T12" fmla="*/ 16 w 24"/>
                <a:gd name="T13" fmla="*/ 32 h 40"/>
                <a:gd name="T14" fmla="*/ 8 w 24"/>
                <a:gd name="T15" fmla="*/ 22 h 40"/>
                <a:gd name="T16" fmla="*/ 4 w 24"/>
                <a:gd name="T17" fmla="*/ 16 h 40"/>
                <a:gd name="T18" fmla="*/ 0 w 24"/>
                <a:gd name="T19" fmla="*/ 8 h 40"/>
                <a:gd name="T20" fmla="*/ 0 w 24"/>
                <a:gd name="T21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" h="40">
                  <a:moveTo>
                    <a:pt x="0" y="0"/>
                  </a:moveTo>
                  <a:lnTo>
                    <a:pt x="10" y="2"/>
                  </a:lnTo>
                  <a:lnTo>
                    <a:pt x="16" y="6"/>
                  </a:lnTo>
                  <a:lnTo>
                    <a:pt x="18" y="20"/>
                  </a:lnTo>
                  <a:lnTo>
                    <a:pt x="24" y="30"/>
                  </a:lnTo>
                  <a:lnTo>
                    <a:pt x="24" y="40"/>
                  </a:lnTo>
                  <a:lnTo>
                    <a:pt x="16" y="32"/>
                  </a:lnTo>
                  <a:lnTo>
                    <a:pt x="8" y="22"/>
                  </a:lnTo>
                  <a:lnTo>
                    <a:pt x="4" y="16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  <p:sp>
          <p:nvSpPr>
            <p:cNvPr id="356" name="Freeform 43">
              <a:extLst>
                <a:ext uri="{FF2B5EF4-FFF2-40B4-BE49-F238E27FC236}">
                  <a16:creationId xmlns:a16="http://schemas.microsoft.com/office/drawing/2014/main" id="{64B4FB03-A373-4466-9D83-D80CAF6ECB9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4" y="1565"/>
              <a:ext cx="22" cy="38"/>
            </a:xfrm>
            <a:custGeom>
              <a:avLst/>
              <a:gdLst>
                <a:gd name="T0" fmla="*/ 0 w 22"/>
                <a:gd name="T1" fmla="*/ 8 h 38"/>
                <a:gd name="T2" fmla="*/ 0 w 22"/>
                <a:gd name="T3" fmla="*/ 0 h 38"/>
                <a:gd name="T4" fmla="*/ 8 w 22"/>
                <a:gd name="T5" fmla="*/ 2 h 38"/>
                <a:gd name="T6" fmla="*/ 14 w 22"/>
                <a:gd name="T7" fmla="*/ 14 h 38"/>
                <a:gd name="T8" fmla="*/ 22 w 22"/>
                <a:gd name="T9" fmla="*/ 24 h 38"/>
                <a:gd name="T10" fmla="*/ 22 w 22"/>
                <a:gd name="T11" fmla="*/ 32 h 38"/>
                <a:gd name="T12" fmla="*/ 18 w 22"/>
                <a:gd name="T13" fmla="*/ 38 h 38"/>
                <a:gd name="T14" fmla="*/ 12 w 22"/>
                <a:gd name="T15" fmla="*/ 30 h 38"/>
                <a:gd name="T16" fmla="*/ 6 w 22"/>
                <a:gd name="T17" fmla="*/ 24 h 38"/>
                <a:gd name="T18" fmla="*/ 4 w 22"/>
                <a:gd name="T19" fmla="*/ 16 h 38"/>
                <a:gd name="T20" fmla="*/ 0 w 22"/>
                <a:gd name="T21" fmla="*/ 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8">
                  <a:moveTo>
                    <a:pt x="0" y="8"/>
                  </a:moveTo>
                  <a:lnTo>
                    <a:pt x="0" y="0"/>
                  </a:lnTo>
                  <a:lnTo>
                    <a:pt x="8" y="2"/>
                  </a:lnTo>
                  <a:lnTo>
                    <a:pt x="14" y="14"/>
                  </a:lnTo>
                  <a:lnTo>
                    <a:pt x="22" y="24"/>
                  </a:lnTo>
                  <a:lnTo>
                    <a:pt x="22" y="32"/>
                  </a:lnTo>
                  <a:lnTo>
                    <a:pt x="18" y="38"/>
                  </a:lnTo>
                  <a:lnTo>
                    <a:pt x="12" y="30"/>
                  </a:lnTo>
                  <a:lnTo>
                    <a:pt x="6" y="24"/>
                  </a:lnTo>
                  <a:lnTo>
                    <a:pt x="4" y="16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  <p:sp>
          <p:nvSpPr>
            <p:cNvPr id="357" name="Freeform 44">
              <a:extLst>
                <a:ext uri="{FF2B5EF4-FFF2-40B4-BE49-F238E27FC236}">
                  <a16:creationId xmlns:a16="http://schemas.microsoft.com/office/drawing/2014/main" id="{E178D635-3873-4ADE-8992-D70B3C8DA9A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8" y="1615"/>
              <a:ext cx="26" cy="34"/>
            </a:xfrm>
            <a:custGeom>
              <a:avLst/>
              <a:gdLst>
                <a:gd name="T0" fmla="*/ 0 w 26"/>
                <a:gd name="T1" fmla="*/ 0 h 34"/>
                <a:gd name="T2" fmla="*/ 10 w 26"/>
                <a:gd name="T3" fmla="*/ 4 h 34"/>
                <a:gd name="T4" fmla="*/ 18 w 26"/>
                <a:gd name="T5" fmla="*/ 4 h 34"/>
                <a:gd name="T6" fmla="*/ 20 w 26"/>
                <a:gd name="T7" fmla="*/ 8 h 34"/>
                <a:gd name="T8" fmla="*/ 18 w 26"/>
                <a:gd name="T9" fmla="*/ 16 h 34"/>
                <a:gd name="T10" fmla="*/ 22 w 26"/>
                <a:gd name="T11" fmla="*/ 22 h 34"/>
                <a:gd name="T12" fmla="*/ 26 w 26"/>
                <a:gd name="T13" fmla="*/ 34 h 34"/>
                <a:gd name="T14" fmla="*/ 18 w 26"/>
                <a:gd name="T15" fmla="*/ 32 h 34"/>
                <a:gd name="T16" fmla="*/ 8 w 26"/>
                <a:gd name="T17" fmla="*/ 20 h 34"/>
                <a:gd name="T18" fmla="*/ 2 w 26"/>
                <a:gd name="T19" fmla="*/ 12 h 34"/>
                <a:gd name="T20" fmla="*/ 0 w 26"/>
                <a:gd name="T21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34">
                  <a:moveTo>
                    <a:pt x="0" y="0"/>
                  </a:moveTo>
                  <a:lnTo>
                    <a:pt x="10" y="4"/>
                  </a:lnTo>
                  <a:lnTo>
                    <a:pt x="18" y="4"/>
                  </a:lnTo>
                  <a:lnTo>
                    <a:pt x="20" y="8"/>
                  </a:lnTo>
                  <a:lnTo>
                    <a:pt x="18" y="16"/>
                  </a:lnTo>
                  <a:lnTo>
                    <a:pt x="22" y="22"/>
                  </a:lnTo>
                  <a:lnTo>
                    <a:pt x="26" y="34"/>
                  </a:lnTo>
                  <a:lnTo>
                    <a:pt x="18" y="32"/>
                  </a:lnTo>
                  <a:lnTo>
                    <a:pt x="8" y="20"/>
                  </a:lnTo>
                  <a:lnTo>
                    <a:pt x="2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  <p:sp>
          <p:nvSpPr>
            <p:cNvPr id="358" name="Freeform 45">
              <a:extLst>
                <a:ext uri="{FF2B5EF4-FFF2-40B4-BE49-F238E27FC236}">
                  <a16:creationId xmlns:a16="http://schemas.microsoft.com/office/drawing/2014/main" id="{C1B4BEA5-4183-4576-AEB7-BEF289D9DC0F}"/>
                </a:ext>
              </a:extLst>
            </p:cNvPr>
            <p:cNvSpPr>
              <a:spLocks/>
            </p:cNvSpPr>
            <p:nvPr/>
          </p:nvSpPr>
          <p:spPr bwMode="gray">
            <a:xfrm>
              <a:off x="84" y="1591"/>
              <a:ext cx="32" cy="20"/>
            </a:xfrm>
            <a:custGeom>
              <a:avLst/>
              <a:gdLst>
                <a:gd name="T0" fmla="*/ 32 w 32"/>
                <a:gd name="T1" fmla="*/ 4 h 20"/>
                <a:gd name="T2" fmla="*/ 28 w 32"/>
                <a:gd name="T3" fmla="*/ 10 h 20"/>
                <a:gd name="T4" fmla="*/ 22 w 32"/>
                <a:gd name="T5" fmla="*/ 12 h 20"/>
                <a:gd name="T6" fmla="*/ 12 w 32"/>
                <a:gd name="T7" fmla="*/ 14 h 20"/>
                <a:gd name="T8" fmla="*/ 6 w 32"/>
                <a:gd name="T9" fmla="*/ 20 h 20"/>
                <a:gd name="T10" fmla="*/ 0 w 32"/>
                <a:gd name="T11" fmla="*/ 18 h 20"/>
                <a:gd name="T12" fmla="*/ 6 w 32"/>
                <a:gd name="T13" fmla="*/ 8 h 20"/>
                <a:gd name="T14" fmla="*/ 14 w 32"/>
                <a:gd name="T15" fmla="*/ 4 h 20"/>
                <a:gd name="T16" fmla="*/ 26 w 32"/>
                <a:gd name="T17" fmla="*/ 0 h 20"/>
                <a:gd name="T18" fmla="*/ 32 w 32"/>
                <a:gd name="T19" fmla="*/ 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20">
                  <a:moveTo>
                    <a:pt x="32" y="4"/>
                  </a:moveTo>
                  <a:lnTo>
                    <a:pt x="28" y="10"/>
                  </a:lnTo>
                  <a:lnTo>
                    <a:pt x="22" y="12"/>
                  </a:lnTo>
                  <a:lnTo>
                    <a:pt x="12" y="14"/>
                  </a:lnTo>
                  <a:lnTo>
                    <a:pt x="6" y="20"/>
                  </a:lnTo>
                  <a:lnTo>
                    <a:pt x="0" y="18"/>
                  </a:lnTo>
                  <a:lnTo>
                    <a:pt x="6" y="8"/>
                  </a:lnTo>
                  <a:lnTo>
                    <a:pt x="14" y="4"/>
                  </a:lnTo>
                  <a:lnTo>
                    <a:pt x="26" y="0"/>
                  </a:lnTo>
                  <a:lnTo>
                    <a:pt x="32" y="4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  <p:sp>
          <p:nvSpPr>
            <p:cNvPr id="359" name="Freeform 46">
              <a:extLst>
                <a:ext uri="{FF2B5EF4-FFF2-40B4-BE49-F238E27FC236}">
                  <a16:creationId xmlns:a16="http://schemas.microsoft.com/office/drawing/2014/main" id="{3C2869F9-242E-4587-AEB8-C067CB72626A}"/>
                </a:ext>
              </a:extLst>
            </p:cNvPr>
            <p:cNvSpPr>
              <a:spLocks/>
            </p:cNvSpPr>
            <p:nvPr/>
          </p:nvSpPr>
          <p:spPr bwMode="gray">
            <a:xfrm>
              <a:off x="560" y="1523"/>
              <a:ext cx="16" cy="30"/>
            </a:xfrm>
            <a:custGeom>
              <a:avLst/>
              <a:gdLst>
                <a:gd name="T0" fmla="*/ 0 w 16"/>
                <a:gd name="T1" fmla="*/ 0 h 30"/>
                <a:gd name="T2" fmla="*/ 10 w 16"/>
                <a:gd name="T3" fmla="*/ 4 h 30"/>
                <a:gd name="T4" fmla="*/ 16 w 16"/>
                <a:gd name="T5" fmla="*/ 16 h 30"/>
                <a:gd name="T6" fmla="*/ 14 w 16"/>
                <a:gd name="T7" fmla="*/ 24 h 30"/>
                <a:gd name="T8" fmla="*/ 10 w 16"/>
                <a:gd name="T9" fmla="*/ 30 h 30"/>
                <a:gd name="T10" fmla="*/ 4 w 16"/>
                <a:gd name="T11" fmla="*/ 22 h 30"/>
                <a:gd name="T12" fmla="*/ 4 w 16"/>
                <a:gd name="T13" fmla="*/ 16 h 30"/>
                <a:gd name="T14" fmla="*/ 0 w 16"/>
                <a:gd name="T15" fmla="*/ 8 h 30"/>
                <a:gd name="T16" fmla="*/ 0 w 16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0">
                  <a:moveTo>
                    <a:pt x="0" y="0"/>
                  </a:moveTo>
                  <a:lnTo>
                    <a:pt x="10" y="4"/>
                  </a:lnTo>
                  <a:lnTo>
                    <a:pt x="16" y="16"/>
                  </a:lnTo>
                  <a:lnTo>
                    <a:pt x="14" y="24"/>
                  </a:lnTo>
                  <a:lnTo>
                    <a:pt x="10" y="30"/>
                  </a:lnTo>
                  <a:lnTo>
                    <a:pt x="4" y="22"/>
                  </a:lnTo>
                  <a:lnTo>
                    <a:pt x="4" y="16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  <p:sp>
          <p:nvSpPr>
            <p:cNvPr id="360" name="Freeform 47">
              <a:extLst>
                <a:ext uri="{FF2B5EF4-FFF2-40B4-BE49-F238E27FC236}">
                  <a16:creationId xmlns:a16="http://schemas.microsoft.com/office/drawing/2014/main" id="{BB4D8FB9-D40F-4CDF-B7C8-9BB52358F678}"/>
                </a:ext>
              </a:extLst>
            </p:cNvPr>
            <p:cNvSpPr>
              <a:spLocks/>
            </p:cNvSpPr>
            <p:nvPr/>
          </p:nvSpPr>
          <p:spPr bwMode="gray">
            <a:xfrm>
              <a:off x="608" y="1575"/>
              <a:ext cx="14" cy="20"/>
            </a:xfrm>
            <a:custGeom>
              <a:avLst/>
              <a:gdLst>
                <a:gd name="T0" fmla="*/ 0 w 14"/>
                <a:gd name="T1" fmla="*/ 0 h 20"/>
                <a:gd name="T2" fmla="*/ 6 w 14"/>
                <a:gd name="T3" fmla="*/ 4 h 20"/>
                <a:gd name="T4" fmla="*/ 14 w 14"/>
                <a:gd name="T5" fmla="*/ 6 h 20"/>
                <a:gd name="T6" fmla="*/ 12 w 14"/>
                <a:gd name="T7" fmla="*/ 16 h 20"/>
                <a:gd name="T8" fmla="*/ 6 w 14"/>
                <a:gd name="T9" fmla="*/ 20 h 20"/>
                <a:gd name="T10" fmla="*/ 0 w 14"/>
                <a:gd name="T11" fmla="*/ 12 h 20"/>
                <a:gd name="T12" fmla="*/ 0 w 14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0">
                  <a:moveTo>
                    <a:pt x="0" y="0"/>
                  </a:moveTo>
                  <a:lnTo>
                    <a:pt x="6" y="4"/>
                  </a:lnTo>
                  <a:lnTo>
                    <a:pt x="14" y="6"/>
                  </a:lnTo>
                  <a:lnTo>
                    <a:pt x="12" y="16"/>
                  </a:lnTo>
                  <a:lnTo>
                    <a:pt x="6" y="20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  <p:sp>
          <p:nvSpPr>
            <p:cNvPr id="361" name="Freeform 48">
              <a:extLst>
                <a:ext uri="{FF2B5EF4-FFF2-40B4-BE49-F238E27FC236}">
                  <a16:creationId xmlns:a16="http://schemas.microsoft.com/office/drawing/2014/main" id="{AD727271-22FD-4183-B631-3C3D5F35C2AE}"/>
                </a:ext>
              </a:extLst>
            </p:cNvPr>
            <p:cNvSpPr>
              <a:spLocks/>
            </p:cNvSpPr>
            <p:nvPr/>
          </p:nvSpPr>
          <p:spPr bwMode="gray">
            <a:xfrm>
              <a:off x="560" y="1523"/>
              <a:ext cx="16" cy="30"/>
            </a:xfrm>
            <a:custGeom>
              <a:avLst/>
              <a:gdLst>
                <a:gd name="T0" fmla="*/ 0 w 16"/>
                <a:gd name="T1" fmla="*/ 0 h 30"/>
                <a:gd name="T2" fmla="*/ 10 w 16"/>
                <a:gd name="T3" fmla="*/ 4 h 30"/>
                <a:gd name="T4" fmla="*/ 16 w 16"/>
                <a:gd name="T5" fmla="*/ 16 h 30"/>
                <a:gd name="T6" fmla="*/ 14 w 16"/>
                <a:gd name="T7" fmla="*/ 24 h 30"/>
                <a:gd name="T8" fmla="*/ 10 w 16"/>
                <a:gd name="T9" fmla="*/ 30 h 30"/>
                <a:gd name="T10" fmla="*/ 4 w 16"/>
                <a:gd name="T11" fmla="*/ 22 h 30"/>
                <a:gd name="T12" fmla="*/ 4 w 16"/>
                <a:gd name="T13" fmla="*/ 16 h 30"/>
                <a:gd name="T14" fmla="*/ 0 w 16"/>
                <a:gd name="T15" fmla="*/ 8 h 30"/>
                <a:gd name="T16" fmla="*/ 0 w 16"/>
                <a:gd name="T1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30">
                  <a:moveTo>
                    <a:pt x="0" y="0"/>
                  </a:moveTo>
                  <a:lnTo>
                    <a:pt x="10" y="4"/>
                  </a:lnTo>
                  <a:lnTo>
                    <a:pt x="16" y="16"/>
                  </a:lnTo>
                  <a:lnTo>
                    <a:pt x="14" y="24"/>
                  </a:lnTo>
                  <a:lnTo>
                    <a:pt x="10" y="30"/>
                  </a:lnTo>
                  <a:lnTo>
                    <a:pt x="4" y="22"/>
                  </a:lnTo>
                  <a:lnTo>
                    <a:pt x="4" y="16"/>
                  </a:lnTo>
                  <a:lnTo>
                    <a:pt x="0" y="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  <p:sp>
          <p:nvSpPr>
            <p:cNvPr id="362" name="Freeform 49">
              <a:extLst>
                <a:ext uri="{FF2B5EF4-FFF2-40B4-BE49-F238E27FC236}">
                  <a16:creationId xmlns:a16="http://schemas.microsoft.com/office/drawing/2014/main" id="{76CC7AA1-FFF2-437C-8F76-D4ECE52DC049}"/>
                </a:ext>
              </a:extLst>
            </p:cNvPr>
            <p:cNvSpPr>
              <a:spLocks/>
            </p:cNvSpPr>
            <p:nvPr/>
          </p:nvSpPr>
          <p:spPr bwMode="gray">
            <a:xfrm>
              <a:off x="608" y="1575"/>
              <a:ext cx="14" cy="20"/>
            </a:xfrm>
            <a:custGeom>
              <a:avLst/>
              <a:gdLst>
                <a:gd name="T0" fmla="*/ 0 w 14"/>
                <a:gd name="T1" fmla="*/ 0 h 20"/>
                <a:gd name="T2" fmla="*/ 6 w 14"/>
                <a:gd name="T3" fmla="*/ 4 h 20"/>
                <a:gd name="T4" fmla="*/ 14 w 14"/>
                <a:gd name="T5" fmla="*/ 6 h 20"/>
                <a:gd name="T6" fmla="*/ 12 w 14"/>
                <a:gd name="T7" fmla="*/ 16 h 20"/>
                <a:gd name="T8" fmla="*/ 6 w 14"/>
                <a:gd name="T9" fmla="*/ 20 h 20"/>
                <a:gd name="T10" fmla="*/ 0 w 14"/>
                <a:gd name="T11" fmla="*/ 12 h 20"/>
                <a:gd name="T12" fmla="*/ 0 w 14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0">
                  <a:moveTo>
                    <a:pt x="0" y="0"/>
                  </a:moveTo>
                  <a:lnTo>
                    <a:pt x="6" y="4"/>
                  </a:lnTo>
                  <a:lnTo>
                    <a:pt x="14" y="6"/>
                  </a:lnTo>
                  <a:lnTo>
                    <a:pt x="12" y="16"/>
                  </a:lnTo>
                  <a:lnTo>
                    <a:pt x="6" y="20"/>
                  </a:lnTo>
                  <a:lnTo>
                    <a:pt x="0" y="1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  <p:sp>
          <p:nvSpPr>
            <p:cNvPr id="363" name="Freeform 50">
              <a:extLst>
                <a:ext uri="{FF2B5EF4-FFF2-40B4-BE49-F238E27FC236}">
                  <a16:creationId xmlns:a16="http://schemas.microsoft.com/office/drawing/2014/main" id="{D9436B8C-F083-413F-BC96-B4F9D609DA7B}"/>
                </a:ext>
              </a:extLst>
            </p:cNvPr>
            <p:cNvSpPr>
              <a:spLocks/>
            </p:cNvSpPr>
            <p:nvPr/>
          </p:nvSpPr>
          <p:spPr bwMode="gray">
            <a:xfrm>
              <a:off x="576" y="1551"/>
              <a:ext cx="14" cy="14"/>
            </a:xfrm>
            <a:custGeom>
              <a:avLst/>
              <a:gdLst>
                <a:gd name="T0" fmla="*/ 4 w 14"/>
                <a:gd name="T1" fmla="*/ 0 h 14"/>
                <a:gd name="T2" fmla="*/ 8 w 14"/>
                <a:gd name="T3" fmla="*/ 0 h 14"/>
                <a:gd name="T4" fmla="*/ 14 w 14"/>
                <a:gd name="T5" fmla="*/ 6 h 14"/>
                <a:gd name="T6" fmla="*/ 8 w 14"/>
                <a:gd name="T7" fmla="*/ 10 h 14"/>
                <a:gd name="T8" fmla="*/ 2 w 14"/>
                <a:gd name="T9" fmla="*/ 14 h 14"/>
                <a:gd name="T10" fmla="*/ 0 w 14"/>
                <a:gd name="T11" fmla="*/ 6 h 14"/>
                <a:gd name="T12" fmla="*/ 4 w 14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4">
                  <a:moveTo>
                    <a:pt x="4" y="0"/>
                  </a:moveTo>
                  <a:lnTo>
                    <a:pt x="8" y="0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2" y="14"/>
                  </a:lnTo>
                  <a:lnTo>
                    <a:pt x="0" y="6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</p:grpSp>
      <p:sp>
        <p:nvSpPr>
          <p:cNvPr id="120" name="Freeform 51">
            <a:extLst>
              <a:ext uri="{FF2B5EF4-FFF2-40B4-BE49-F238E27FC236}">
                <a16:creationId xmlns:a16="http://schemas.microsoft.com/office/drawing/2014/main" id="{4BBB0A46-6D2F-45DB-BC45-321E3A82349A}"/>
              </a:ext>
            </a:extLst>
          </p:cNvPr>
          <p:cNvSpPr>
            <a:spLocks/>
          </p:cNvSpPr>
          <p:nvPr/>
        </p:nvSpPr>
        <p:spPr bwMode="gray">
          <a:xfrm>
            <a:off x="1176532" y="1831318"/>
            <a:ext cx="662331" cy="299090"/>
          </a:xfrm>
          <a:custGeom>
            <a:avLst/>
            <a:gdLst>
              <a:gd name="T0" fmla="*/ 24 w 912"/>
              <a:gd name="T1" fmla="*/ 30 h 448"/>
              <a:gd name="T2" fmla="*/ 30 w 912"/>
              <a:gd name="T3" fmla="*/ 20 h 448"/>
              <a:gd name="T4" fmla="*/ 472 w 912"/>
              <a:gd name="T5" fmla="*/ 8 h 448"/>
              <a:gd name="T6" fmla="*/ 550 w 912"/>
              <a:gd name="T7" fmla="*/ 28 h 448"/>
              <a:gd name="T8" fmla="*/ 516 w 912"/>
              <a:gd name="T9" fmla="*/ 52 h 448"/>
              <a:gd name="T10" fmla="*/ 562 w 912"/>
              <a:gd name="T11" fmla="*/ 48 h 448"/>
              <a:gd name="T12" fmla="*/ 604 w 912"/>
              <a:gd name="T13" fmla="*/ 56 h 448"/>
              <a:gd name="T14" fmla="*/ 636 w 912"/>
              <a:gd name="T15" fmla="*/ 68 h 448"/>
              <a:gd name="T16" fmla="*/ 600 w 912"/>
              <a:gd name="T17" fmla="*/ 68 h 448"/>
              <a:gd name="T18" fmla="*/ 588 w 912"/>
              <a:gd name="T19" fmla="*/ 94 h 448"/>
              <a:gd name="T20" fmla="*/ 584 w 912"/>
              <a:gd name="T21" fmla="*/ 154 h 448"/>
              <a:gd name="T22" fmla="*/ 608 w 912"/>
              <a:gd name="T23" fmla="*/ 112 h 448"/>
              <a:gd name="T24" fmla="*/ 620 w 912"/>
              <a:gd name="T25" fmla="*/ 84 h 448"/>
              <a:gd name="T26" fmla="*/ 654 w 912"/>
              <a:gd name="T27" fmla="*/ 90 h 448"/>
              <a:gd name="T28" fmla="*/ 652 w 912"/>
              <a:gd name="T29" fmla="*/ 112 h 448"/>
              <a:gd name="T30" fmla="*/ 662 w 912"/>
              <a:gd name="T31" fmla="*/ 134 h 448"/>
              <a:gd name="T32" fmla="*/ 690 w 912"/>
              <a:gd name="T33" fmla="*/ 148 h 448"/>
              <a:gd name="T34" fmla="*/ 720 w 912"/>
              <a:gd name="T35" fmla="*/ 124 h 448"/>
              <a:gd name="T36" fmla="*/ 766 w 912"/>
              <a:gd name="T37" fmla="*/ 100 h 448"/>
              <a:gd name="T38" fmla="*/ 858 w 912"/>
              <a:gd name="T39" fmla="*/ 74 h 448"/>
              <a:gd name="T40" fmla="*/ 900 w 912"/>
              <a:gd name="T41" fmla="*/ 44 h 448"/>
              <a:gd name="T42" fmla="*/ 912 w 912"/>
              <a:gd name="T43" fmla="*/ 90 h 448"/>
              <a:gd name="T44" fmla="*/ 864 w 912"/>
              <a:gd name="T45" fmla="*/ 110 h 448"/>
              <a:gd name="T46" fmla="*/ 862 w 912"/>
              <a:gd name="T47" fmla="*/ 148 h 448"/>
              <a:gd name="T48" fmla="*/ 804 w 912"/>
              <a:gd name="T49" fmla="*/ 166 h 448"/>
              <a:gd name="T50" fmla="*/ 782 w 912"/>
              <a:gd name="T51" fmla="*/ 198 h 448"/>
              <a:gd name="T52" fmla="*/ 770 w 912"/>
              <a:gd name="T53" fmla="*/ 220 h 448"/>
              <a:gd name="T54" fmla="*/ 760 w 912"/>
              <a:gd name="T55" fmla="*/ 214 h 448"/>
              <a:gd name="T56" fmla="*/ 762 w 912"/>
              <a:gd name="T57" fmla="*/ 234 h 448"/>
              <a:gd name="T58" fmla="*/ 762 w 912"/>
              <a:gd name="T59" fmla="*/ 270 h 448"/>
              <a:gd name="T60" fmla="*/ 724 w 912"/>
              <a:gd name="T61" fmla="*/ 298 h 448"/>
              <a:gd name="T62" fmla="*/ 682 w 912"/>
              <a:gd name="T63" fmla="*/ 350 h 448"/>
              <a:gd name="T64" fmla="*/ 704 w 912"/>
              <a:gd name="T65" fmla="*/ 424 h 448"/>
              <a:gd name="T66" fmla="*/ 680 w 912"/>
              <a:gd name="T67" fmla="*/ 428 h 448"/>
              <a:gd name="T68" fmla="*/ 664 w 912"/>
              <a:gd name="T69" fmla="*/ 382 h 448"/>
              <a:gd name="T70" fmla="*/ 626 w 912"/>
              <a:gd name="T71" fmla="*/ 372 h 448"/>
              <a:gd name="T72" fmla="*/ 566 w 912"/>
              <a:gd name="T73" fmla="*/ 354 h 448"/>
              <a:gd name="T74" fmla="*/ 560 w 912"/>
              <a:gd name="T75" fmla="*/ 374 h 448"/>
              <a:gd name="T76" fmla="*/ 516 w 912"/>
              <a:gd name="T77" fmla="*/ 368 h 448"/>
              <a:gd name="T78" fmla="*/ 484 w 912"/>
              <a:gd name="T79" fmla="*/ 372 h 448"/>
              <a:gd name="T80" fmla="*/ 454 w 912"/>
              <a:gd name="T81" fmla="*/ 388 h 448"/>
              <a:gd name="T82" fmla="*/ 430 w 912"/>
              <a:gd name="T83" fmla="*/ 420 h 448"/>
              <a:gd name="T84" fmla="*/ 390 w 912"/>
              <a:gd name="T85" fmla="*/ 400 h 448"/>
              <a:gd name="T86" fmla="*/ 344 w 912"/>
              <a:gd name="T87" fmla="*/ 368 h 448"/>
              <a:gd name="T88" fmla="*/ 302 w 912"/>
              <a:gd name="T89" fmla="*/ 346 h 448"/>
              <a:gd name="T90" fmla="*/ 192 w 912"/>
              <a:gd name="T91" fmla="*/ 334 h 448"/>
              <a:gd name="T92" fmla="*/ 104 w 912"/>
              <a:gd name="T93" fmla="*/ 298 h 448"/>
              <a:gd name="T94" fmla="*/ 58 w 912"/>
              <a:gd name="T95" fmla="*/ 272 h 448"/>
              <a:gd name="T96" fmla="*/ 32 w 912"/>
              <a:gd name="T97" fmla="*/ 228 h 448"/>
              <a:gd name="T98" fmla="*/ 10 w 912"/>
              <a:gd name="T99" fmla="*/ 186 h 448"/>
              <a:gd name="T100" fmla="*/ 6 w 912"/>
              <a:gd name="T101" fmla="*/ 112 h 448"/>
              <a:gd name="T102" fmla="*/ 8 w 912"/>
              <a:gd name="T103" fmla="*/ 42 h 4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12" h="448">
                <a:moveTo>
                  <a:pt x="4" y="38"/>
                </a:moveTo>
                <a:lnTo>
                  <a:pt x="0" y="28"/>
                </a:lnTo>
                <a:lnTo>
                  <a:pt x="8" y="24"/>
                </a:lnTo>
                <a:lnTo>
                  <a:pt x="18" y="28"/>
                </a:lnTo>
                <a:lnTo>
                  <a:pt x="24" y="30"/>
                </a:lnTo>
                <a:lnTo>
                  <a:pt x="26" y="38"/>
                </a:lnTo>
                <a:lnTo>
                  <a:pt x="28" y="44"/>
                </a:lnTo>
                <a:lnTo>
                  <a:pt x="34" y="38"/>
                </a:lnTo>
                <a:lnTo>
                  <a:pt x="36" y="28"/>
                </a:lnTo>
                <a:lnTo>
                  <a:pt x="30" y="20"/>
                </a:lnTo>
                <a:lnTo>
                  <a:pt x="30" y="8"/>
                </a:lnTo>
                <a:lnTo>
                  <a:pt x="460" y="8"/>
                </a:lnTo>
                <a:lnTo>
                  <a:pt x="462" y="0"/>
                </a:lnTo>
                <a:lnTo>
                  <a:pt x="470" y="0"/>
                </a:lnTo>
                <a:lnTo>
                  <a:pt x="472" y="8"/>
                </a:lnTo>
                <a:lnTo>
                  <a:pt x="476" y="12"/>
                </a:lnTo>
                <a:lnTo>
                  <a:pt x="488" y="16"/>
                </a:lnTo>
                <a:lnTo>
                  <a:pt x="512" y="20"/>
                </a:lnTo>
                <a:lnTo>
                  <a:pt x="526" y="24"/>
                </a:lnTo>
                <a:lnTo>
                  <a:pt x="550" y="28"/>
                </a:lnTo>
                <a:lnTo>
                  <a:pt x="548" y="32"/>
                </a:lnTo>
                <a:lnTo>
                  <a:pt x="536" y="36"/>
                </a:lnTo>
                <a:lnTo>
                  <a:pt x="528" y="40"/>
                </a:lnTo>
                <a:lnTo>
                  <a:pt x="520" y="48"/>
                </a:lnTo>
                <a:lnTo>
                  <a:pt x="516" y="52"/>
                </a:lnTo>
                <a:lnTo>
                  <a:pt x="526" y="56"/>
                </a:lnTo>
                <a:lnTo>
                  <a:pt x="540" y="56"/>
                </a:lnTo>
                <a:lnTo>
                  <a:pt x="552" y="56"/>
                </a:lnTo>
                <a:lnTo>
                  <a:pt x="558" y="52"/>
                </a:lnTo>
                <a:lnTo>
                  <a:pt x="562" y="48"/>
                </a:lnTo>
                <a:lnTo>
                  <a:pt x="570" y="42"/>
                </a:lnTo>
                <a:lnTo>
                  <a:pt x="574" y="48"/>
                </a:lnTo>
                <a:lnTo>
                  <a:pt x="584" y="54"/>
                </a:lnTo>
                <a:lnTo>
                  <a:pt x="594" y="58"/>
                </a:lnTo>
                <a:lnTo>
                  <a:pt x="604" y="56"/>
                </a:lnTo>
                <a:lnTo>
                  <a:pt x="612" y="56"/>
                </a:lnTo>
                <a:lnTo>
                  <a:pt x="622" y="54"/>
                </a:lnTo>
                <a:lnTo>
                  <a:pt x="628" y="58"/>
                </a:lnTo>
                <a:lnTo>
                  <a:pt x="636" y="64"/>
                </a:lnTo>
                <a:lnTo>
                  <a:pt x="636" y="68"/>
                </a:lnTo>
                <a:lnTo>
                  <a:pt x="628" y="64"/>
                </a:lnTo>
                <a:lnTo>
                  <a:pt x="618" y="64"/>
                </a:lnTo>
                <a:lnTo>
                  <a:pt x="610" y="70"/>
                </a:lnTo>
                <a:lnTo>
                  <a:pt x="604" y="72"/>
                </a:lnTo>
                <a:lnTo>
                  <a:pt x="600" y="68"/>
                </a:lnTo>
                <a:lnTo>
                  <a:pt x="596" y="72"/>
                </a:lnTo>
                <a:lnTo>
                  <a:pt x="588" y="80"/>
                </a:lnTo>
                <a:lnTo>
                  <a:pt x="578" y="88"/>
                </a:lnTo>
                <a:lnTo>
                  <a:pt x="580" y="96"/>
                </a:lnTo>
                <a:lnTo>
                  <a:pt x="588" y="94"/>
                </a:lnTo>
                <a:lnTo>
                  <a:pt x="592" y="86"/>
                </a:lnTo>
                <a:lnTo>
                  <a:pt x="584" y="104"/>
                </a:lnTo>
                <a:lnTo>
                  <a:pt x="580" y="128"/>
                </a:lnTo>
                <a:lnTo>
                  <a:pt x="580" y="140"/>
                </a:lnTo>
                <a:lnTo>
                  <a:pt x="584" y="154"/>
                </a:lnTo>
                <a:lnTo>
                  <a:pt x="594" y="152"/>
                </a:lnTo>
                <a:lnTo>
                  <a:pt x="604" y="144"/>
                </a:lnTo>
                <a:lnTo>
                  <a:pt x="608" y="134"/>
                </a:lnTo>
                <a:lnTo>
                  <a:pt x="608" y="122"/>
                </a:lnTo>
                <a:lnTo>
                  <a:pt x="608" y="112"/>
                </a:lnTo>
                <a:lnTo>
                  <a:pt x="608" y="100"/>
                </a:lnTo>
                <a:lnTo>
                  <a:pt x="608" y="92"/>
                </a:lnTo>
                <a:lnTo>
                  <a:pt x="610" y="88"/>
                </a:lnTo>
                <a:lnTo>
                  <a:pt x="616" y="88"/>
                </a:lnTo>
                <a:lnTo>
                  <a:pt x="620" y="84"/>
                </a:lnTo>
                <a:lnTo>
                  <a:pt x="624" y="78"/>
                </a:lnTo>
                <a:lnTo>
                  <a:pt x="632" y="76"/>
                </a:lnTo>
                <a:lnTo>
                  <a:pt x="640" y="80"/>
                </a:lnTo>
                <a:lnTo>
                  <a:pt x="650" y="82"/>
                </a:lnTo>
                <a:lnTo>
                  <a:pt x="654" y="90"/>
                </a:lnTo>
                <a:lnTo>
                  <a:pt x="652" y="100"/>
                </a:lnTo>
                <a:lnTo>
                  <a:pt x="648" y="108"/>
                </a:lnTo>
                <a:lnTo>
                  <a:pt x="644" y="112"/>
                </a:lnTo>
                <a:lnTo>
                  <a:pt x="646" y="116"/>
                </a:lnTo>
                <a:lnTo>
                  <a:pt x="652" y="112"/>
                </a:lnTo>
                <a:lnTo>
                  <a:pt x="658" y="108"/>
                </a:lnTo>
                <a:lnTo>
                  <a:pt x="664" y="110"/>
                </a:lnTo>
                <a:lnTo>
                  <a:pt x="664" y="120"/>
                </a:lnTo>
                <a:lnTo>
                  <a:pt x="662" y="126"/>
                </a:lnTo>
                <a:lnTo>
                  <a:pt x="662" y="134"/>
                </a:lnTo>
                <a:lnTo>
                  <a:pt x="656" y="140"/>
                </a:lnTo>
                <a:lnTo>
                  <a:pt x="652" y="148"/>
                </a:lnTo>
                <a:lnTo>
                  <a:pt x="660" y="154"/>
                </a:lnTo>
                <a:lnTo>
                  <a:pt x="678" y="154"/>
                </a:lnTo>
                <a:lnTo>
                  <a:pt x="690" y="148"/>
                </a:lnTo>
                <a:lnTo>
                  <a:pt x="702" y="144"/>
                </a:lnTo>
                <a:lnTo>
                  <a:pt x="714" y="138"/>
                </a:lnTo>
                <a:lnTo>
                  <a:pt x="720" y="136"/>
                </a:lnTo>
                <a:lnTo>
                  <a:pt x="722" y="130"/>
                </a:lnTo>
                <a:lnTo>
                  <a:pt x="720" y="124"/>
                </a:lnTo>
                <a:lnTo>
                  <a:pt x="722" y="120"/>
                </a:lnTo>
                <a:lnTo>
                  <a:pt x="744" y="122"/>
                </a:lnTo>
                <a:lnTo>
                  <a:pt x="756" y="120"/>
                </a:lnTo>
                <a:lnTo>
                  <a:pt x="766" y="112"/>
                </a:lnTo>
                <a:lnTo>
                  <a:pt x="766" y="100"/>
                </a:lnTo>
                <a:lnTo>
                  <a:pt x="774" y="94"/>
                </a:lnTo>
                <a:lnTo>
                  <a:pt x="782" y="88"/>
                </a:lnTo>
                <a:lnTo>
                  <a:pt x="840" y="88"/>
                </a:lnTo>
                <a:lnTo>
                  <a:pt x="852" y="82"/>
                </a:lnTo>
                <a:lnTo>
                  <a:pt x="858" y="74"/>
                </a:lnTo>
                <a:lnTo>
                  <a:pt x="862" y="58"/>
                </a:lnTo>
                <a:lnTo>
                  <a:pt x="870" y="44"/>
                </a:lnTo>
                <a:lnTo>
                  <a:pt x="878" y="36"/>
                </a:lnTo>
                <a:lnTo>
                  <a:pt x="886" y="40"/>
                </a:lnTo>
                <a:lnTo>
                  <a:pt x="900" y="44"/>
                </a:lnTo>
                <a:lnTo>
                  <a:pt x="902" y="52"/>
                </a:lnTo>
                <a:lnTo>
                  <a:pt x="900" y="68"/>
                </a:lnTo>
                <a:lnTo>
                  <a:pt x="902" y="76"/>
                </a:lnTo>
                <a:lnTo>
                  <a:pt x="908" y="82"/>
                </a:lnTo>
                <a:lnTo>
                  <a:pt x="912" y="90"/>
                </a:lnTo>
                <a:lnTo>
                  <a:pt x="908" y="96"/>
                </a:lnTo>
                <a:lnTo>
                  <a:pt x="896" y="96"/>
                </a:lnTo>
                <a:lnTo>
                  <a:pt x="884" y="98"/>
                </a:lnTo>
                <a:lnTo>
                  <a:pt x="874" y="104"/>
                </a:lnTo>
                <a:lnTo>
                  <a:pt x="864" y="110"/>
                </a:lnTo>
                <a:lnTo>
                  <a:pt x="858" y="124"/>
                </a:lnTo>
                <a:lnTo>
                  <a:pt x="850" y="134"/>
                </a:lnTo>
                <a:lnTo>
                  <a:pt x="850" y="142"/>
                </a:lnTo>
                <a:lnTo>
                  <a:pt x="854" y="146"/>
                </a:lnTo>
                <a:lnTo>
                  <a:pt x="862" y="148"/>
                </a:lnTo>
                <a:lnTo>
                  <a:pt x="854" y="154"/>
                </a:lnTo>
                <a:lnTo>
                  <a:pt x="848" y="154"/>
                </a:lnTo>
                <a:lnTo>
                  <a:pt x="838" y="158"/>
                </a:lnTo>
                <a:lnTo>
                  <a:pt x="822" y="162"/>
                </a:lnTo>
                <a:lnTo>
                  <a:pt x="804" y="166"/>
                </a:lnTo>
                <a:lnTo>
                  <a:pt x="800" y="170"/>
                </a:lnTo>
                <a:lnTo>
                  <a:pt x="802" y="182"/>
                </a:lnTo>
                <a:lnTo>
                  <a:pt x="796" y="190"/>
                </a:lnTo>
                <a:lnTo>
                  <a:pt x="790" y="200"/>
                </a:lnTo>
                <a:lnTo>
                  <a:pt x="782" y="198"/>
                </a:lnTo>
                <a:lnTo>
                  <a:pt x="786" y="210"/>
                </a:lnTo>
                <a:lnTo>
                  <a:pt x="782" y="218"/>
                </a:lnTo>
                <a:lnTo>
                  <a:pt x="774" y="228"/>
                </a:lnTo>
                <a:lnTo>
                  <a:pt x="770" y="234"/>
                </a:lnTo>
                <a:lnTo>
                  <a:pt x="770" y="220"/>
                </a:lnTo>
                <a:lnTo>
                  <a:pt x="766" y="208"/>
                </a:lnTo>
                <a:lnTo>
                  <a:pt x="768" y="198"/>
                </a:lnTo>
                <a:lnTo>
                  <a:pt x="764" y="194"/>
                </a:lnTo>
                <a:lnTo>
                  <a:pt x="762" y="202"/>
                </a:lnTo>
                <a:lnTo>
                  <a:pt x="760" y="214"/>
                </a:lnTo>
                <a:lnTo>
                  <a:pt x="754" y="212"/>
                </a:lnTo>
                <a:lnTo>
                  <a:pt x="750" y="214"/>
                </a:lnTo>
                <a:lnTo>
                  <a:pt x="758" y="222"/>
                </a:lnTo>
                <a:lnTo>
                  <a:pt x="764" y="228"/>
                </a:lnTo>
                <a:lnTo>
                  <a:pt x="762" y="234"/>
                </a:lnTo>
                <a:lnTo>
                  <a:pt x="764" y="244"/>
                </a:lnTo>
                <a:lnTo>
                  <a:pt x="770" y="246"/>
                </a:lnTo>
                <a:lnTo>
                  <a:pt x="774" y="256"/>
                </a:lnTo>
                <a:lnTo>
                  <a:pt x="770" y="264"/>
                </a:lnTo>
                <a:lnTo>
                  <a:pt x="762" y="270"/>
                </a:lnTo>
                <a:lnTo>
                  <a:pt x="762" y="278"/>
                </a:lnTo>
                <a:lnTo>
                  <a:pt x="752" y="280"/>
                </a:lnTo>
                <a:lnTo>
                  <a:pt x="738" y="292"/>
                </a:lnTo>
                <a:lnTo>
                  <a:pt x="734" y="296"/>
                </a:lnTo>
                <a:lnTo>
                  <a:pt x="724" y="298"/>
                </a:lnTo>
                <a:lnTo>
                  <a:pt x="714" y="314"/>
                </a:lnTo>
                <a:lnTo>
                  <a:pt x="702" y="318"/>
                </a:lnTo>
                <a:lnTo>
                  <a:pt x="696" y="326"/>
                </a:lnTo>
                <a:lnTo>
                  <a:pt x="686" y="338"/>
                </a:lnTo>
                <a:lnTo>
                  <a:pt x="682" y="350"/>
                </a:lnTo>
                <a:lnTo>
                  <a:pt x="686" y="364"/>
                </a:lnTo>
                <a:lnTo>
                  <a:pt x="692" y="378"/>
                </a:lnTo>
                <a:lnTo>
                  <a:pt x="696" y="392"/>
                </a:lnTo>
                <a:lnTo>
                  <a:pt x="702" y="406"/>
                </a:lnTo>
                <a:lnTo>
                  <a:pt x="704" y="424"/>
                </a:lnTo>
                <a:lnTo>
                  <a:pt x="704" y="440"/>
                </a:lnTo>
                <a:lnTo>
                  <a:pt x="702" y="448"/>
                </a:lnTo>
                <a:lnTo>
                  <a:pt x="694" y="448"/>
                </a:lnTo>
                <a:lnTo>
                  <a:pt x="686" y="440"/>
                </a:lnTo>
                <a:lnTo>
                  <a:pt x="680" y="428"/>
                </a:lnTo>
                <a:lnTo>
                  <a:pt x="672" y="422"/>
                </a:lnTo>
                <a:lnTo>
                  <a:pt x="664" y="416"/>
                </a:lnTo>
                <a:lnTo>
                  <a:pt x="662" y="404"/>
                </a:lnTo>
                <a:lnTo>
                  <a:pt x="662" y="392"/>
                </a:lnTo>
                <a:lnTo>
                  <a:pt x="664" y="382"/>
                </a:lnTo>
                <a:lnTo>
                  <a:pt x="656" y="374"/>
                </a:lnTo>
                <a:lnTo>
                  <a:pt x="650" y="366"/>
                </a:lnTo>
                <a:lnTo>
                  <a:pt x="640" y="362"/>
                </a:lnTo>
                <a:lnTo>
                  <a:pt x="634" y="364"/>
                </a:lnTo>
                <a:lnTo>
                  <a:pt x="626" y="372"/>
                </a:lnTo>
                <a:lnTo>
                  <a:pt x="618" y="362"/>
                </a:lnTo>
                <a:lnTo>
                  <a:pt x="606" y="360"/>
                </a:lnTo>
                <a:lnTo>
                  <a:pt x="592" y="358"/>
                </a:lnTo>
                <a:lnTo>
                  <a:pt x="582" y="354"/>
                </a:lnTo>
                <a:lnTo>
                  <a:pt x="566" y="354"/>
                </a:lnTo>
                <a:lnTo>
                  <a:pt x="552" y="356"/>
                </a:lnTo>
                <a:lnTo>
                  <a:pt x="542" y="358"/>
                </a:lnTo>
                <a:lnTo>
                  <a:pt x="548" y="364"/>
                </a:lnTo>
                <a:lnTo>
                  <a:pt x="554" y="368"/>
                </a:lnTo>
                <a:lnTo>
                  <a:pt x="560" y="374"/>
                </a:lnTo>
                <a:lnTo>
                  <a:pt x="552" y="376"/>
                </a:lnTo>
                <a:lnTo>
                  <a:pt x="544" y="376"/>
                </a:lnTo>
                <a:lnTo>
                  <a:pt x="534" y="378"/>
                </a:lnTo>
                <a:lnTo>
                  <a:pt x="526" y="372"/>
                </a:lnTo>
                <a:lnTo>
                  <a:pt x="516" y="368"/>
                </a:lnTo>
                <a:lnTo>
                  <a:pt x="512" y="370"/>
                </a:lnTo>
                <a:lnTo>
                  <a:pt x="508" y="372"/>
                </a:lnTo>
                <a:lnTo>
                  <a:pt x="498" y="366"/>
                </a:lnTo>
                <a:lnTo>
                  <a:pt x="488" y="366"/>
                </a:lnTo>
                <a:lnTo>
                  <a:pt x="484" y="372"/>
                </a:lnTo>
                <a:lnTo>
                  <a:pt x="476" y="374"/>
                </a:lnTo>
                <a:lnTo>
                  <a:pt x="470" y="370"/>
                </a:lnTo>
                <a:lnTo>
                  <a:pt x="466" y="378"/>
                </a:lnTo>
                <a:lnTo>
                  <a:pt x="460" y="384"/>
                </a:lnTo>
                <a:lnTo>
                  <a:pt x="454" y="388"/>
                </a:lnTo>
                <a:lnTo>
                  <a:pt x="442" y="388"/>
                </a:lnTo>
                <a:lnTo>
                  <a:pt x="438" y="394"/>
                </a:lnTo>
                <a:lnTo>
                  <a:pt x="432" y="400"/>
                </a:lnTo>
                <a:lnTo>
                  <a:pt x="428" y="408"/>
                </a:lnTo>
                <a:lnTo>
                  <a:pt x="430" y="420"/>
                </a:lnTo>
                <a:lnTo>
                  <a:pt x="434" y="432"/>
                </a:lnTo>
                <a:lnTo>
                  <a:pt x="422" y="430"/>
                </a:lnTo>
                <a:lnTo>
                  <a:pt x="406" y="424"/>
                </a:lnTo>
                <a:lnTo>
                  <a:pt x="398" y="412"/>
                </a:lnTo>
                <a:lnTo>
                  <a:pt x="390" y="400"/>
                </a:lnTo>
                <a:lnTo>
                  <a:pt x="380" y="388"/>
                </a:lnTo>
                <a:lnTo>
                  <a:pt x="374" y="374"/>
                </a:lnTo>
                <a:lnTo>
                  <a:pt x="360" y="368"/>
                </a:lnTo>
                <a:lnTo>
                  <a:pt x="352" y="364"/>
                </a:lnTo>
                <a:lnTo>
                  <a:pt x="344" y="368"/>
                </a:lnTo>
                <a:lnTo>
                  <a:pt x="342" y="378"/>
                </a:lnTo>
                <a:lnTo>
                  <a:pt x="330" y="380"/>
                </a:lnTo>
                <a:lnTo>
                  <a:pt x="314" y="370"/>
                </a:lnTo>
                <a:lnTo>
                  <a:pt x="312" y="354"/>
                </a:lnTo>
                <a:lnTo>
                  <a:pt x="302" y="346"/>
                </a:lnTo>
                <a:lnTo>
                  <a:pt x="282" y="330"/>
                </a:lnTo>
                <a:lnTo>
                  <a:pt x="262" y="334"/>
                </a:lnTo>
                <a:lnTo>
                  <a:pt x="254" y="340"/>
                </a:lnTo>
                <a:lnTo>
                  <a:pt x="208" y="340"/>
                </a:lnTo>
                <a:lnTo>
                  <a:pt x="192" y="334"/>
                </a:lnTo>
                <a:lnTo>
                  <a:pt x="166" y="322"/>
                </a:lnTo>
                <a:lnTo>
                  <a:pt x="148" y="316"/>
                </a:lnTo>
                <a:lnTo>
                  <a:pt x="116" y="318"/>
                </a:lnTo>
                <a:lnTo>
                  <a:pt x="112" y="306"/>
                </a:lnTo>
                <a:lnTo>
                  <a:pt x="104" y="298"/>
                </a:lnTo>
                <a:lnTo>
                  <a:pt x="98" y="294"/>
                </a:lnTo>
                <a:lnTo>
                  <a:pt x="84" y="290"/>
                </a:lnTo>
                <a:lnTo>
                  <a:pt x="74" y="282"/>
                </a:lnTo>
                <a:lnTo>
                  <a:pt x="60" y="286"/>
                </a:lnTo>
                <a:lnTo>
                  <a:pt x="58" y="272"/>
                </a:lnTo>
                <a:lnTo>
                  <a:pt x="48" y="258"/>
                </a:lnTo>
                <a:lnTo>
                  <a:pt x="38" y="248"/>
                </a:lnTo>
                <a:lnTo>
                  <a:pt x="42" y="242"/>
                </a:lnTo>
                <a:lnTo>
                  <a:pt x="36" y="238"/>
                </a:lnTo>
                <a:lnTo>
                  <a:pt x="32" y="228"/>
                </a:lnTo>
                <a:lnTo>
                  <a:pt x="38" y="218"/>
                </a:lnTo>
                <a:lnTo>
                  <a:pt x="26" y="218"/>
                </a:lnTo>
                <a:lnTo>
                  <a:pt x="18" y="210"/>
                </a:lnTo>
                <a:lnTo>
                  <a:pt x="10" y="198"/>
                </a:lnTo>
                <a:lnTo>
                  <a:pt x="10" y="186"/>
                </a:lnTo>
                <a:lnTo>
                  <a:pt x="2" y="178"/>
                </a:lnTo>
                <a:lnTo>
                  <a:pt x="2" y="170"/>
                </a:lnTo>
                <a:lnTo>
                  <a:pt x="6" y="148"/>
                </a:lnTo>
                <a:lnTo>
                  <a:pt x="2" y="122"/>
                </a:lnTo>
                <a:lnTo>
                  <a:pt x="6" y="112"/>
                </a:lnTo>
                <a:lnTo>
                  <a:pt x="10" y="64"/>
                </a:lnTo>
                <a:lnTo>
                  <a:pt x="16" y="64"/>
                </a:lnTo>
                <a:lnTo>
                  <a:pt x="10" y="54"/>
                </a:lnTo>
                <a:lnTo>
                  <a:pt x="6" y="48"/>
                </a:lnTo>
                <a:lnTo>
                  <a:pt x="8" y="42"/>
                </a:lnTo>
                <a:lnTo>
                  <a:pt x="4" y="38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grpSp>
        <p:nvGrpSpPr>
          <p:cNvPr id="121" name="Group 52">
            <a:extLst>
              <a:ext uri="{FF2B5EF4-FFF2-40B4-BE49-F238E27FC236}">
                <a16:creationId xmlns:a16="http://schemas.microsoft.com/office/drawing/2014/main" id="{34EFF103-0EC7-4297-A0FC-DA6B92779FE5}"/>
              </a:ext>
            </a:extLst>
          </p:cNvPr>
          <p:cNvGrpSpPr>
            <a:grpSpLocks/>
          </p:cNvGrpSpPr>
          <p:nvPr/>
        </p:nvGrpSpPr>
        <p:grpSpPr bwMode="auto">
          <a:xfrm>
            <a:off x="774195" y="2162453"/>
            <a:ext cx="55194" cy="36051"/>
            <a:chOff x="170" y="2211"/>
            <a:chExt cx="76" cy="54"/>
          </a:xfrm>
          <a:solidFill>
            <a:schemeClr val="accent3"/>
          </a:solidFill>
        </p:grpSpPr>
        <p:sp>
          <p:nvSpPr>
            <p:cNvPr id="346" name="Freeform 53">
              <a:extLst>
                <a:ext uri="{FF2B5EF4-FFF2-40B4-BE49-F238E27FC236}">
                  <a16:creationId xmlns:a16="http://schemas.microsoft.com/office/drawing/2014/main" id="{32D92807-52BD-4072-A70C-9FF718BAE610}"/>
                </a:ext>
              </a:extLst>
            </p:cNvPr>
            <p:cNvSpPr>
              <a:spLocks/>
            </p:cNvSpPr>
            <p:nvPr/>
          </p:nvSpPr>
          <p:spPr bwMode="gray">
            <a:xfrm>
              <a:off x="214" y="2231"/>
              <a:ext cx="12" cy="10"/>
            </a:xfrm>
            <a:custGeom>
              <a:avLst/>
              <a:gdLst>
                <a:gd name="T0" fmla="*/ 12 w 12"/>
                <a:gd name="T1" fmla="*/ 6 h 10"/>
                <a:gd name="T2" fmla="*/ 10 w 12"/>
                <a:gd name="T3" fmla="*/ 2 h 10"/>
                <a:gd name="T4" fmla="*/ 4 w 12"/>
                <a:gd name="T5" fmla="*/ 0 h 10"/>
                <a:gd name="T6" fmla="*/ 0 w 12"/>
                <a:gd name="T7" fmla="*/ 4 h 10"/>
                <a:gd name="T8" fmla="*/ 4 w 12"/>
                <a:gd name="T9" fmla="*/ 6 h 10"/>
                <a:gd name="T10" fmla="*/ 10 w 12"/>
                <a:gd name="T11" fmla="*/ 10 h 10"/>
                <a:gd name="T12" fmla="*/ 12 w 12"/>
                <a:gd name="T13" fmla="*/ 6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">
                  <a:moveTo>
                    <a:pt x="12" y="6"/>
                  </a:moveTo>
                  <a:lnTo>
                    <a:pt x="10" y="2"/>
                  </a:ln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10" y="10"/>
                  </a:lnTo>
                  <a:lnTo>
                    <a:pt x="12" y="6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  <p:sp>
          <p:nvSpPr>
            <p:cNvPr id="347" name="Freeform 54">
              <a:extLst>
                <a:ext uri="{FF2B5EF4-FFF2-40B4-BE49-F238E27FC236}">
                  <a16:creationId xmlns:a16="http://schemas.microsoft.com/office/drawing/2014/main" id="{6C872D96-6DD8-4999-9872-4B68F89AE40C}"/>
                </a:ext>
              </a:extLst>
            </p:cNvPr>
            <p:cNvSpPr>
              <a:spLocks/>
            </p:cNvSpPr>
            <p:nvPr/>
          </p:nvSpPr>
          <p:spPr bwMode="gray">
            <a:xfrm>
              <a:off x="230" y="2245"/>
              <a:ext cx="16" cy="20"/>
            </a:xfrm>
            <a:custGeom>
              <a:avLst/>
              <a:gdLst>
                <a:gd name="T0" fmla="*/ 16 w 16"/>
                <a:gd name="T1" fmla="*/ 14 h 20"/>
                <a:gd name="T2" fmla="*/ 8 w 16"/>
                <a:gd name="T3" fmla="*/ 16 h 20"/>
                <a:gd name="T4" fmla="*/ 4 w 16"/>
                <a:gd name="T5" fmla="*/ 20 h 20"/>
                <a:gd name="T6" fmla="*/ 0 w 16"/>
                <a:gd name="T7" fmla="*/ 12 h 20"/>
                <a:gd name="T8" fmla="*/ 0 w 16"/>
                <a:gd name="T9" fmla="*/ 6 h 20"/>
                <a:gd name="T10" fmla="*/ 4 w 16"/>
                <a:gd name="T11" fmla="*/ 0 h 20"/>
                <a:gd name="T12" fmla="*/ 8 w 16"/>
                <a:gd name="T13" fmla="*/ 2 h 20"/>
                <a:gd name="T14" fmla="*/ 14 w 16"/>
                <a:gd name="T15" fmla="*/ 6 h 20"/>
                <a:gd name="T16" fmla="*/ 16 w 16"/>
                <a:gd name="T17" fmla="*/ 14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0">
                  <a:moveTo>
                    <a:pt x="16" y="14"/>
                  </a:moveTo>
                  <a:lnTo>
                    <a:pt x="8" y="16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0" y="6"/>
                  </a:lnTo>
                  <a:lnTo>
                    <a:pt x="4" y="0"/>
                  </a:lnTo>
                  <a:lnTo>
                    <a:pt x="8" y="2"/>
                  </a:lnTo>
                  <a:lnTo>
                    <a:pt x="14" y="6"/>
                  </a:lnTo>
                  <a:lnTo>
                    <a:pt x="16" y="14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  <p:sp>
          <p:nvSpPr>
            <p:cNvPr id="348" name="Freeform 55">
              <a:extLst>
                <a:ext uri="{FF2B5EF4-FFF2-40B4-BE49-F238E27FC236}">
                  <a16:creationId xmlns:a16="http://schemas.microsoft.com/office/drawing/2014/main" id="{B41BA4A3-1140-42E7-83FD-E7450FF3A6E6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" y="2219"/>
              <a:ext cx="6" cy="8"/>
            </a:xfrm>
            <a:custGeom>
              <a:avLst/>
              <a:gdLst>
                <a:gd name="T0" fmla="*/ 6 w 6"/>
                <a:gd name="T1" fmla="*/ 6 h 8"/>
                <a:gd name="T2" fmla="*/ 4 w 6"/>
                <a:gd name="T3" fmla="*/ 0 h 8"/>
                <a:gd name="T4" fmla="*/ 0 w 6"/>
                <a:gd name="T5" fmla="*/ 0 h 8"/>
                <a:gd name="T6" fmla="*/ 0 w 6"/>
                <a:gd name="T7" fmla="*/ 4 h 8"/>
                <a:gd name="T8" fmla="*/ 2 w 6"/>
                <a:gd name="T9" fmla="*/ 8 h 8"/>
                <a:gd name="T10" fmla="*/ 6 w 6"/>
                <a:gd name="T1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8">
                  <a:moveTo>
                    <a:pt x="6" y="6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  <p:sp>
          <p:nvSpPr>
            <p:cNvPr id="349" name="Freeform 56">
              <a:extLst>
                <a:ext uri="{FF2B5EF4-FFF2-40B4-BE49-F238E27FC236}">
                  <a16:creationId xmlns:a16="http://schemas.microsoft.com/office/drawing/2014/main" id="{8F4F4D38-65BA-49DE-B9BF-A49C00874119}"/>
                </a:ext>
              </a:extLst>
            </p:cNvPr>
            <p:cNvSpPr>
              <a:spLocks/>
            </p:cNvSpPr>
            <p:nvPr/>
          </p:nvSpPr>
          <p:spPr bwMode="gray">
            <a:xfrm>
              <a:off x="194" y="2219"/>
              <a:ext cx="6" cy="8"/>
            </a:xfrm>
            <a:custGeom>
              <a:avLst/>
              <a:gdLst>
                <a:gd name="T0" fmla="*/ 6 w 6"/>
                <a:gd name="T1" fmla="*/ 6 h 8"/>
                <a:gd name="T2" fmla="*/ 4 w 6"/>
                <a:gd name="T3" fmla="*/ 0 h 8"/>
                <a:gd name="T4" fmla="*/ 0 w 6"/>
                <a:gd name="T5" fmla="*/ 0 h 8"/>
                <a:gd name="T6" fmla="*/ 0 w 6"/>
                <a:gd name="T7" fmla="*/ 4 h 8"/>
                <a:gd name="T8" fmla="*/ 2 w 6"/>
                <a:gd name="T9" fmla="*/ 8 h 8"/>
                <a:gd name="T10" fmla="*/ 6 w 6"/>
                <a:gd name="T11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8">
                  <a:moveTo>
                    <a:pt x="6" y="6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6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  <p:sp>
          <p:nvSpPr>
            <p:cNvPr id="350" name="Freeform 57">
              <a:extLst>
                <a:ext uri="{FF2B5EF4-FFF2-40B4-BE49-F238E27FC236}">
                  <a16:creationId xmlns:a16="http://schemas.microsoft.com/office/drawing/2014/main" id="{04115D6F-BE43-474C-9C53-CF2C139BDE94}"/>
                </a:ext>
              </a:extLst>
            </p:cNvPr>
            <p:cNvSpPr>
              <a:spLocks/>
            </p:cNvSpPr>
            <p:nvPr/>
          </p:nvSpPr>
          <p:spPr bwMode="gray">
            <a:xfrm>
              <a:off x="170" y="2211"/>
              <a:ext cx="6" cy="4"/>
            </a:xfrm>
            <a:custGeom>
              <a:avLst/>
              <a:gdLst>
                <a:gd name="T0" fmla="*/ 4 w 6"/>
                <a:gd name="T1" fmla="*/ 0 h 4"/>
                <a:gd name="T2" fmla="*/ 0 w 6"/>
                <a:gd name="T3" fmla="*/ 0 h 4"/>
                <a:gd name="T4" fmla="*/ 2 w 6"/>
                <a:gd name="T5" fmla="*/ 4 h 4"/>
                <a:gd name="T6" fmla="*/ 6 w 6"/>
                <a:gd name="T7" fmla="*/ 4 h 4"/>
                <a:gd name="T8" fmla="*/ 4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6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  <p:sp>
          <p:nvSpPr>
            <p:cNvPr id="351" name="Freeform 58">
              <a:extLst>
                <a:ext uri="{FF2B5EF4-FFF2-40B4-BE49-F238E27FC236}">
                  <a16:creationId xmlns:a16="http://schemas.microsoft.com/office/drawing/2014/main" id="{285386AA-B36C-432F-9092-40004E3A95D2}"/>
                </a:ext>
              </a:extLst>
            </p:cNvPr>
            <p:cNvSpPr>
              <a:spLocks/>
            </p:cNvSpPr>
            <p:nvPr/>
          </p:nvSpPr>
          <p:spPr bwMode="gray">
            <a:xfrm>
              <a:off x="170" y="2211"/>
              <a:ext cx="6" cy="4"/>
            </a:xfrm>
            <a:custGeom>
              <a:avLst/>
              <a:gdLst>
                <a:gd name="T0" fmla="*/ 4 w 6"/>
                <a:gd name="T1" fmla="*/ 0 h 4"/>
                <a:gd name="T2" fmla="*/ 0 w 6"/>
                <a:gd name="T3" fmla="*/ 0 h 4"/>
                <a:gd name="T4" fmla="*/ 2 w 6"/>
                <a:gd name="T5" fmla="*/ 4 h 4"/>
                <a:gd name="T6" fmla="*/ 6 w 6"/>
                <a:gd name="T7" fmla="*/ 4 h 4"/>
                <a:gd name="T8" fmla="*/ 4 w 6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6" y="4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127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GB" sz="1013" dirty="0"/>
            </a:p>
          </p:txBody>
        </p:sp>
      </p:grpSp>
      <p:sp>
        <p:nvSpPr>
          <p:cNvPr id="122" name="Freeform 59">
            <a:extLst>
              <a:ext uri="{FF2B5EF4-FFF2-40B4-BE49-F238E27FC236}">
                <a16:creationId xmlns:a16="http://schemas.microsoft.com/office/drawing/2014/main" id="{489AF9E8-60F0-4375-99D6-76B0FE7BB691}"/>
              </a:ext>
            </a:extLst>
          </p:cNvPr>
          <p:cNvSpPr>
            <a:spLocks/>
          </p:cNvSpPr>
          <p:nvPr/>
        </p:nvSpPr>
        <p:spPr bwMode="gray">
          <a:xfrm>
            <a:off x="1549820" y="2210521"/>
            <a:ext cx="42122" cy="42727"/>
          </a:xfrm>
          <a:custGeom>
            <a:avLst/>
            <a:gdLst>
              <a:gd name="T0" fmla="*/ 34 w 58"/>
              <a:gd name="T1" fmla="*/ 64 h 64"/>
              <a:gd name="T2" fmla="*/ 42 w 58"/>
              <a:gd name="T3" fmla="*/ 56 h 64"/>
              <a:gd name="T4" fmla="*/ 48 w 58"/>
              <a:gd name="T5" fmla="*/ 50 h 64"/>
              <a:gd name="T6" fmla="*/ 52 w 58"/>
              <a:gd name="T7" fmla="*/ 46 h 64"/>
              <a:gd name="T8" fmla="*/ 58 w 58"/>
              <a:gd name="T9" fmla="*/ 38 h 64"/>
              <a:gd name="T10" fmla="*/ 54 w 58"/>
              <a:gd name="T11" fmla="*/ 34 h 64"/>
              <a:gd name="T12" fmla="*/ 48 w 58"/>
              <a:gd name="T13" fmla="*/ 34 h 64"/>
              <a:gd name="T14" fmla="*/ 48 w 58"/>
              <a:gd name="T15" fmla="*/ 0 h 64"/>
              <a:gd name="T16" fmla="*/ 18 w 58"/>
              <a:gd name="T17" fmla="*/ 2 h 64"/>
              <a:gd name="T18" fmla="*/ 16 w 58"/>
              <a:gd name="T19" fmla="*/ 6 h 64"/>
              <a:gd name="T20" fmla="*/ 18 w 58"/>
              <a:gd name="T21" fmla="*/ 14 h 64"/>
              <a:gd name="T22" fmla="*/ 26 w 58"/>
              <a:gd name="T23" fmla="*/ 20 h 64"/>
              <a:gd name="T24" fmla="*/ 30 w 58"/>
              <a:gd name="T25" fmla="*/ 26 h 64"/>
              <a:gd name="T26" fmla="*/ 26 w 58"/>
              <a:gd name="T27" fmla="*/ 28 h 64"/>
              <a:gd name="T28" fmla="*/ 14 w 58"/>
              <a:gd name="T29" fmla="*/ 30 h 64"/>
              <a:gd name="T30" fmla="*/ 10 w 58"/>
              <a:gd name="T31" fmla="*/ 28 h 64"/>
              <a:gd name="T32" fmla="*/ 4 w 58"/>
              <a:gd name="T33" fmla="*/ 36 h 64"/>
              <a:gd name="T34" fmla="*/ 2 w 58"/>
              <a:gd name="T35" fmla="*/ 42 h 64"/>
              <a:gd name="T36" fmla="*/ 0 w 58"/>
              <a:gd name="T37" fmla="*/ 54 h 64"/>
              <a:gd name="T38" fmla="*/ 6 w 58"/>
              <a:gd name="T39" fmla="*/ 58 h 64"/>
              <a:gd name="T40" fmla="*/ 12 w 58"/>
              <a:gd name="T41" fmla="*/ 62 h 64"/>
              <a:gd name="T42" fmla="*/ 22 w 58"/>
              <a:gd name="T43" fmla="*/ 64 h 64"/>
              <a:gd name="T44" fmla="*/ 34 w 58"/>
              <a:gd name="T45" fmla="*/ 64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8" h="64">
                <a:moveTo>
                  <a:pt x="34" y="64"/>
                </a:moveTo>
                <a:lnTo>
                  <a:pt x="42" y="56"/>
                </a:lnTo>
                <a:lnTo>
                  <a:pt x="48" y="50"/>
                </a:lnTo>
                <a:lnTo>
                  <a:pt x="52" y="46"/>
                </a:lnTo>
                <a:lnTo>
                  <a:pt x="58" y="38"/>
                </a:lnTo>
                <a:lnTo>
                  <a:pt x="54" y="34"/>
                </a:lnTo>
                <a:lnTo>
                  <a:pt x="48" y="34"/>
                </a:lnTo>
                <a:lnTo>
                  <a:pt x="48" y="0"/>
                </a:lnTo>
                <a:lnTo>
                  <a:pt x="18" y="2"/>
                </a:lnTo>
                <a:lnTo>
                  <a:pt x="16" y="6"/>
                </a:lnTo>
                <a:lnTo>
                  <a:pt x="18" y="14"/>
                </a:lnTo>
                <a:lnTo>
                  <a:pt x="26" y="20"/>
                </a:lnTo>
                <a:lnTo>
                  <a:pt x="30" y="26"/>
                </a:lnTo>
                <a:lnTo>
                  <a:pt x="26" y="28"/>
                </a:lnTo>
                <a:lnTo>
                  <a:pt x="14" y="30"/>
                </a:lnTo>
                <a:lnTo>
                  <a:pt x="10" y="28"/>
                </a:lnTo>
                <a:lnTo>
                  <a:pt x="4" y="36"/>
                </a:lnTo>
                <a:lnTo>
                  <a:pt x="2" y="42"/>
                </a:lnTo>
                <a:lnTo>
                  <a:pt x="0" y="54"/>
                </a:lnTo>
                <a:lnTo>
                  <a:pt x="6" y="58"/>
                </a:lnTo>
                <a:lnTo>
                  <a:pt x="12" y="62"/>
                </a:lnTo>
                <a:lnTo>
                  <a:pt x="22" y="64"/>
                </a:lnTo>
                <a:lnTo>
                  <a:pt x="34" y="64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23" name="Freeform 60">
            <a:extLst>
              <a:ext uri="{FF2B5EF4-FFF2-40B4-BE49-F238E27FC236}">
                <a16:creationId xmlns:a16="http://schemas.microsoft.com/office/drawing/2014/main" id="{F2B6BE98-A58D-4AD6-9A2C-42EF37962687}"/>
              </a:ext>
            </a:extLst>
          </p:cNvPr>
          <p:cNvSpPr>
            <a:spLocks/>
          </p:cNvSpPr>
          <p:nvPr/>
        </p:nvSpPr>
        <p:spPr bwMode="gray">
          <a:xfrm>
            <a:off x="1584679" y="2203845"/>
            <a:ext cx="8715" cy="29375"/>
          </a:xfrm>
          <a:custGeom>
            <a:avLst/>
            <a:gdLst>
              <a:gd name="T0" fmla="*/ 10 w 12"/>
              <a:gd name="T1" fmla="*/ 0 h 44"/>
              <a:gd name="T2" fmla="*/ 12 w 12"/>
              <a:gd name="T3" fmla="*/ 6 h 44"/>
              <a:gd name="T4" fmla="*/ 10 w 12"/>
              <a:gd name="T5" fmla="*/ 12 h 44"/>
              <a:gd name="T6" fmla="*/ 10 w 12"/>
              <a:gd name="T7" fmla="*/ 26 h 44"/>
              <a:gd name="T8" fmla="*/ 10 w 12"/>
              <a:gd name="T9" fmla="*/ 34 h 44"/>
              <a:gd name="T10" fmla="*/ 6 w 12"/>
              <a:gd name="T11" fmla="*/ 38 h 44"/>
              <a:gd name="T12" fmla="*/ 0 w 12"/>
              <a:gd name="T13" fmla="*/ 44 h 44"/>
              <a:gd name="T14" fmla="*/ 0 w 12"/>
              <a:gd name="T15" fmla="*/ 10 h 44"/>
              <a:gd name="T16" fmla="*/ 6 w 12"/>
              <a:gd name="T17" fmla="*/ 4 h 44"/>
              <a:gd name="T18" fmla="*/ 10 w 12"/>
              <a:gd name="T19" fmla="*/ 0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2" h="44">
                <a:moveTo>
                  <a:pt x="10" y="0"/>
                </a:moveTo>
                <a:lnTo>
                  <a:pt x="12" y="6"/>
                </a:lnTo>
                <a:lnTo>
                  <a:pt x="10" y="12"/>
                </a:lnTo>
                <a:lnTo>
                  <a:pt x="10" y="26"/>
                </a:lnTo>
                <a:lnTo>
                  <a:pt x="10" y="34"/>
                </a:lnTo>
                <a:lnTo>
                  <a:pt x="6" y="38"/>
                </a:lnTo>
                <a:lnTo>
                  <a:pt x="0" y="44"/>
                </a:lnTo>
                <a:lnTo>
                  <a:pt x="0" y="10"/>
                </a:lnTo>
                <a:lnTo>
                  <a:pt x="6" y="4"/>
                </a:lnTo>
                <a:lnTo>
                  <a:pt x="10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24" name="Freeform 61">
            <a:extLst>
              <a:ext uri="{FF2B5EF4-FFF2-40B4-BE49-F238E27FC236}">
                <a16:creationId xmlns:a16="http://schemas.microsoft.com/office/drawing/2014/main" id="{9CD5B664-7679-48A8-A4DD-37C5D10566A3}"/>
              </a:ext>
            </a:extLst>
          </p:cNvPr>
          <p:cNvSpPr>
            <a:spLocks/>
          </p:cNvSpPr>
          <p:nvPr/>
        </p:nvSpPr>
        <p:spPr bwMode="gray">
          <a:xfrm>
            <a:off x="1574512" y="2246572"/>
            <a:ext cx="24692" cy="14687"/>
          </a:xfrm>
          <a:custGeom>
            <a:avLst/>
            <a:gdLst>
              <a:gd name="T0" fmla="*/ 0 w 34"/>
              <a:gd name="T1" fmla="*/ 10 h 22"/>
              <a:gd name="T2" fmla="*/ 12 w 34"/>
              <a:gd name="T3" fmla="*/ 0 h 22"/>
              <a:gd name="T4" fmla="*/ 18 w 34"/>
              <a:gd name="T5" fmla="*/ 4 h 22"/>
              <a:gd name="T6" fmla="*/ 24 w 34"/>
              <a:gd name="T7" fmla="*/ 8 h 22"/>
              <a:gd name="T8" fmla="*/ 32 w 34"/>
              <a:gd name="T9" fmla="*/ 10 h 22"/>
              <a:gd name="T10" fmla="*/ 34 w 34"/>
              <a:gd name="T11" fmla="*/ 14 h 22"/>
              <a:gd name="T12" fmla="*/ 30 w 34"/>
              <a:gd name="T13" fmla="*/ 20 h 22"/>
              <a:gd name="T14" fmla="*/ 26 w 34"/>
              <a:gd name="T15" fmla="*/ 22 h 22"/>
              <a:gd name="T16" fmla="*/ 16 w 34"/>
              <a:gd name="T17" fmla="*/ 18 h 22"/>
              <a:gd name="T18" fmla="*/ 8 w 34"/>
              <a:gd name="T19" fmla="*/ 14 h 22"/>
              <a:gd name="T20" fmla="*/ 0 w 34"/>
              <a:gd name="T21" fmla="*/ 1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4" h="22">
                <a:moveTo>
                  <a:pt x="0" y="10"/>
                </a:moveTo>
                <a:lnTo>
                  <a:pt x="12" y="0"/>
                </a:lnTo>
                <a:lnTo>
                  <a:pt x="18" y="4"/>
                </a:lnTo>
                <a:lnTo>
                  <a:pt x="24" y="8"/>
                </a:lnTo>
                <a:lnTo>
                  <a:pt x="32" y="10"/>
                </a:lnTo>
                <a:lnTo>
                  <a:pt x="34" y="14"/>
                </a:lnTo>
                <a:lnTo>
                  <a:pt x="30" y="20"/>
                </a:lnTo>
                <a:lnTo>
                  <a:pt x="26" y="22"/>
                </a:lnTo>
                <a:lnTo>
                  <a:pt x="16" y="18"/>
                </a:lnTo>
                <a:lnTo>
                  <a:pt x="8" y="14"/>
                </a:lnTo>
                <a:lnTo>
                  <a:pt x="0" y="1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25" name="Freeform 62">
            <a:extLst>
              <a:ext uri="{FF2B5EF4-FFF2-40B4-BE49-F238E27FC236}">
                <a16:creationId xmlns:a16="http://schemas.microsoft.com/office/drawing/2014/main" id="{6F20925B-4410-4533-A159-22BEA2269930}"/>
              </a:ext>
            </a:extLst>
          </p:cNvPr>
          <p:cNvSpPr>
            <a:spLocks/>
          </p:cNvSpPr>
          <p:nvPr/>
        </p:nvSpPr>
        <p:spPr bwMode="gray">
          <a:xfrm>
            <a:off x="1583227" y="2231885"/>
            <a:ext cx="69719" cy="32045"/>
          </a:xfrm>
          <a:custGeom>
            <a:avLst/>
            <a:gdLst>
              <a:gd name="T0" fmla="*/ 12 w 96"/>
              <a:gd name="T1" fmla="*/ 6 h 48"/>
              <a:gd name="T2" fmla="*/ 26 w 96"/>
              <a:gd name="T3" fmla="*/ 2 h 48"/>
              <a:gd name="T4" fmla="*/ 34 w 96"/>
              <a:gd name="T5" fmla="*/ 2 h 48"/>
              <a:gd name="T6" fmla="*/ 42 w 96"/>
              <a:gd name="T7" fmla="*/ 4 h 48"/>
              <a:gd name="T8" fmla="*/ 52 w 96"/>
              <a:gd name="T9" fmla="*/ 2 h 48"/>
              <a:gd name="T10" fmla="*/ 64 w 96"/>
              <a:gd name="T11" fmla="*/ 0 h 48"/>
              <a:gd name="T12" fmla="*/ 74 w 96"/>
              <a:gd name="T13" fmla="*/ 0 h 48"/>
              <a:gd name="T14" fmla="*/ 80 w 96"/>
              <a:gd name="T15" fmla="*/ 0 h 48"/>
              <a:gd name="T16" fmla="*/ 84 w 96"/>
              <a:gd name="T17" fmla="*/ 4 h 48"/>
              <a:gd name="T18" fmla="*/ 96 w 96"/>
              <a:gd name="T19" fmla="*/ 12 h 48"/>
              <a:gd name="T20" fmla="*/ 94 w 96"/>
              <a:gd name="T21" fmla="*/ 16 h 48"/>
              <a:gd name="T22" fmla="*/ 88 w 96"/>
              <a:gd name="T23" fmla="*/ 18 h 48"/>
              <a:gd name="T24" fmla="*/ 80 w 96"/>
              <a:gd name="T25" fmla="*/ 18 h 48"/>
              <a:gd name="T26" fmla="*/ 70 w 96"/>
              <a:gd name="T27" fmla="*/ 18 h 48"/>
              <a:gd name="T28" fmla="*/ 64 w 96"/>
              <a:gd name="T29" fmla="*/ 22 h 48"/>
              <a:gd name="T30" fmla="*/ 56 w 96"/>
              <a:gd name="T31" fmla="*/ 30 h 48"/>
              <a:gd name="T32" fmla="*/ 48 w 96"/>
              <a:gd name="T33" fmla="*/ 32 h 48"/>
              <a:gd name="T34" fmla="*/ 42 w 96"/>
              <a:gd name="T35" fmla="*/ 34 h 48"/>
              <a:gd name="T36" fmla="*/ 40 w 96"/>
              <a:gd name="T37" fmla="*/ 42 h 48"/>
              <a:gd name="T38" fmla="*/ 36 w 96"/>
              <a:gd name="T39" fmla="*/ 46 h 48"/>
              <a:gd name="T40" fmla="*/ 30 w 96"/>
              <a:gd name="T41" fmla="*/ 48 h 48"/>
              <a:gd name="T42" fmla="*/ 30 w 96"/>
              <a:gd name="T43" fmla="*/ 42 h 48"/>
              <a:gd name="T44" fmla="*/ 28 w 96"/>
              <a:gd name="T45" fmla="*/ 36 h 48"/>
              <a:gd name="T46" fmla="*/ 22 w 96"/>
              <a:gd name="T47" fmla="*/ 36 h 48"/>
              <a:gd name="T48" fmla="*/ 20 w 96"/>
              <a:gd name="T49" fmla="*/ 32 h 48"/>
              <a:gd name="T50" fmla="*/ 6 w 96"/>
              <a:gd name="T51" fmla="*/ 26 h 48"/>
              <a:gd name="T52" fmla="*/ 0 w 96"/>
              <a:gd name="T53" fmla="*/ 22 h 48"/>
              <a:gd name="T54" fmla="*/ 12 w 96"/>
              <a:gd name="T55" fmla="*/ 6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96" h="48">
                <a:moveTo>
                  <a:pt x="12" y="6"/>
                </a:moveTo>
                <a:lnTo>
                  <a:pt x="26" y="2"/>
                </a:lnTo>
                <a:lnTo>
                  <a:pt x="34" y="2"/>
                </a:lnTo>
                <a:lnTo>
                  <a:pt x="42" y="4"/>
                </a:lnTo>
                <a:lnTo>
                  <a:pt x="52" y="2"/>
                </a:lnTo>
                <a:lnTo>
                  <a:pt x="64" y="0"/>
                </a:lnTo>
                <a:lnTo>
                  <a:pt x="74" y="0"/>
                </a:lnTo>
                <a:lnTo>
                  <a:pt x="80" y="0"/>
                </a:lnTo>
                <a:lnTo>
                  <a:pt x="84" y="4"/>
                </a:lnTo>
                <a:lnTo>
                  <a:pt x="96" y="12"/>
                </a:lnTo>
                <a:lnTo>
                  <a:pt x="94" y="16"/>
                </a:lnTo>
                <a:lnTo>
                  <a:pt x="88" y="18"/>
                </a:lnTo>
                <a:lnTo>
                  <a:pt x="80" y="18"/>
                </a:lnTo>
                <a:lnTo>
                  <a:pt x="70" y="18"/>
                </a:lnTo>
                <a:lnTo>
                  <a:pt x="64" y="22"/>
                </a:lnTo>
                <a:lnTo>
                  <a:pt x="56" y="30"/>
                </a:lnTo>
                <a:lnTo>
                  <a:pt x="48" y="32"/>
                </a:lnTo>
                <a:lnTo>
                  <a:pt x="42" y="34"/>
                </a:lnTo>
                <a:lnTo>
                  <a:pt x="40" y="42"/>
                </a:lnTo>
                <a:lnTo>
                  <a:pt x="36" y="46"/>
                </a:lnTo>
                <a:lnTo>
                  <a:pt x="30" y="48"/>
                </a:lnTo>
                <a:lnTo>
                  <a:pt x="30" y="42"/>
                </a:lnTo>
                <a:lnTo>
                  <a:pt x="28" y="36"/>
                </a:lnTo>
                <a:lnTo>
                  <a:pt x="22" y="36"/>
                </a:lnTo>
                <a:lnTo>
                  <a:pt x="20" y="32"/>
                </a:lnTo>
                <a:lnTo>
                  <a:pt x="6" y="26"/>
                </a:lnTo>
                <a:lnTo>
                  <a:pt x="0" y="22"/>
                </a:lnTo>
                <a:lnTo>
                  <a:pt x="12" y="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26" name="Freeform 63">
            <a:extLst>
              <a:ext uri="{FF2B5EF4-FFF2-40B4-BE49-F238E27FC236}">
                <a16:creationId xmlns:a16="http://schemas.microsoft.com/office/drawing/2014/main" id="{8A4E8076-A206-4626-8EBE-2D620D813A75}"/>
              </a:ext>
            </a:extLst>
          </p:cNvPr>
          <p:cNvSpPr>
            <a:spLocks/>
          </p:cNvSpPr>
          <p:nvPr/>
        </p:nvSpPr>
        <p:spPr bwMode="gray">
          <a:xfrm>
            <a:off x="1605014" y="2242567"/>
            <a:ext cx="46479" cy="44062"/>
          </a:xfrm>
          <a:custGeom>
            <a:avLst/>
            <a:gdLst>
              <a:gd name="T0" fmla="*/ 54 w 64"/>
              <a:gd name="T1" fmla="*/ 66 h 66"/>
              <a:gd name="T2" fmla="*/ 44 w 64"/>
              <a:gd name="T3" fmla="*/ 62 h 66"/>
              <a:gd name="T4" fmla="*/ 26 w 64"/>
              <a:gd name="T5" fmla="*/ 60 h 66"/>
              <a:gd name="T6" fmla="*/ 14 w 64"/>
              <a:gd name="T7" fmla="*/ 50 h 66"/>
              <a:gd name="T8" fmla="*/ 6 w 64"/>
              <a:gd name="T9" fmla="*/ 42 h 66"/>
              <a:gd name="T10" fmla="*/ 0 w 64"/>
              <a:gd name="T11" fmla="*/ 32 h 66"/>
              <a:gd name="T12" fmla="*/ 10 w 64"/>
              <a:gd name="T13" fmla="*/ 26 h 66"/>
              <a:gd name="T14" fmla="*/ 12 w 64"/>
              <a:gd name="T15" fmla="*/ 18 h 66"/>
              <a:gd name="T16" fmla="*/ 26 w 64"/>
              <a:gd name="T17" fmla="*/ 14 h 66"/>
              <a:gd name="T18" fmla="*/ 34 w 64"/>
              <a:gd name="T19" fmla="*/ 6 h 66"/>
              <a:gd name="T20" fmla="*/ 40 w 64"/>
              <a:gd name="T21" fmla="*/ 2 h 66"/>
              <a:gd name="T22" fmla="*/ 50 w 64"/>
              <a:gd name="T23" fmla="*/ 2 h 66"/>
              <a:gd name="T24" fmla="*/ 58 w 64"/>
              <a:gd name="T25" fmla="*/ 2 h 66"/>
              <a:gd name="T26" fmla="*/ 64 w 64"/>
              <a:gd name="T27" fmla="*/ 0 h 66"/>
              <a:gd name="T28" fmla="*/ 64 w 64"/>
              <a:gd name="T29" fmla="*/ 6 h 66"/>
              <a:gd name="T30" fmla="*/ 62 w 64"/>
              <a:gd name="T31" fmla="*/ 18 h 66"/>
              <a:gd name="T32" fmla="*/ 58 w 64"/>
              <a:gd name="T33" fmla="*/ 30 h 66"/>
              <a:gd name="T34" fmla="*/ 56 w 64"/>
              <a:gd name="T35" fmla="*/ 42 h 66"/>
              <a:gd name="T36" fmla="*/ 56 w 64"/>
              <a:gd name="T37" fmla="*/ 52 h 66"/>
              <a:gd name="T38" fmla="*/ 54 w 64"/>
              <a:gd name="T39" fmla="*/ 66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64" h="66">
                <a:moveTo>
                  <a:pt x="54" y="66"/>
                </a:moveTo>
                <a:lnTo>
                  <a:pt x="44" y="62"/>
                </a:lnTo>
                <a:lnTo>
                  <a:pt x="26" y="60"/>
                </a:lnTo>
                <a:lnTo>
                  <a:pt x="14" y="50"/>
                </a:lnTo>
                <a:lnTo>
                  <a:pt x="6" y="42"/>
                </a:lnTo>
                <a:lnTo>
                  <a:pt x="0" y="32"/>
                </a:lnTo>
                <a:lnTo>
                  <a:pt x="10" y="26"/>
                </a:lnTo>
                <a:lnTo>
                  <a:pt x="12" y="18"/>
                </a:lnTo>
                <a:lnTo>
                  <a:pt x="26" y="14"/>
                </a:lnTo>
                <a:lnTo>
                  <a:pt x="34" y="6"/>
                </a:lnTo>
                <a:lnTo>
                  <a:pt x="40" y="2"/>
                </a:lnTo>
                <a:lnTo>
                  <a:pt x="50" y="2"/>
                </a:lnTo>
                <a:lnTo>
                  <a:pt x="58" y="2"/>
                </a:lnTo>
                <a:lnTo>
                  <a:pt x="64" y="0"/>
                </a:lnTo>
                <a:lnTo>
                  <a:pt x="64" y="6"/>
                </a:lnTo>
                <a:lnTo>
                  <a:pt x="62" y="18"/>
                </a:lnTo>
                <a:lnTo>
                  <a:pt x="58" y="30"/>
                </a:lnTo>
                <a:lnTo>
                  <a:pt x="56" y="42"/>
                </a:lnTo>
                <a:lnTo>
                  <a:pt x="56" y="52"/>
                </a:lnTo>
                <a:lnTo>
                  <a:pt x="54" y="6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27" name="Freeform 64">
            <a:extLst>
              <a:ext uri="{FF2B5EF4-FFF2-40B4-BE49-F238E27FC236}">
                <a16:creationId xmlns:a16="http://schemas.microsoft.com/office/drawing/2014/main" id="{EC3D0182-D032-4CDF-94DD-A035FB8D2F13}"/>
              </a:ext>
            </a:extLst>
          </p:cNvPr>
          <p:cNvSpPr>
            <a:spLocks/>
          </p:cNvSpPr>
          <p:nvPr/>
        </p:nvSpPr>
        <p:spPr bwMode="gray">
          <a:xfrm>
            <a:off x="1622444" y="2282623"/>
            <a:ext cx="36312" cy="29375"/>
          </a:xfrm>
          <a:custGeom>
            <a:avLst/>
            <a:gdLst>
              <a:gd name="T0" fmla="*/ 18 w 50"/>
              <a:gd name="T1" fmla="*/ 20 h 44"/>
              <a:gd name="T2" fmla="*/ 12 w 50"/>
              <a:gd name="T3" fmla="*/ 16 h 44"/>
              <a:gd name="T4" fmla="*/ 10 w 50"/>
              <a:gd name="T5" fmla="*/ 22 h 44"/>
              <a:gd name="T6" fmla="*/ 8 w 50"/>
              <a:gd name="T7" fmla="*/ 24 h 44"/>
              <a:gd name="T8" fmla="*/ 2 w 50"/>
              <a:gd name="T9" fmla="*/ 20 h 44"/>
              <a:gd name="T10" fmla="*/ 0 w 50"/>
              <a:gd name="T11" fmla="*/ 16 h 44"/>
              <a:gd name="T12" fmla="*/ 0 w 50"/>
              <a:gd name="T13" fmla="*/ 10 h 44"/>
              <a:gd name="T14" fmla="*/ 2 w 50"/>
              <a:gd name="T15" fmla="*/ 6 h 44"/>
              <a:gd name="T16" fmla="*/ 2 w 50"/>
              <a:gd name="T17" fmla="*/ 0 h 44"/>
              <a:gd name="T18" fmla="*/ 18 w 50"/>
              <a:gd name="T19" fmla="*/ 2 h 44"/>
              <a:gd name="T20" fmla="*/ 30 w 50"/>
              <a:gd name="T21" fmla="*/ 6 h 44"/>
              <a:gd name="T22" fmla="*/ 34 w 50"/>
              <a:gd name="T23" fmla="*/ 10 h 44"/>
              <a:gd name="T24" fmla="*/ 42 w 50"/>
              <a:gd name="T25" fmla="*/ 18 h 44"/>
              <a:gd name="T26" fmla="*/ 48 w 50"/>
              <a:gd name="T27" fmla="*/ 24 h 44"/>
              <a:gd name="T28" fmla="*/ 50 w 50"/>
              <a:gd name="T29" fmla="*/ 28 h 44"/>
              <a:gd name="T30" fmla="*/ 46 w 50"/>
              <a:gd name="T31" fmla="*/ 30 h 44"/>
              <a:gd name="T32" fmla="*/ 44 w 50"/>
              <a:gd name="T33" fmla="*/ 36 h 44"/>
              <a:gd name="T34" fmla="*/ 42 w 50"/>
              <a:gd name="T35" fmla="*/ 42 h 44"/>
              <a:gd name="T36" fmla="*/ 38 w 50"/>
              <a:gd name="T37" fmla="*/ 44 h 44"/>
              <a:gd name="T38" fmla="*/ 34 w 50"/>
              <a:gd name="T39" fmla="*/ 32 h 44"/>
              <a:gd name="T40" fmla="*/ 28 w 50"/>
              <a:gd name="T41" fmla="*/ 26 h 44"/>
              <a:gd name="T42" fmla="*/ 24 w 50"/>
              <a:gd name="T43" fmla="*/ 24 h 44"/>
              <a:gd name="T44" fmla="*/ 18 w 50"/>
              <a:gd name="T45" fmla="*/ 20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0" h="44">
                <a:moveTo>
                  <a:pt x="18" y="20"/>
                </a:moveTo>
                <a:lnTo>
                  <a:pt x="12" y="16"/>
                </a:lnTo>
                <a:lnTo>
                  <a:pt x="10" y="22"/>
                </a:lnTo>
                <a:lnTo>
                  <a:pt x="8" y="24"/>
                </a:lnTo>
                <a:lnTo>
                  <a:pt x="2" y="20"/>
                </a:lnTo>
                <a:lnTo>
                  <a:pt x="0" y="16"/>
                </a:lnTo>
                <a:lnTo>
                  <a:pt x="0" y="10"/>
                </a:lnTo>
                <a:lnTo>
                  <a:pt x="2" y="6"/>
                </a:lnTo>
                <a:lnTo>
                  <a:pt x="2" y="0"/>
                </a:lnTo>
                <a:lnTo>
                  <a:pt x="18" y="2"/>
                </a:lnTo>
                <a:lnTo>
                  <a:pt x="30" y="6"/>
                </a:lnTo>
                <a:lnTo>
                  <a:pt x="34" y="10"/>
                </a:lnTo>
                <a:lnTo>
                  <a:pt x="42" y="18"/>
                </a:lnTo>
                <a:lnTo>
                  <a:pt x="48" y="24"/>
                </a:lnTo>
                <a:lnTo>
                  <a:pt x="50" y="28"/>
                </a:lnTo>
                <a:lnTo>
                  <a:pt x="46" y="30"/>
                </a:lnTo>
                <a:lnTo>
                  <a:pt x="44" y="36"/>
                </a:lnTo>
                <a:lnTo>
                  <a:pt x="42" y="42"/>
                </a:lnTo>
                <a:lnTo>
                  <a:pt x="38" y="44"/>
                </a:lnTo>
                <a:lnTo>
                  <a:pt x="34" y="32"/>
                </a:lnTo>
                <a:lnTo>
                  <a:pt x="28" y="26"/>
                </a:lnTo>
                <a:lnTo>
                  <a:pt x="24" y="24"/>
                </a:lnTo>
                <a:lnTo>
                  <a:pt x="18" y="2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28" name="Freeform 65">
            <a:extLst>
              <a:ext uri="{FF2B5EF4-FFF2-40B4-BE49-F238E27FC236}">
                <a16:creationId xmlns:a16="http://schemas.microsoft.com/office/drawing/2014/main" id="{37B32B75-7E59-43AF-AF8E-823DADFA3764}"/>
              </a:ext>
            </a:extLst>
          </p:cNvPr>
          <p:cNvSpPr>
            <a:spLocks/>
          </p:cNvSpPr>
          <p:nvPr/>
        </p:nvSpPr>
        <p:spPr bwMode="gray">
          <a:xfrm>
            <a:off x="1650041" y="2299981"/>
            <a:ext cx="74076" cy="25369"/>
          </a:xfrm>
          <a:custGeom>
            <a:avLst/>
            <a:gdLst>
              <a:gd name="T0" fmla="*/ 88 w 102"/>
              <a:gd name="T1" fmla="*/ 34 h 38"/>
              <a:gd name="T2" fmla="*/ 82 w 102"/>
              <a:gd name="T3" fmla="*/ 32 h 38"/>
              <a:gd name="T4" fmla="*/ 80 w 102"/>
              <a:gd name="T5" fmla="*/ 28 h 38"/>
              <a:gd name="T6" fmla="*/ 80 w 102"/>
              <a:gd name="T7" fmla="*/ 22 h 38"/>
              <a:gd name="T8" fmla="*/ 80 w 102"/>
              <a:gd name="T9" fmla="*/ 16 h 38"/>
              <a:gd name="T10" fmla="*/ 78 w 102"/>
              <a:gd name="T11" fmla="*/ 12 h 38"/>
              <a:gd name="T12" fmla="*/ 72 w 102"/>
              <a:gd name="T13" fmla="*/ 10 h 38"/>
              <a:gd name="T14" fmla="*/ 66 w 102"/>
              <a:gd name="T15" fmla="*/ 10 h 38"/>
              <a:gd name="T16" fmla="*/ 62 w 102"/>
              <a:gd name="T17" fmla="*/ 12 h 38"/>
              <a:gd name="T18" fmla="*/ 60 w 102"/>
              <a:gd name="T19" fmla="*/ 16 h 38"/>
              <a:gd name="T20" fmla="*/ 52 w 102"/>
              <a:gd name="T21" fmla="*/ 18 h 38"/>
              <a:gd name="T22" fmla="*/ 48 w 102"/>
              <a:gd name="T23" fmla="*/ 22 h 38"/>
              <a:gd name="T24" fmla="*/ 50 w 102"/>
              <a:gd name="T25" fmla="*/ 26 h 38"/>
              <a:gd name="T26" fmla="*/ 52 w 102"/>
              <a:gd name="T27" fmla="*/ 30 h 38"/>
              <a:gd name="T28" fmla="*/ 52 w 102"/>
              <a:gd name="T29" fmla="*/ 36 h 38"/>
              <a:gd name="T30" fmla="*/ 44 w 102"/>
              <a:gd name="T31" fmla="*/ 38 h 38"/>
              <a:gd name="T32" fmla="*/ 38 w 102"/>
              <a:gd name="T33" fmla="*/ 32 h 38"/>
              <a:gd name="T34" fmla="*/ 32 w 102"/>
              <a:gd name="T35" fmla="*/ 26 h 38"/>
              <a:gd name="T36" fmla="*/ 26 w 102"/>
              <a:gd name="T37" fmla="*/ 22 h 38"/>
              <a:gd name="T38" fmla="*/ 18 w 102"/>
              <a:gd name="T39" fmla="*/ 20 h 38"/>
              <a:gd name="T40" fmla="*/ 14 w 102"/>
              <a:gd name="T41" fmla="*/ 18 h 38"/>
              <a:gd name="T42" fmla="*/ 8 w 102"/>
              <a:gd name="T43" fmla="*/ 20 h 38"/>
              <a:gd name="T44" fmla="*/ 0 w 102"/>
              <a:gd name="T45" fmla="*/ 18 h 38"/>
              <a:gd name="T46" fmla="*/ 4 w 102"/>
              <a:gd name="T47" fmla="*/ 14 h 38"/>
              <a:gd name="T48" fmla="*/ 6 w 102"/>
              <a:gd name="T49" fmla="*/ 8 h 38"/>
              <a:gd name="T50" fmla="*/ 12 w 102"/>
              <a:gd name="T51" fmla="*/ 2 h 38"/>
              <a:gd name="T52" fmla="*/ 18 w 102"/>
              <a:gd name="T53" fmla="*/ 4 h 38"/>
              <a:gd name="T54" fmla="*/ 22 w 102"/>
              <a:gd name="T55" fmla="*/ 8 h 38"/>
              <a:gd name="T56" fmla="*/ 30 w 102"/>
              <a:gd name="T57" fmla="*/ 12 h 38"/>
              <a:gd name="T58" fmla="*/ 38 w 102"/>
              <a:gd name="T59" fmla="*/ 12 h 38"/>
              <a:gd name="T60" fmla="*/ 44 w 102"/>
              <a:gd name="T61" fmla="*/ 10 h 38"/>
              <a:gd name="T62" fmla="*/ 52 w 102"/>
              <a:gd name="T63" fmla="*/ 6 h 38"/>
              <a:gd name="T64" fmla="*/ 62 w 102"/>
              <a:gd name="T65" fmla="*/ 2 h 38"/>
              <a:gd name="T66" fmla="*/ 72 w 102"/>
              <a:gd name="T67" fmla="*/ 0 h 38"/>
              <a:gd name="T68" fmla="*/ 82 w 102"/>
              <a:gd name="T69" fmla="*/ 2 h 38"/>
              <a:gd name="T70" fmla="*/ 88 w 102"/>
              <a:gd name="T71" fmla="*/ 6 h 38"/>
              <a:gd name="T72" fmla="*/ 94 w 102"/>
              <a:gd name="T73" fmla="*/ 10 h 38"/>
              <a:gd name="T74" fmla="*/ 98 w 102"/>
              <a:gd name="T75" fmla="*/ 16 h 38"/>
              <a:gd name="T76" fmla="*/ 102 w 102"/>
              <a:gd name="T77" fmla="*/ 20 h 38"/>
              <a:gd name="T78" fmla="*/ 100 w 102"/>
              <a:gd name="T79" fmla="*/ 26 h 38"/>
              <a:gd name="T80" fmla="*/ 94 w 102"/>
              <a:gd name="T81" fmla="*/ 30 h 38"/>
              <a:gd name="T82" fmla="*/ 88 w 102"/>
              <a:gd name="T83" fmla="*/ 34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02" h="38">
                <a:moveTo>
                  <a:pt x="88" y="34"/>
                </a:moveTo>
                <a:lnTo>
                  <a:pt x="82" y="32"/>
                </a:lnTo>
                <a:lnTo>
                  <a:pt x="80" y="28"/>
                </a:lnTo>
                <a:lnTo>
                  <a:pt x="80" y="22"/>
                </a:lnTo>
                <a:lnTo>
                  <a:pt x="80" y="16"/>
                </a:lnTo>
                <a:lnTo>
                  <a:pt x="78" y="12"/>
                </a:lnTo>
                <a:lnTo>
                  <a:pt x="72" y="10"/>
                </a:lnTo>
                <a:lnTo>
                  <a:pt x="66" y="10"/>
                </a:lnTo>
                <a:lnTo>
                  <a:pt x="62" y="12"/>
                </a:lnTo>
                <a:lnTo>
                  <a:pt x="60" y="16"/>
                </a:lnTo>
                <a:lnTo>
                  <a:pt x="52" y="18"/>
                </a:lnTo>
                <a:lnTo>
                  <a:pt x="48" y="22"/>
                </a:lnTo>
                <a:lnTo>
                  <a:pt x="50" y="26"/>
                </a:lnTo>
                <a:lnTo>
                  <a:pt x="52" y="30"/>
                </a:lnTo>
                <a:lnTo>
                  <a:pt x="52" y="36"/>
                </a:lnTo>
                <a:lnTo>
                  <a:pt x="44" y="38"/>
                </a:lnTo>
                <a:lnTo>
                  <a:pt x="38" y="32"/>
                </a:lnTo>
                <a:lnTo>
                  <a:pt x="32" y="26"/>
                </a:lnTo>
                <a:lnTo>
                  <a:pt x="26" y="22"/>
                </a:lnTo>
                <a:lnTo>
                  <a:pt x="18" y="20"/>
                </a:lnTo>
                <a:lnTo>
                  <a:pt x="14" y="18"/>
                </a:lnTo>
                <a:lnTo>
                  <a:pt x="8" y="20"/>
                </a:lnTo>
                <a:lnTo>
                  <a:pt x="0" y="18"/>
                </a:lnTo>
                <a:lnTo>
                  <a:pt x="4" y="14"/>
                </a:lnTo>
                <a:lnTo>
                  <a:pt x="6" y="8"/>
                </a:lnTo>
                <a:lnTo>
                  <a:pt x="12" y="2"/>
                </a:lnTo>
                <a:lnTo>
                  <a:pt x="18" y="4"/>
                </a:lnTo>
                <a:lnTo>
                  <a:pt x="22" y="8"/>
                </a:lnTo>
                <a:lnTo>
                  <a:pt x="30" y="12"/>
                </a:lnTo>
                <a:lnTo>
                  <a:pt x="38" y="12"/>
                </a:lnTo>
                <a:lnTo>
                  <a:pt x="44" y="10"/>
                </a:lnTo>
                <a:lnTo>
                  <a:pt x="52" y="6"/>
                </a:lnTo>
                <a:lnTo>
                  <a:pt x="62" y="2"/>
                </a:lnTo>
                <a:lnTo>
                  <a:pt x="72" y="0"/>
                </a:lnTo>
                <a:lnTo>
                  <a:pt x="82" y="2"/>
                </a:lnTo>
                <a:lnTo>
                  <a:pt x="88" y="6"/>
                </a:lnTo>
                <a:lnTo>
                  <a:pt x="94" y="10"/>
                </a:lnTo>
                <a:lnTo>
                  <a:pt x="98" y="16"/>
                </a:lnTo>
                <a:lnTo>
                  <a:pt x="102" y="20"/>
                </a:lnTo>
                <a:lnTo>
                  <a:pt x="100" y="26"/>
                </a:lnTo>
                <a:lnTo>
                  <a:pt x="94" y="30"/>
                </a:lnTo>
                <a:lnTo>
                  <a:pt x="88" y="34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29" name="Freeform 66">
            <a:extLst>
              <a:ext uri="{FF2B5EF4-FFF2-40B4-BE49-F238E27FC236}">
                <a16:creationId xmlns:a16="http://schemas.microsoft.com/office/drawing/2014/main" id="{AFEFBE70-8658-4B19-BEB6-059531419FA4}"/>
              </a:ext>
            </a:extLst>
          </p:cNvPr>
          <p:cNvSpPr>
            <a:spLocks/>
          </p:cNvSpPr>
          <p:nvPr/>
        </p:nvSpPr>
        <p:spPr bwMode="gray">
          <a:xfrm>
            <a:off x="1634064" y="2151771"/>
            <a:ext cx="120556" cy="37386"/>
          </a:xfrm>
          <a:custGeom>
            <a:avLst/>
            <a:gdLst>
              <a:gd name="T0" fmla="*/ 148 w 166"/>
              <a:gd name="T1" fmla="*/ 56 h 56"/>
              <a:gd name="T2" fmla="*/ 140 w 166"/>
              <a:gd name="T3" fmla="*/ 52 h 56"/>
              <a:gd name="T4" fmla="*/ 130 w 166"/>
              <a:gd name="T5" fmla="*/ 52 h 56"/>
              <a:gd name="T6" fmla="*/ 124 w 166"/>
              <a:gd name="T7" fmla="*/ 56 h 56"/>
              <a:gd name="T8" fmla="*/ 116 w 166"/>
              <a:gd name="T9" fmla="*/ 54 h 56"/>
              <a:gd name="T10" fmla="*/ 118 w 166"/>
              <a:gd name="T11" fmla="*/ 46 h 56"/>
              <a:gd name="T12" fmla="*/ 116 w 166"/>
              <a:gd name="T13" fmla="*/ 40 h 56"/>
              <a:gd name="T14" fmla="*/ 104 w 166"/>
              <a:gd name="T15" fmla="*/ 40 h 56"/>
              <a:gd name="T16" fmla="*/ 100 w 166"/>
              <a:gd name="T17" fmla="*/ 32 h 56"/>
              <a:gd name="T18" fmla="*/ 94 w 166"/>
              <a:gd name="T19" fmla="*/ 30 h 56"/>
              <a:gd name="T20" fmla="*/ 80 w 166"/>
              <a:gd name="T21" fmla="*/ 26 h 56"/>
              <a:gd name="T22" fmla="*/ 76 w 166"/>
              <a:gd name="T23" fmla="*/ 22 h 56"/>
              <a:gd name="T24" fmla="*/ 62 w 166"/>
              <a:gd name="T25" fmla="*/ 18 h 56"/>
              <a:gd name="T26" fmla="*/ 48 w 166"/>
              <a:gd name="T27" fmla="*/ 16 h 56"/>
              <a:gd name="T28" fmla="*/ 44 w 166"/>
              <a:gd name="T29" fmla="*/ 12 h 56"/>
              <a:gd name="T30" fmla="*/ 34 w 166"/>
              <a:gd name="T31" fmla="*/ 10 h 56"/>
              <a:gd name="T32" fmla="*/ 28 w 166"/>
              <a:gd name="T33" fmla="*/ 14 h 56"/>
              <a:gd name="T34" fmla="*/ 20 w 166"/>
              <a:gd name="T35" fmla="*/ 18 h 56"/>
              <a:gd name="T36" fmla="*/ 12 w 166"/>
              <a:gd name="T37" fmla="*/ 22 h 56"/>
              <a:gd name="T38" fmla="*/ 0 w 166"/>
              <a:gd name="T39" fmla="*/ 22 h 56"/>
              <a:gd name="T40" fmla="*/ 2 w 166"/>
              <a:gd name="T41" fmla="*/ 16 h 56"/>
              <a:gd name="T42" fmla="*/ 10 w 166"/>
              <a:gd name="T43" fmla="*/ 6 h 56"/>
              <a:gd name="T44" fmla="*/ 26 w 166"/>
              <a:gd name="T45" fmla="*/ 2 h 56"/>
              <a:gd name="T46" fmla="*/ 40 w 166"/>
              <a:gd name="T47" fmla="*/ 0 h 56"/>
              <a:gd name="T48" fmla="*/ 58 w 166"/>
              <a:gd name="T49" fmla="*/ 0 h 56"/>
              <a:gd name="T50" fmla="*/ 74 w 166"/>
              <a:gd name="T51" fmla="*/ 4 h 56"/>
              <a:gd name="T52" fmla="*/ 88 w 166"/>
              <a:gd name="T53" fmla="*/ 10 h 56"/>
              <a:gd name="T54" fmla="*/ 104 w 166"/>
              <a:gd name="T55" fmla="*/ 14 h 56"/>
              <a:gd name="T56" fmla="*/ 110 w 166"/>
              <a:gd name="T57" fmla="*/ 20 h 56"/>
              <a:gd name="T58" fmla="*/ 116 w 166"/>
              <a:gd name="T59" fmla="*/ 24 h 56"/>
              <a:gd name="T60" fmla="*/ 130 w 166"/>
              <a:gd name="T61" fmla="*/ 30 h 56"/>
              <a:gd name="T62" fmla="*/ 142 w 166"/>
              <a:gd name="T63" fmla="*/ 34 h 56"/>
              <a:gd name="T64" fmla="*/ 154 w 166"/>
              <a:gd name="T65" fmla="*/ 40 h 56"/>
              <a:gd name="T66" fmla="*/ 166 w 166"/>
              <a:gd name="T67" fmla="*/ 46 h 56"/>
              <a:gd name="T68" fmla="*/ 160 w 166"/>
              <a:gd name="T69" fmla="*/ 50 h 56"/>
              <a:gd name="T70" fmla="*/ 152 w 166"/>
              <a:gd name="T71" fmla="*/ 52 h 56"/>
              <a:gd name="T72" fmla="*/ 150 w 166"/>
              <a:gd name="T73" fmla="*/ 56 h 56"/>
              <a:gd name="T74" fmla="*/ 148 w 166"/>
              <a:gd name="T75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6" h="56">
                <a:moveTo>
                  <a:pt x="148" y="56"/>
                </a:moveTo>
                <a:lnTo>
                  <a:pt x="140" y="52"/>
                </a:lnTo>
                <a:lnTo>
                  <a:pt x="130" y="52"/>
                </a:lnTo>
                <a:lnTo>
                  <a:pt x="124" y="56"/>
                </a:lnTo>
                <a:lnTo>
                  <a:pt x="116" y="54"/>
                </a:lnTo>
                <a:lnTo>
                  <a:pt x="118" y="46"/>
                </a:lnTo>
                <a:lnTo>
                  <a:pt x="116" y="40"/>
                </a:lnTo>
                <a:lnTo>
                  <a:pt x="104" y="40"/>
                </a:lnTo>
                <a:lnTo>
                  <a:pt x="100" y="32"/>
                </a:lnTo>
                <a:lnTo>
                  <a:pt x="94" y="30"/>
                </a:lnTo>
                <a:lnTo>
                  <a:pt x="80" y="26"/>
                </a:lnTo>
                <a:lnTo>
                  <a:pt x="76" y="22"/>
                </a:lnTo>
                <a:lnTo>
                  <a:pt x="62" y="18"/>
                </a:lnTo>
                <a:lnTo>
                  <a:pt x="48" y="16"/>
                </a:lnTo>
                <a:lnTo>
                  <a:pt x="44" y="12"/>
                </a:lnTo>
                <a:lnTo>
                  <a:pt x="34" y="10"/>
                </a:lnTo>
                <a:lnTo>
                  <a:pt x="28" y="14"/>
                </a:lnTo>
                <a:lnTo>
                  <a:pt x="20" y="18"/>
                </a:lnTo>
                <a:lnTo>
                  <a:pt x="12" y="22"/>
                </a:lnTo>
                <a:lnTo>
                  <a:pt x="0" y="22"/>
                </a:lnTo>
                <a:lnTo>
                  <a:pt x="2" y="16"/>
                </a:lnTo>
                <a:lnTo>
                  <a:pt x="10" y="6"/>
                </a:lnTo>
                <a:lnTo>
                  <a:pt x="26" y="2"/>
                </a:lnTo>
                <a:lnTo>
                  <a:pt x="40" y="0"/>
                </a:lnTo>
                <a:lnTo>
                  <a:pt x="58" y="0"/>
                </a:lnTo>
                <a:lnTo>
                  <a:pt x="74" y="4"/>
                </a:lnTo>
                <a:lnTo>
                  <a:pt x="88" y="10"/>
                </a:lnTo>
                <a:lnTo>
                  <a:pt x="104" y="14"/>
                </a:lnTo>
                <a:lnTo>
                  <a:pt x="110" y="20"/>
                </a:lnTo>
                <a:lnTo>
                  <a:pt x="116" y="24"/>
                </a:lnTo>
                <a:lnTo>
                  <a:pt x="130" y="30"/>
                </a:lnTo>
                <a:lnTo>
                  <a:pt x="142" y="34"/>
                </a:lnTo>
                <a:lnTo>
                  <a:pt x="154" y="40"/>
                </a:lnTo>
                <a:lnTo>
                  <a:pt x="166" y="46"/>
                </a:lnTo>
                <a:lnTo>
                  <a:pt x="160" y="50"/>
                </a:lnTo>
                <a:lnTo>
                  <a:pt x="152" y="52"/>
                </a:lnTo>
                <a:lnTo>
                  <a:pt x="150" y="56"/>
                </a:lnTo>
                <a:lnTo>
                  <a:pt x="148" y="5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30" name="Freeform 67">
            <a:extLst>
              <a:ext uri="{FF2B5EF4-FFF2-40B4-BE49-F238E27FC236}">
                <a16:creationId xmlns:a16="http://schemas.microsoft.com/office/drawing/2014/main" id="{E8C9DC0B-65EF-48F8-9F87-DCD40B13A072}"/>
              </a:ext>
            </a:extLst>
          </p:cNvPr>
          <p:cNvSpPr>
            <a:spLocks/>
          </p:cNvSpPr>
          <p:nvPr/>
        </p:nvSpPr>
        <p:spPr bwMode="gray">
          <a:xfrm>
            <a:off x="1754619" y="2186487"/>
            <a:ext cx="31955" cy="20028"/>
          </a:xfrm>
          <a:custGeom>
            <a:avLst/>
            <a:gdLst>
              <a:gd name="T0" fmla="*/ 0 w 44"/>
              <a:gd name="T1" fmla="*/ 28 h 30"/>
              <a:gd name="T2" fmla="*/ 16 w 44"/>
              <a:gd name="T3" fmla="*/ 30 h 30"/>
              <a:gd name="T4" fmla="*/ 32 w 44"/>
              <a:gd name="T5" fmla="*/ 30 h 30"/>
              <a:gd name="T6" fmla="*/ 40 w 44"/>
              <a:gd name="T7" fmla="*/ 30 h 30"/>
              <a:gd name="T8" fmla="*/ 40 w 44"/>
              <a:gd name="T9" fmla="*/ 24 h 30"/>
              <a:gd name="T10" fmla="*/ 36 w 44"/>
              <a:gd name="T11" fmla="*/ 20 h 30"/>
              <a:gd name="T12" fmla="*/ 42 w 44"/>
              <a:gd name="T13" fmla="*/ 18 h 30"/>
              <a:gd name="T14" fmla="*/ 44 w 44"/>
              <a:gd name="T15" fmla="*/ 14 h 30"/>
              <a:gd name="T16" fmla="*/ 42 w 44"/>
              <a:gd name="T17" fmla="*/ 4 h 30"/>
              <a:gd name="T18" fmla="*/ 32 w 44"/>
              <a:gd name="T19" fmla="*/ 2 h 30"/>
              <a:gd name="T20" fmla="*/ 24 w 44"/>
              <a:gd name="T21" fmla="*/ 0 h 30"/>
              <a:gd name="T22" fmla="*/ 16 w 44"/>
              <a:gd name="T23" fmla="*/ 2 h 30"/>
              <a:gd name="T24" fmla="*/ 22 w 44"/>
              <a:gd name="T25" fmla="*/ 6 h 30"/>
              <a:gd name="T26" fmla="*/ 28 w 44"/>
              <a:gd name="T27" fmla="*/ 14 h 30"/>
              <a:gd name="T28" fmla="*/ 28 w 44"/>
              <a:gd name="T29" fmla="*/ 20 h 30"/>
              <a:gd name="T30" fmla="*/ 20 w 44"/>
              <a:gd name="T31" fmla="*/ 20 h 30"/>
              <a:gd name="T32" fmla="*/ 14 w 44"/>
              <a:gd name="T33" fmla="*/ 18 h 30"/>
              <a:gd name="T34" fmla="*/ 6 w 44"/>
              <a:gd name="T35" fmla="*/ 20 h 30"/>
              <a:gd name="T36" fmla="*/ 0 w 44"/>
              <a:gd name="T37" fmla="*/ 20 h 30"/>
              <a:gd name="T38" fmla="*/ 0 w 44"/>
              <a:gd name="T39" fmla="*/ 28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4" h="30">
                <a:moveTo>
                  <a:pt x="0" y="28"/>
                </a:moveTo>
                <a:lnTo>
                  <a:pt x="16" y="30"/>
                </a:lnTo>
                <a:lnTo>
                  <a:pt x="32" y="30"/>
                </a:lnTo>
                <a:lnTo>
                  <a:pt x="40" y="30"/>
                </a:lnTo>
                <a:lnTo>
                  <a:pt x="40" y="24"/>
                </a:lnTo>
                <a:lnTo>
                  <a:pt x="36" y="20"/>
                </a:lnTo>
                <a:lnTo>
                  <a:pt x="42" y="18"/>
                </a:lnTo>
                <a:lnTo>
                  <a:pt x="44" y="14"/>
                </a:lnTo>
                <a:lnTo>
                  <a:pt x="42" y="4"/>
                </a:lnTo>
                <a:lnTo>
                  <a:pt x="32" y="2"/>
                </a:lnTo>
                <a:lnTo>
                  <a:pt x="24" y="0"/>
                </a:lnTo>
                <a:lnTo>
                  <a:pt x="16" y="2"/>
                </a:lnTo>
                <a:lnTo>
                  <a:pt x="22" y="6"/>
                </a:lnTo>
                <a:lnTo>
                  <a:pt x="28" y="14"/>
                </a:lnTo>
                <a:lnTo>
                  <a:pt x="28" y="20"/>
                </a:lnTo>
                <a:lnTo>
                  <a:pt x="20" y="20"/>
                </a:lnTo>
                <a:lnTo>
                  <a:pt x="14" y="18"/>
                </a:lnTo>
                <a:lnTo>
                  <a:pt x="6" y="20"/>
                </a:lnTo>
                <a:lnTo>
                  <a:pt x="0" y="20"/>
                </a:lnTo>
                <a:lnTo>
                  <a:pt x="0" y="28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31" name="Freeform 68">
            <a:extLst>
              <a:ext uri="{FF2B5EF4-FFF2-40B4-BE49-F238E27FC236}">
                <a16:creationId xmlns:a16="http://schemas.microsoft.com/office/drawing/2014/main" id="{1E4C2820-01AF-4486-96CC-5EA88342DA13}"/>
              </a:ext>
            </a:extLst>
          </p:cNvPr>
          <p:cNvSpPr>
            <a:spLocks/>
          </p:cNvSpPr>
          <p:nvPr/>
        </p:nvSpPr>
        <p:spPr bwMode="gray">
          <a:xfrm>
            <a:off x="1709592" y="2201175"/>
            <a:ext cx="23240" cy="12017"/>
          </a:xfrm>
          <a:custGeom>
            <a:avLst/>
            <a:gdLst>
              <a:gd name="T0" fmla="*/ 0 w 32"/>
              <a:gd name="T1" fmla="*/ 6 h 18"/>
              <a:gd name="T2" fmla="*/ 6 w 32"/>
              <a:gd name="T3" fmla="*/ 0 h 18"/>
              <a:gd name="T4" fmla="*/ 14 w 32"/>
              <a:gd name="T5" fmla="*/ 0 h 18"/>
              <a:gd name="T6" fmla="*/ 20 w 32"/>
              <a:gd name="T7" fmla="*/ 2 h 18"/>
              <a:gd name="T8" fmla="*/ 28 w 32"/>
              <a:gd name="T9" fmla="*/ 6 h 18"/>
              <a:gd name="T10" fmla="*/ 32 w 32"/>
              <a:gd name="T11" fmla="*/ 10 h 18"/>
              <a:gd name="T12" fmla="*/ 24 w 32"/>
              <a:gd name="T13" fmla="*/ 14 h 18"/>
              <a:gd name="T14" fmla="*/ 18 w 32"/>
              <a:gd name="T15" fmla="*/ 14 h 18"/>
              <a:gd name="T16" fmla="*/ 14 w 32"/>
              <a:gd name="T17" fmla="*/ 18 h 18"/>
              <a:gd name="T18" fmla="*/ 10 w 32"/>
              <a:gd name="T19" fmla="*/ 12 h 18"/>
              <a:gd name="T20" fmla="*/ 6 w 32"/>
              <a:gd name="T21" fmla="*/ 8 h 18"/>
              <a:gd name="T22" fmla="*/ 0 w 32"/>
              <a:gd name="T23" fmla="*/ 6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2" h="18">
                <a:moveTo>
                  <a:pt x="0" y="6"/>
                </a:moveTo>
                <a:lnTo>
                  <a:pt x="6" y="0"/>
                </a:lnTo>
                <a:lnTo>
                  <a:pt x="14" y="0"/>
                </a:lnTo>
                <a:lnTo>
                  <a:pt x="20" y="2"/>
                </a:lnTo>
                <a:lnTo>
                  <a:pt x="28" y="6"/>
                </a:lnTo>
                <a:lnTo>
                  <a:pt x="32" y="10"/>
                </a:lnTo>
                <a:lnTo>
                  <a:pt x="24" y="14"/>
                </a:lnTo>
                <a:lnTo>
                  <a:pt x="18" y="14"/>
                </a:lnTo>
                <a:lnTo>
                  <a:pt x="14" y="18"/>
                </a:lnTo>
                <a:lnTo>
                  <a:pt x="10" y="12"/>
                </a:lnTo>
                <a:lnTo>
                  <a:pt x="6" y="8"/>
                </a:lnTo>
                <a:lnTo>
                  <a:pt x="0" y="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32" name="Freeform 69">
            <a:extLst>
              <a:ext uri="{FF2B5EF4-FFF2-40B4-BE49-F238E27FC236}">
                <a16:creationId xmlns:a16="http://schemas.microsoft.com/office/drawing/2014/main" id="{861C8387-E627-4213-A000-B6ED881F7B0E}"/>
              </a:ext>
            </a:extLst>
          </p:cNvPr>
          <p:cNvSpPr>
            <a:spLocks/>
          </p:cNvSpPr>
          <p:nvPr/>
        </p:nvSpPr>
        <p:spPr bwMode="gray">
          <a:xfrm>
            <a:off x="1780764" y="2189158"/>
            <a:ext cx="42122" cy="24034"/>
          </a:xfrm>
          <a:custGeom>
            <a:avLst/>
            <a:gdLst>
              <a:gd name="T0" fmla="*/ 6 w 58"/>
              <a:gd name="T1" fmla="*/ 0 h 36"/>
              <a:gd name="T2" fmla="*/ 16 w 58"/>
              <a:gd name="T3" fmla="*/ 2 h 36"/>
              <a:gd name="T4" fmla="*/ 24 w 58"/>
              <a:gd name="T5" fmla="*/ 2 h 36"/>
              <a:gd name="T6" fmla="*/ 34 w 58"/>
              <a:gd name="T7" fmla="*/ 4 h 36"/>
              <a:gd name="T8" fmla="*/ 40 w 58"/>
              <a:gd name="T9" fmla="*/ 6 h 36"/>
              <a:gd name="T10" fmla="*/ 46 w 58"/>
              <a:gd name="T11" fmla="*/ 10 h 36"/>
              <a:gd name="T12" fmla="*/ 56 w 58"/>
              <a:gd name="T13" fmla="*/ 16 h 36"/>
              <a:gd name="T14" fmla="*/ 58 w 58"/>
              <a:gd name="T15" fmla="*/ 20 h 36"/>
              <a:gd name="T16" fmla="*/ 54 w 58"/>
              <a:gd name="T17" fmla="*/ 24 h 36"/>
              <a:gd name="T18" fmla="*/ 44 w 58"/>
              <a:gd name="T19" fmla="*/ 22 h 36"/>
              <a:gd name="T20" fmla="*/ 38 w 58"/>
              <a:gd name="T21" fmla="*/ 22 h 36"/>
              <a:gd name="T22" fmla="*/ 30 w 58"/>
              <a:gd name="T23" fmla="*/ 24 h 36"/>
              <a:gd name="T24" fmla="*/ 24 w 58"/>
              <a:gd name="T25" fmla="*/ 24 h 36"/>
              <a:gd name="T26" fmla="*/ 20 w 58"/>
              <a:gd name="T27" fmla="*/ 20 h 36"/>
              <a:gd name="T28" fmla="*/ 14 w 58"/>
              <a:gd name="T29" fmla="*/ 22 h 36"/>
              <a:gd name="T30" fmla="*/ 12 w 58"/>
              <a:gd name="T31" fmla="*/ 28 h 36"/>
              <a:gd name="T32" fmla="*/ 12 w 58"/>
              <a:gd name="T33" fmla="*/ 34 h 36"/>
              <a:gd name="T34" fmla="*/ 8 w 58"/>
              <a:gd name="T35" fmla="*/ 36 h 36"/>
              <a:gd name="T36" fmla="*/ 4 w 58"/>
              <a:gd name="T37" fmla="*/ 30 h 36"/>
              <a:gd name="T38" fmla="*/ 4 w 58"/>
              <a:gd name="T39" fmla="*/ 26 h 36"/>
              <a:gd name="T40" fmla="*/ 4 w 58"/>
              <a:gd name="T41" fmla="*/ 20 h 36"/>
              <a:gd name="T42" fmla="*/ 0 w 58"/>
              <a:gd name="T43" fmla="*/ 16 h 36"/>
              <a:gd name="T44" fmla="*/ 6 w 58"/>
              <a:gd name="T45" fmla="*/ 14 h 36"/>
              <a:gd name="T46" fmla="*/ 8 w 58"/>
              <a:gd name="T47" fmla="*/ 10 h 36"/>
              <a:gd name="T48" fmla="*/ 6 w 58"/>
              <a:gd name="T49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8" h="36">
                <a:moveTo>
                  <a:pt x="6" y="0"/>
                </a:moveTo>
                <a:lnTo>
                  <a:pt x="16" y="2"/>
                </a:lnTo>
                <a:lnTo>
                  <a:pt x="24" y="2"/>
                </a:lnTo>
                <a:lnTo>
                  <a:pt x="34" y="4"/>
                </a:lnTo>
                <a:lnTo>
                  <a:pt x="40" y="6"/>
                </a:lnTo>
                <a:lnTo>
                  <a:pt x="46" y="10"/>
                </a:lnTo>
                <a:lnTo>
                  <a:pt x="56" y="16"/>
                </a:lnTo>
                <a:lnTo>
                  <a:pt x="58" y="20"/>
                </a:lnTo>
                <a:lnTo>
                  <a:pt x="54" y="24"/>
                </a:lnTo>
                <a:lnTo>
                  <a:pt x="44" y="22"/>
                </a:lnTo>
                <a:lnTo>
                  <a:pt x="38" y="22"/>
                </a:lnTo>
                <a:lnTo>
                  <a:pt x="30" y="24"/>
                </a:lnTo>
                <a:lnTo>
                  <a:pt x="24" y="24"/>
                </a:lnTo>
                <a:lnTo>
                  <a:pt x="20" y="20"/>
                </a:lnTo>
                <a:lnTo>
                  <a:pt x="14" y="22"/>
                </a:lnTo>
                <a:lnTo>
                  <a:pt x="12" y="28"/>
                </a:lnTo>
                <a:lnTo>
                  <a:pt x="12" y="34"/>
                </a:lnTo>
                <a:lnTo>
                  <a:pt x="8" y="36"/>
                </a:lnTo>
                <a:lnTo>
                  <a:pt x="4" y="30"/>
                </a:lnTo>
                <a:lnTo>
                  <a:pt x="4" y="26"/>
                </a:lnTo>
                <a:lnTo>
                  <a:pt x="4" y="20"/>
                </a:lnTo>
                <a:lnTo>
                  <a:pt x="0" y="16"/>
                </a:lnTo>
                <a:lnTo>
                  <a:pt x="6" y="14"/>
                </a:lnTo>
                <a:lnTo>
                  <a:pt x="8" y="10"/>
                </a:lnTo>
                <a:lnTo>
                  <a:pt x="6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33" name="Freeform 70">
            <a:extLst>
              <a:ext uri="{FF2B5EF4-FFF2-40B4-BE49-F238E27FC236}">
                <a16:creationId xmlns:a16="http://schemas.microsoft.com/office/drawing/2014/main" id="{E8FC665A-D72E-4187-B5D8-B98F5EB2EDA2}"/>
              </a:ext>
            </a:extLst>
          </p:cNvPr>
          <p:cNvSpPr>
            <a:spLocks/>
          </p:cNvSpPr>
          <p:nvPr/>
        </p:nvSpPr>
        <p:spPr bwMode="gray">
          <a:xfrm>
            <a:off x="1835958" y="2202510"/>
            <a:ext cx="18882" cy="6676"/>
          </a:xfrm>
          <a:custGeom>
            <a:avLst/>
            <a:gdLst>
              <a:gd name="T0" fmla="*/ 18 w 26"/>
              <a:gd name="T1" fmla="*/ 0 h 10"/>
              <a:gd name="T2" fmla="*/ 8 w 26"/>
              <a:gd name="T3" fmla="*/ 0 h 10"/>
              <a:gd name="T4" fmla="*/ 0 w 26"/>
              <a:gd name="T5" fmla="*/ 4 h 10"/>
              <a:gd name="T6" fmla="*/ 4 w 26"/>
              <a:gd name="T7" fmla="*/ 10 h 10"/>
              <a:gd name="T8" fmla="*/ 12 w 26"/>
              <a:gd name="T9" fmla="*/ 10 h 10"/>
              <a:gd name="T10" fmla="*/ 22 w 26"/>
              <a:gd name="T11" fmla="*/ 10 h 10"/>
              <a:gd name="T12" fmla="*/ 26 w 26"/>
              <a:gd name="T13" fmla="*/ 8 h 10"/>
              <a:gd name="T14" fmla="*/ 26 w 26"/>
              <a:gd name="T15" fmla="*/ 4 h 10"/>
              <a:gd name="T16" fmla="*/ 22 w 26"/>
              <a:gd name="T17" fmla="*/ 0 h 10"/>
              <a:gd name="T18" fmla="*/ 18 w 26"/>
              <a:gd name="T19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6" h="10">
                <a:moveTo>
                  <a:pt x="18" y="0"/>
                </a:moveTo>
                <a:lnTo>
                  <a:pt x="8" y="0"/>
                </a:lnTo>
                <a:lnTo>
                  <a:pt x="0" y="4"/>
                </a:lnTo>
                <a:lnTo>
                  <a:pt x="4" y="10"/>
                </a:lnTo>
                <a:lnTo>
                  <a:pt x="12" y="10"/>
                </a:lnTo>
                <a:lnTo>
                  <a:pt x="22" y="10"/>
                </a:lnTo>
                <a:lnTo>
                  <a:pt x="26" y="8"/>
                </a:lnTo>
                <a:lnTo>
                  <a:pt x="26" y="4"/>
                </a:lnTo>
                <a:lnTo>
                  <a:pt x="22" y="0"/>
                </a:lnTo>
                <a:lnTo>
                  <a:pt x="18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34" name="Freeform 71">
            <a:extLst>
              <a:ext uri="{FF2B5EF4-FFF2-40B4-BE49-F238E27FC236}">
                <a16:creationId xmlns:a16="http://schemas.microsoft.com/office/drawing/2014/main" id="{1D02271E-272F-4F36-BE7B-7265550BA056}"/>
              </a:ext>
            </a:extLst>
          </p:cNvPr>
          <p:cNvSpPr>
            <a:spLocks/>
          </p:cNvSpPr>
          <p:nvPr/>
        </p:nvSpPr>
        <p:spPr bwMode="gray">
          <a:xfrm>
            <a:off x="1708140" y="2129073"/>
            <a:ext cx="8715" cy="10682"/>
          </a:xfrm>
          <a:custGeom>
            <a:avLst/>
            <a:gdLst>
              <a:gd name="T0" fmla="*/ 8 w 12"/>
              <a:gd name="T1" fmla="*/ 4 h 16"/>
              <a:gd name="T2" fmla="*/ 2 w 12"/>
              <a:gd name="T3" fmla="*/ 0 h 16"/>
              <a:gd name="T4" fmla="*/ 0 w 12"/>
              <a:gd name="T5" fmla="*/ 8 h 16"/>
              <a:gd name="T6" fmla="*/ 6 w 12"/>
              <a:gd name="T7" fmla="*/ 12 h 16"/>
              <a:gd name="T8" fmla="*/ 10 w 12"/>
              <a:gd name="T9" fmla="*/ 16 h 16"/>
              <a:gd name="T10" fmla="*/ 12 w 12"/>
              <a:gd name="T11" fmla="*/ 10 h 16"/>
              <a:gd name="T12" fmla="*/ 8 w 12"/>
              <a:gd name="T13" fmla="*/ 4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16">
                <a:moveTo>
                  <a:pt x="8" y="4"/>
                </a:moveTo>
                <a:lnTo>
                  <a:pt x="2" y="0"/>
                </a:lnTo>
                <a:lnTo>
                  <a:pt x="0" y="8"/>
                </a:lnTo>
                <a:lnTo>
                  <a:pt x="6" y="12"/>
                </a:lnTo>
                <a:lnTo>
                  <a:pt x="10" y="16"/>
                </a:lnTo>
                <a:lnTo>
                  <a:pt x="12" y="10"/>
                </a:lnTo>
                <a:lnTo>
                  <a:pt x="8" y="4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35" name="Freeform 72">
            <a:extLst>
              <a:ext uri="{FF2B5EF4-FFF2-40B4-BE49-F238E27FC236}">
                <a16:creationId xmlns:a16="http://schemas.microsoft.com/office/drawing/2014/main" id="{FEC5EE07-1CCA-4BC6-A265-F43DF79EB65B}"/>
              </a:ext>
            </a:extLst>
          </p:cNvPr>
          <p:cNvSpPr>
            <a:spLocks/>
          </p:cNvSpPr>
          <p:nvPr/>
        </p:nvSpPr>
        <p:spPr bwMode="gray">
          <a:xfrm>
            <a:off x="1862103" y="2043618"/>
            <a:ext cx="8715" cy="5341"/>
          </a:xfrm>
          <a:custGeom>
            <a:avLst/>
            <a:gdLst>
              <a:gd name="T0" fmla="*/ 6 w 12"/>
              <a:gd name="T1" fmla="*/ 0 h 8"/>
              <a:gd name="T2" fmla="*/ 2 w 12"/>
              <a:gd name="T3" fmla="*/ 2 h 8"/>
              <a:gd name="T4" fmla="*/ 0 w 12"/>
              <a:gd name="T5" fmla="*/ 8 h 8"/>
              <a:gd name="T6" fmla="*/ 8 w 12"/>
              <a:gd name="T7" fmla="*/ 8 h 8"/>
              <a:gd name="T8" fmla="*/ 12 w 12"/>
              <a:gd name="T9" fmla="*/ 8 h 8"/>
              <a:gd name="T10" fmla="*/ 6 w 12"/>
              <a:gd name="T11" fmla="*/ 0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" h="8">
                <a:moveTo>
                  <a:pt x="6" y="0"/>
                </a:moveTo>
                <a:lnTo>
                  <a:pt x="2" y="2"/>
                </a:lnTo>
                <a:lnTo>
                  <a:pt x="0" y="8"/>
                </a:lnTo>
                <a:lnTo>
                  <a:pt x="8" y="8"/>
                </a:lnTo>
                <a:lnTo>
                  <a:pt x="12" y="8"/>
                </a:lnTo>
                <a:lnTo>
                  <a:pt x="6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36" name="Freeform 73">
            <a:extLst>
              <a:ext uri="{FF2B5EF4-FFF2-40B4-BE49-F238E27FC236}">
                <a16:creationId xmlns:a16="http://schemas.microsoft.com/office/drawing/2014/main" id="{7CFBB7A3-8470-4B4D-A0BA-3AB3E1FFCF01}"/>
              </a:ext>
            </a:extLst>
          </p:cNvPr>
          <p:cNvSpPr>
            <a:spLocks/>
          </p:cNvSpPr>
          <p:nvPr/>
        </p:nvSpPr>
        <p:spPr bwMode="gray">
          <a:xfrm>
            <a:off x="1703783" y="2269271"/>
            <a:ext cx="135081" cy="177585"/>
          </a:xfrm>
          <a:custGeom>
            <a:avLst/>
            <a:gdLst>
              <a:gd name="T0" fmla="*/ 30 w 186"/>
              <a:gd name="T1" fmla="*/ 72 h 266"/>
              <a:gd name="T2" fmla="*/ 34 w 186"/>
              <a:gd name="T3" fmla="*/ 58 h 266"/>
              <a:gd name="T4" fmla="*/ 50 w 186"/>
              <a:gd name="T5" fmla="*/ 42 h 266"/>
              <a:gd name="T6" fmla="*/ 54 w 186"/>
              <a:gd name="T7" fmla="*/ 28 h 266"/>
              <a:gd name="T8" fmla="*/ 74 w 186"/>
              <a:gd name="T9" fmla="*/ 20 h 266"/>
              <a:gd name="T10" fmla="*/ 88 w 186"/>
              <a:gd name="T11" fmla="*/ 16 h 266"/>
              <a:gd name="T12" fmla="*/ 104 w 186"/>
              <a:gd name="T13" fmla="*/ 6 h 266"/>
              <a:gd name="T14" fmla="*/ 116 w 186"/>
              <a:gd name="T15" fmla="*/ 0 h 266"/>
              <a:gd name="T16" fmla="*/ 118 w 186"/>
              <a:gd name="T17" fmla="*/ 10 h 266"/>
              <a:gd name="T18" fmla="*/ 106 w 186"/>
              <a:gd name="T19" fmla="*/ 18 h 266"/>
              <a:gd name="T20" fmla="*/ 92 w 186"/>
              <a:gd name="T21" fmla="*/ 34 h 266"/>
              <a:gd name="T22" fmla="*/ 92 w 186"/>
              <a:gd name="T23" fmla="*/ 54 h 266"/>
              <a:gd name="T24" fmla="*/ 100 w 186"/>
              <a:gd name="T25" fmla="*/ 64 h 266"/>
              <a:gd name="T26" fmla="*/ 102 w 186"/>
              <a:gd name="T27" fmla="*/ 82 h 266"/>
              <a:gd name="T28" fmla="*/ 136 w 186"/>
              <a:gd name="T29" fmla="*/ 84 h 266"/>
              <a:gd name="T30" fmla="*/ 176 w 186"/>
              <a:gd name="T31" fmla="*/ 96 h 266"/>
              <a:gd name="T32" fmla="*/ 176 w 186"/>
              <a:gd name="T33" fmla="*/ 110 h 266"/>
              <a:gd name="T34" fmla="*/ 176 w 186"/>
              <a:gd name="T35" fmla="*/ 128 h 266"/>
              <a:gd name="T36" fmla="*/ 178 w 186"/>
              <a:gd name="T37" fmla="*/ 136 h 266"/>
              <a:gd name="T38" fmla="*/ 180 w 186"/>
              <a:gd name="T39" fmla="*/ 150 h 266"/>
              <a:gd name="T40" fmla="*/ 184 w 186"/>
              <a:gd name="T41" fmla="*/ 162 h 266"/>
              <a:gd name="T42" fmla="*/ 178 w 186"/>
              <a:gd name="T43" fmla="*/ 168 h 266"/>
              <a:gd name="T44" fmla="*/ 168 w 186"/>
              <a:gd name="T45" fmla="*/ 170 h 266"/>
              <a:gd name="T46" fmla="*/ 140 w 186"/>
              <a:gd name="T47" fmla="*/ 172 h 266"/>
              <a:gd name="T48" fmla="*/ 138 w 186"/>
              <a:gd name="T49" fmla="*/ 176 h 266"/>
              <a:gd name="T50" fmla="*/ 146 w 186"/>
              <a:gd name="T51" fmla="*/ 180 h 266"/>
              <a:gd name="T52" fmla="*/ 152 w 186"/>
              <a:gd name="T53" fmla="*/ 188 h 266"/>
              <a:gd name="T54" fmla="*/ 142 w 186"/>
              <a:gd name="T55" fmla="*/ 186 h 266"/>
              <a:gd name="T56" fmla="*/ 140 w 186"/>
              <a:gd name="T57" fmla="*/ 200 h 266"/>
              <a:gd name="T58" fmla="*/ 148 w 186"/>
              <a:gd name="T59" fmla="*/ 220 h 266"/>
              <a:gd name="T60" fmla="*/ 144 w 186"/>
              <a:gd name="T61" fmla="*/ 252 h 266"/>
              <a:gd name="T62" fmla="*/ 132 w 186"/>
              <a:gd name="T63" fmla="*/ 262 h 266"/>
              <a:gd name="T64" fmla="*/ 136 w 186"/>
              <a:gd name="T65" fmla="*/ 246 h 266"/>
              <a:gd name="T66" fmla="*/ 132 w 186"/>
              <a:gd name="T67" fmla="*/ 234 h 266"/>
              <a:gd name="T68" fmla="*/ 86 w 186"/>
              <a:gd name="T69" fmla="*/ 224 h 266"/>
              <a:gd name="T70" fmla="*/ 64 w 186"/>
              <a:gd name="T71" fmla="*/ 200 h 266"/>
              <a:gd name="T72" fmla="*/ 38 w 186"/>
              <a:gd name="T73" fmla="*/ 192 h 266"/>
              <a:gd name="T74" fmla="*/ 16 w 186"/>
              <a:gd name="T75" fmla="*/ 186 h 266"/>
              <a:gd name="T76" fmla="*/ 4 w 186"/>
              <a:gd name="T77" fmla="*/ 168 h 266"/>
              <a:gd name="T78" fmla="*/ 12 w 186"/>
              <a:gd name="T79" fmla="*/ 158 h 266"/>
              <a:gd name="T80" fmla="*/ 24 w 186"/>
              <a:gd name="T81" fmla="*/ 138 h 266"/>
              <a:gd name="T82" fmla="*/ 24 w 186"/>
              <a:gd name="T83" fmla="*/ 110 h 266"/>
              <a:gd name="T84" fmla="*/ 20 w 186"/>
              <a:gd name="T85" fmla="*/ 90 h 266"/>
              <a:gd name="T86" fmla="*/ 26 w 186"/>
              <a:gd name="T87" fmla="*/ 72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86" h="266">
                <a:moveTo>
                  <a:pt x="28" y="66"/>
                </a:moveTo>
                <a:lnTo>
                  <a:pt x="30" y="72"/>
                </a:lnTo>
                <a:lnTo>
                  <a:pt x="34" y="68"/>
                </a:lnTo>
                <a:lnTo>
                  <a:pt x="34" y="58"/>
                </a:lnTo>
                <a:lnTo>
                  <a:pt x="44" y="50"/>
                </a:lnTo>
                <a:lnTo>
                  <a:pt x="50" y="42"/>
                </a:lnTo>
                <a:lnTo>
                  <a:pt x="52" y="36"/>
                </a:lnTo>
                <a:lnTo>
                  <a:pt x="54" y="28"/>
                </a:lnTo>
                <a:lnTo>
                  <a:pt x="68" y="20"/>
                </a:lnTo>
                <a:lnTo>
                  <a:pt x="74" y="20"/>
                </a:lnTo>
                <a:lnTo>
                  <a:pt x="78" y="16"/>
                </a:lnTo>
                <a:lnTo>
                  <a:pt x="88" y="16"/>
                </a:lnTo>
                <a:lnTo>
                  <a:pt x="96" y="12"/>
                </a:lnTo>
                <a:lnTo>
                  <a:pt x="104" y="6"/>
                </a:lnTo>
                <a:lnTo>
                  <a:pt x="110" y="0"/>
                </a:lnTo>
                <a:lnTo>
                  <a:pt x="116" y="0"/>
                </a:lnTo>
                <a:lnTo>
                  <a:pt x="120" y="2"/>
                </a:lnTo>
                <a:lnTo>
                  <a:pt x="118" y="10"/>
                </a:lnTo>
                <a:lnTo>
                  <a:pt x="112" y="14"/>
                </a:lnTo>
                <a:lnTo>
                  <a:pt x="106" y="18"/>
                </a:lnTo>
                <a:lnTo>
                  <a:pt x="96" y="26"/>
                </a:lnTo>
                <a:lnTo>
                  <a:pt x="92" y="34"/>
                </a:lnTo>
                <a:lnTo>
                  <a:pt x="90" y="48"/>
                </a:lnTo>
                <a:lnTo>
                  <a:pt x="92" y="54"/>
                </a:lnTo>
                <a:lnTo>
                  <a:pt x="96" y="60"/>
                </a:lnTo>
                <a:lnTo>
                  <a:pt x="100" y="64"/>
                </a:lnTo>
                <a:lnTo>
                  <a:pt x="102" y="68"/>
                </a:lnTo>
                <a:lnTo>
                  <a:pt x="102" y="82"/>
                </a:lnTo>
                <a:lnTo>
                  <a:pt x="108" y="86"/>
                </a:lnTo>
                <a:lnTo>
                  <a:pt x="136" y="84"/>
                </a:lnTo>
                <a:lnTo>
                  <a:pt x="148" y="98"/>
                </a:lnTo>
                <a:lnTo>
                  <a:pt x="176" y="96"/>
                </a:lnTo>
                <a:lnTo>
                  <a:pt x="182" y="102"/>
                </a:lnTo>
                <a:lnTo>
                  <a:pt x="176" y="110"/>
                </a:lnTo>
                <a:lnTo>
                  <a:pt x="176" y="120"/>
                </a:lnTo>
                <a:lnTo>
                  <a:pt x="176" y="128"/>
                </a:lnTo>
                <a:lnTo>
                  <a:pt x="176" y="136"/>
                </a:lnTo>
                <a:lnTo>
                  <a:pt x="178" y="136"/>
                </a:lnTo>
                <a:lnTo>
                  <a:pt x="180" y="138"/>
                </a:lnTo>
                <a:lnTo>
                  <a:pt x="180" y="150"/>
                </a:lnTo>
                <a:lnTo>
                  <a:pt x="180" y="160"/>
                </a:lnTo>
                <a:lnTo>
                  <a:pt x="184" y="162"/>
                </a:lnTo>
                <a:lnTo>
                  <a:pt x="186" y="172"/>
                </a:lnTo>
                <a:lnTo>
                  <a:pt x="178" y="168"/>
                </a:lnTo>
                <a:lnTo>
                  <a:pt x="174" y="168"/>
                </a:lnTo>
                <a:lnTo>
                  <a:pt x="168" y="170"/>
                </a:lnTo>
                <a:lnTo>
                  <a:pt x="150" y="170"/>
                </a:lnTo>
                <a:lnTo>
                  <a:pt x="140" y="172"/>
                </a:lnTo>
                <a:lnTo>
                  <a:pt x="140" y="174"/>
                </a:lnTo>
                <a:lnTo>
                  <a:pt x="138" y="176"/>
                </a:lnTo>
                <a:lnTo>
                  <a:pt x="140" y="178"/>
                </a:lnTo>
                <a:lnTo>
                  <a:pt x="146" y="180"/>
                </a:lnTo>
                <a:lnTo>
                  <a:pt x="152" y="182"/>
                </a:lnTo>
                <a:lnTo>
                  <a:pt x="152" y="188"/>
                </a:lnTo>
                <a:lnTo>
                  <a:pt x="146" y="186"/>
                </a:lnTo>
                <a:lnTo>
                  <a:pt x="142" y="186"/>
                </a:lnTo>
                <a:lnTo>
                  <a:pt x="140" y="188"/>
                </a:lnTo>
                <a:lnTo>
                  <a:pt x="140" y="200"/>
                </a:lnTo>
                <a:lnTo>
                  <a:pt x="146" y="208"/>
                </a:lnTo>
                <a:lnTo>
                  <a:pt x="148" y="220"/>
                </a:lnTo>
                <a:lnTo>
                  <a:pt x="146" y="234"/>
                </a:lnTo>
                <a:lnTo>
                  <a:pt x="144" y="252"/>
                </a:lnTo>
                <a:lnTo>
                  <a:pt x="138" y="266"/>
                </a:lnTo>
                <a:lnTo>
                  <a:pt x="132" y="262"/>
                </a:lnTo>
                <a:lnTo>
                  <a:pt x="132" y="252"/>
                </a:lnTo>
                <a:lnTo>
                  <a:pt x="136" y="246"/>
                </a:lnTo>
                <a:lnTo>
                  <a:pt x="134" y="240"/>
                </a:lnTo>
                <a:lnTo>
                  <a:pt x="132" y="234"/>
                </a:lnTo>
                <a:lnTo>
                  <a:pt x="90" y="232"/>
                </a:lnTo>
                <a:lnTo>
                  <a:pt x="86" y="224"/>
                </a:lnTo>
                <a:lnTo>
                  <a:pt x="74" y="212"/>
                </a:lnTo>
                <a:lnTo>
                  <a:pt x="64" y="200"/>
                </a:lnTo>
                <a:lnTo>
                  <a:pt x="50" y="196"/>
                </a:lnTo>
                <a:lnTo>
                  <a:pt x="38" y="192"/>
                </a:lnTo>
                <a:lnTo>
                  <a:pt x="26" y="192"/>
                </a:lnTo>
                <a:lnTo>
                  <a:pt x="16" y="186"/>
                </a:lnTo>
                <a:lnTo>
                  <a:pt x="0" y="176"/>
                </a:lnTo>
                <a:lnTo>
                  <a:pt x="4" y="168"/>
                </a:lnTo>
                <a:lnTo>
                  <a:pt x="4" y="158"/>
                </a:lnTo>
                <a:lnTo>
                  <a:pt x="12" y="158"/>
                </a:lnTo>
                <a:lnTo>
                  <a:pt x="20" y="152"/>
                </a:lnTo>
                <a:lnTo>
                  <a:pt x="24" y="138"/>
                </a:lnTo>
                <a:lnTo>
                  <a:pt x="24" y="124"/>
                </a:lnTo>
                <a:lnTo>
                  <a:pt x="24" y="110"/>
                </a:lnTo>
                <a:lnTo>
                  <a:pt x="22" y="96"/>
                </a:lnTo>
                <a:lnTo>
                  <a:pt x="20" y="90"/>
                </a:lnTo>
                <a:lnTo>
                  <a:pt x="14" y="80"/>
                </a:lnTo>
                <a:lnTo>
                  <a:pt x="26" y="72"/>
                </a:lnTo>
                <a:lnTo>
                  <a:pt x="28" y="6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37" name="Freeform 74">
            <a:extLst>
              <a:ext uri="{FF2B5EF4-FFF2-40B4-BE49-F238E27FC236}">
                <a16:creationId xmlns:a16="http://schemas.microsoft.com/office/drawing/2014/main" id="{12E5EF03-1798-4FDD-9C8C-40F849217522}"/>
              </a:ext>
            </a:extLst>
          </p:cNvPr>
          <p:cNvSpPr>
            <a:spLocks/>
          </p:cNvSpPr>
          <p:nvPr/>
        </p:nvSpPr>
        <p:spPr bwMode="gray">
          <a:xfrm>
            <a:off x="1680543" y="2386771"/>
            <a:ext cx="63909" cy="66761"/>
          </a:xfrm>
          <a:custGeom>
            <a:avLst/>
            <a:gdLst>
              <a:gd name="T0" fmla="*/ 26 w 88"/>
              <a:gd name="T1" fmla="*/ 100 h 100"/>
              <a:gd name="T2" fmla="*/ 20 w 88"/>
              <a:gd name="T3" fmla="*/ 94 h 100"/>
              <a:gd name="T4" fmla="*/ 8 w 88"/>
              <a:gd name="T5" fmla="*/ 88 h 100"/>
              <a:gd name="T6" fmla="*/ 8 w 88"/>
              <a:gd name="T7" fmla="*/ 76 h 100"/>
              <a:gd name="T8" fmla="*/ 14 w 88"/>
              <a:gd name="T9" fmla="*/ 72 h 100"/>
              <a:gd name="T10" fmla="*/ 18 w 88"/>
              <a:gd name="T11" fmla="*/ 64 h 100"/>
              <a:gd name="T12" fmla="*/ 18 w 88"/>
              <a:gd name="T13" fmla="*/ 58 h 100"/>
              <a:gd name="T14" fmla="*/ 14 w 88"/>
              <a:gd name="T15" fmla="*/ 58 h 100"/>
              <a:gd name="T16" fmla="*/ 10 w 88"/>
              <a:gd name="T17" fmla="*/ 62 h 100"/>
              <a:gd name="T18" fmla="*/ 6 w 88"/>
              <a:gd name="T19" fmla="*/ 62 h 100"/>
              <a:gd name="T20" fmla="*/ 0 w 88"/>
              <a:gd name="T21" fmla="*/ 58 h 100"/>
              <a:gd name="T22" fmla="*/ 0 w 88"/>
              <a:gd name="T23" fmla="*/ 48 h 100"/>
              <a:gd name="T24" fmla="*/ 2 w 88"/>
              <a:gd name="T25" fmla="*/ 38 h 100"/>
              <a:gd name="T26" fmla="*/ 6 w 88"/>
              <a:gd name="T27" fmla="*/ 26 h 100"/>
              <a:gd name="T28" fmla="*/ 10 w 88"/>
              <a:gd name="T29" fmla="*/ 18 h 100"/>
              <a:gd name="T30" fmla="*/ 14 w 88"/>
              <a:gd name="T31" fmla="*/ 12 h 100"/>
              <a:gd name="T32" fmla="*/ 22 w 88"/>
              <a:gd name="T33" fmla="*/ 6 h 100"/>
              <a:gd name="T34" fmla="*/ 32 w 88"/>
              <a:gd name="T35" fmla="*/ 0 h 100"/>
              <a:gd name="T36" fmla="*/ 58 w 88"/>
              <a:gd name="T37" fmla="*/ 16 h 100"/>
              <a:gd name="T38" fmla="*/ 70 w 88"/>
              <a:gd name="T39" fmla="*/ 16 h 100"/>
              <a:gd name="T40" fmla="*/ 88 w 88"/>
              <a:gd name="T41" fmla="*/ 22 h 100"/>
              <a:gd name="T42" fmla="*/ 86 w 88"/>
              <a:gd name="T43" fmla="*/ 30 h 100"/>
              <a:gd name="T44" fmla="*/ 86 w 88"/>
              <a:gd name="T45" fmla="*/ 40 h 100"/>
              <a:gd name="T46" fmla="*/ 82 w 88"/>
              <a:gd name="T47" fmla="*/ 48 h 100"/>
              <a:gd name="T48" fmla="*/ 76 w 88"/>
              <a:gd name="T49" fmla="*/ 56 h 100"/>
              <a:gd name="T50" fmla="*/ 68 w 88"/>
              <a:gd name="T51" fmla="*/ 62 h 100"/>
              <a:gd name="T52" fmla="*/ 52 w 88"/>
              <a:gd name="T53" fmla="*/ 68 h 100"/>
              <a:gd name="T54" fmla="*/ 46 w 88"/>
              <a:gd name="T55" fmla="*/ 74 h 100"/>
              <a:gd name="T56" fmla="*/ 40 w 88"/>
              <a:gd name="T57" fmla="*/ 82 h 100"/>
              <a:gd name="T58" fmla="*/ 36 w 88"/>
              <a:gd name="T59" fmla="*/ 92 h 100"/>
              <a:gd name="T60" fmla="*/ 26 w 88"/>
              <a:gd name="T61" fmla="*/ 10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8" h="100">
                <a:moveTo>
                  <a:pt x="26" y="100"/>
                </a:moveTo>
                <a:lnTo>
                  <a:pt x="20" y="94"/>
                </a:lnTo>
                <a:lnTo>
                  <a:pt x="8" y="88"/>
                </a:lnTo>
                <a:lnTo>
                  <a:pt x="8" y="76"/>
                </a:lnTo>
                <a:lnTo>
                  <a:pt x="14" y="72"/>
                </a:lnTo>
                <a:lnTo>
                  <a:pt x="18" y="64"/>
                </a:lnTo>
                <a:lnTo>
                  <a:pt x="18" y="58"/>
                </a:lnTo>
                <a:lnTo>
                  <a:pt x="14" y="58"/>
                </a:lnTo>
                <a:lnTo>
                  <a:pt x="10" y="62"/>
                </a:lnTo>
                <a:lnTo>
                  <a:pt x="6" y="62"/>
                </a:lnTo>
                <a:lnTo>
                  <a:pt x="0" y="58"/>
                </a:lnTo>
                <a:lnTo>
                  <a:pt x="0" y="48"/>
                </a:lnTo>
                <a:lnTo>
                  <a:pt x="2" y="38"/>
                </a:lnTo>
                <a:lnTo>
                  <a:pt x="6" y="26"/>
                </a:lnTo>
                <a:lnTo>
                  <a:pt x="10" y="18"/>
                </a:lnTo>
                <a:lnTo>
                  <a:pt x="14" y="12"/>
                </a:lnTo>
                <a:lnTo>
                  <a:pt x="22" y="6"/>
                </a:lnTo>
                <a:lnTo>
                  <a:pt x="32" y="0"/>
                </a:lnTo>
                <a:lnTo>
                  <a:pt x="58" y="16"/>
                </a:lnTo>
                <a:lnTo>
                  <a:pt x="70" y="16"/>
                </a:lnTo>
                <a:lnTo>
                  <a:pt x="88" y="22"/>
                </a:lnTo>
                <a:lnTo>
                  <a:pt x="86" y="30"/>
                </a:lnTo>
                <a:lnTo>
                  <a:pt x="86" y="40"/>
                </a:lnTo>
                <a:lnTo>
                  <a:pt x="82" y="48"/>
                </a:lnTo>
                <a:lnTo>
                  <a:pt x="76" y="56"/>
                </a:lnTo>
                <a:lnTo>
                  <a:pt x="68" y="62"/>
                </a:lnTo>
                <a:lnTo>
                  <a:pt x="52" y="68"/>
                </a:lnTo>
                <a:lnTo>
                  <a:pt x="46" y="74"/>
                </a:lnTo>
                <a:lnTo>
                  <a:pt x="40" y="82"/>
                </a:lnTo>
                <a:lnTo>
                  <a:pt x="36" y="92"/>
                </a:lnTo>
                <a:lnTo>
                  <a:pt x="26" y="10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38" name="Freeform 75">
            <a:extLst>
              <a:ext uri="{FF2B5EF4-FFF2-40B4-BE49-F238E27FC236}">
                <a16:creationId xmlns:a16="http://schemas.microsoft.com/office/drawing/2014/main" id="{7E275749-E94F-462E-8C9A-21EEF7100AA0}"/>
              </a:ext>
            </a:extLst>
          </p:cNvPr>
          <p:cNvSpPr>
            <a:spLocks/>
          </p:cNvSpPr>
          <p:nvPr/>
        </p:nvSpPr>
        <p:spPr bwMode="gray">
          <a:xfrm>
            <a:off x="1896962" y="2285294"/>
            <a:ext cx="14525" cy="10682"/>
          </a:xfrm>
          <a:custGeom>
            <a:avLst/>
            <a:gdLst>
              <a:gd name="T0" fmla="*/ 12 w 20"/>
              <a:gd name="T1" fmla="*/ 0 h 16"/>
              <a:gd name="T2" fmla="*/ 20 w 20"/>
              <a:gd name="T3" fmla="*/ 0 h 16"/>
              <a:gd name="T4" fmla="*/ 18 w 20"/>
              <a:gd name="T5" fmla="*/ 10 h 16"/>
              <a:gd name="T6" fmla="*/ 14 w 20"/>
              <a:gd name="T7" fmla="*/ 16 h 16"/>
              <a:gd name="T8" fmla="*/ 0 w 20"/>
              <a:gd name="T9" fmla="*/ 14 h 16"/>
              <a:gd name="T10" fmla="*/ 6 w 20"/>
              <a:gd name="T11" fmla="*/ 6 h 16"/>
              <a:gd name="T12" fmla="*/ 10 w 20"/>
              <a:gd name="T13" fmla="*/ 6 h 16"/>
              <a:gd name="T14" fmla="*/ 12 w 20"/>
              <a:gd name="T15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" h="16">
                <a:moveTo>
                  <a:pt x="12" y="0"/>
                </a:moveTo>
                <a:lnTo>
                  <a:pt x="20" y="0"/>
                </a:lnTo>
                <a:lnTo>
                  <a:pt x="18" y="10"/>
                </a:lnTo>
                <a:lnTo>
                  <a:pt x="14" y="16"/>
                </a:lnTo>
                <a:lnTo>
                  <a:pt x="0" y="14"/>
                </a:lnTo>
                <a:lnTo>
                  <a:pt x="6" y="6"/>
                </a:lnTo>
                <a:lnTo>
                  <a:pt x="10" y="6"/>
                </a:lnTo>
                <a:lnTo>
                  <a:pt x="12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39" name="Freeform 76">
            <a:extLst>
              <a:ext uri="{FF2B5EF4-FFF2-40B4-BE49-F238E27FC236}">
                <a16:creationId xmlns:a16="http://schemas.microsoft.com/office/drawing/2014/main" id="{2EFCCC8A-1312-4536-B7C8-DDD02054D335}"/>
              </a:ext>
            </a:extLst>
          </p:cNvPr>
          <p:cNvSpPr>
            <a:spLocks/>
          </p:cNvSpPr>
          <p:nvPr/>
        </p:nvSpPr>
        <p:spPr bwMode="gray">
          <a:xfrm>
            <a:off x="1769144" y="2270606"/>
            <a:ext cx="152510" cy="122841"/>
          </a:xfrm>
          <a:custGeom>
            <a:avLst/>
            <a:gdLst>
              <a:gd name="T0" fmla="*/ 46 w 210"/>
              <a:gd name="T1" fmla="*/ 8 h 184"/>
              <a:gd name="T2" fmla="*/ 50 w 210"/>
              <a:gd name="T3" fmla="*/ 0 h 184"/>
              <a:gd name="T4" fmla="*/ 52 w 210"/>
              <a:gd name="T5" fmla="*/ 12 h 184"/>
              <a:gd name="T6" fmla="*/ 70 w 210"/>
              <a:gd name="T7" fmla="*/ 16 h 184"/>
              <a:gd name="T8" fmla="*/ 80 w 210"/>
              <a:gd name="T9" fmla="*/ 24 h 184"/>
              <a:gd name="T10" fmla="*/ 108 w 210"/>
              <a:gd name="T11" fmla="*/ 28 h 184"/>
              <a:gd name="T12" fmla="*/ 138 w 210"/>
              <a:gd name="T13" fmla="*/ 32 h 184"/>
              <a:gd name="T14" fmla="*/ 156 w 210"/>
              <a:gd name="T15" fmla="*/ 26 h 184"/>
              <a:gd name="T16" fmla="*/ 174 w 210"/>
              <a:gd name="T17" fmla="*/ 28 h 184"/>
              <a:gd name="T18" fmla="*/ 162 w 210"/>
              <a:gd name="T19" fmla="*/ 32 h 184"/>
              <a:gd name="T20" fmla="*/ 176 w 210"/>
              <a:gd name="T21" fmla="*/ 40 h 184"/>
              <a:gd name="T22" fmla="*/ 192 w 210"/>
              <a:gd name="T23" fmla="*/ 46 h 184"/>
              <a:gd name="T24" fmla="*/ 188 w 210"/>
              <a:gd name="T25" fmla="*/ 56 h 184"/>
              <a:gd name="T26" fmla="*/ 196 w 210"/>
              <a:gd name="T27" fmla="*/ 60 h 184"/>
              <a:gd name="T28" fmla="*/ 210 w 210"/>
              <a:gd name="T29" fmla="*/ 62 h 184"/>
              <a:gd name="T30" fmla="*/ 200 w 210"/>
              <a:gd name="T31" fmla="*/ 76 h 184"/>
              <a:gd name="T32" fmla="*/ 192 w 210"/>
              <a:gd name="T33" fmla="*/ 90 h 184"/>
              <a:gd name="T34" fmla="*/ 190 w 210"/>
              <a:gd name="T35" fmla="*/ 104 h 184"/>
              <a:gd name="T36" fmla="*/ 196 w 210"/>
              <a:gd name="T37" fmla="*/ 116 h 184"/>
              <a:gd name="T38" fmla="*/ 180 w 210"/>
              <a:gd name="T39" fmla="*/ 130 h 184"/>
              <a:gd name="T40" fmla="*/ 164 w 210"/>
              <a:gd name="T41" fmla="*/ 136 h 184"/>
              <a:gd name="T42" fmla="*/ 148 w 210"/>
              <a:gd name="T43" fmla="*/ 134 h 184"/>
              <a:gd name="T44" fmla="*/ 134 w 210"/>
              <a:gd name="T45" fmla="*/ 132 h 184"/>
              <a:gd name="T46" fmla="*/ 142 w 210"/>
              <a:gd name="T47" fmla="*/ 148 h 184"/>
              <a:gd name="T48" fmla="*/ 154 w 210"/>
              <a:gd name="T49" fmla="*/ 156 h 184"/>
              <a:gd name="T50" fmla="*/ 152 w 210"/>
              <a:gd name="T51" fmla="*/ 166 h 184"/>
              <a:gd name="T52" fmla="*/ 140 w 210"/>
              <a:gd name="T53" fmla="*/ 168 h 184"/>
              <a:gd name="T54" fmla="*/ 116 w 210"/>
              <a:gd name="T55" fmla="*/ 184 h 184"/>
              <a:gd name="T56" fmla="*/ 98 w 210"/>
              <a:gd name="T57" fmla="*/ 174 h 184"/>
              <a:gd name="T58" fmla="*/ 94 w 210"/>
              <a:gd name="T59" fmla="*/ 160 h 184"/>
              <a:gd name="T60" fmla="*/ 90 w 210"/>
              <a:gd name="T61" fmla="*/ 136 h 184"/>
              <a:gd name="T62" fmla="*/ 86 w 210"/>
              <a:gd name="T63" fmla="*/ 108 h 184"/>
              <a:gd name="T64" fmla="*/ 86 w 210"/>
              <a:gd name="T65" fmla="*/ 94 h 184"/>
              <a:gd name="T66" fmla="*/ 46 w 210"/>
              <a:gd name="T67" fmla="*/ 82 h 184"/>
              <a:gd name="T68" fmla="*/ 12 w 210"/>
              <a:gd name="T69" fmla="*/ 80 h 184"/>
              <a:gd name="T70" fmla="*/ 0 w 210"/>
              <a:gd name="T71" fmla="*/ 46 h 184"/>
              <a:gd name="T72" fmla="*/ 8 w 210"/>
              <a:gd name="T73" fmla="*/ 22 h 184"/>
              <a:gd name="T74" fmla="*/ 22 w 210"/>
              <a:gd name="T75" fmla="*/ 16 h 184"/>
              <a:gd name="T76" fmla="*/ 22 w 210"/>
              <a:gd name="T77" fmla="*/ 30 h 184"/>
              <a:gd name="T78" fmla="*/ 18 w 210"/>
              <a:gd name="T79" fmla="*/ 46 h 184"/>
              <a:gd name="T80" fmla="*/ 30 w 210"/>
              <a:gd name="T81" fmla="*/ 48 h 184"/>
              <a:gd name="T82" fmla="*/ 30 w 210"/>
              <a:gd name="T83" fmla="*/ 32 h 184"/>
              <a:gd name="T84" fmla="*/ 32 w 210"/>
              <a:gd name="T85" fmla="*/ 20 h 184"/>
              <a:gd name="T86" fmla="*/ 44 w 210"/>
              <a:gd name="T87" fmla="*/ 14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10" h="184">
                <a:moveTo>
                  <a:pt x="44" y="14"/>
                </a:moveTo>
                <a:lnTo>
                  <a:pt x="46" y="8"/>
                </a:lnTo>
                <a:lnTo>
                  <a:pt x="46" y="2"/>
                </a:lnTo>
                <a:lnTo>
                  <a:pt x="50" y="0"/>
                </a:lnTo>
                <a:lnTo>
                  <a:pt x="52" y="4"/>
                </a:lnTo>
                <a:lnTo>
                  <a:pt x="52" y="12"/>
                </a:lnTo>
                <a:lnTo>
                  <a:pt x="60" y="14"/>
                </a:lnTo>
                <a:lnTo>
                  <a:pt x="70" y="16"/>
                </a:lnTo>
                <a:lnTo>
                  <a:pt x="76" y="22"/>
                </a:lnTo>
                <a:lnTo>
                  <a:pt x="80" y="24"/>
                </a:lnTo>
                <a:lnTo>
                  <a:pt x="98" y="28"/>
                </a:lnTo>
                <a:lnTo>
                  <a:pt x="108" y="28"/>
                </a:lnTo>
                <a:lnTo>
                  <a:pt x="126" y="36"/>
                </a:lnTo>
                <a:lnTo>
                  <a:pt x="138" y="32"/>
                </a:lnTo>
                <a:lnTo>
                  <a:pt x="146" y="28"/>
                </a:lnTo>
                <a:lnTo>
                  <a:pt x="156" y="26"/>
                </a:lnTo>
                <a:lnTo>
                  <a:pt x="164" y="28"/>
                </a:lnTo>
                <a:lnTo>
                  <a:pt x="174" y="28"/>
                </a:lnTo>
                <a:lnTo>
                  <a:pt x="170" y="30"/>
                </a:lnTo>
                <a:lnTo>
                  <a:pt x="162" y="32"/>
                </a:lnTo>
                <a:lnTo>
                  <a:pt x="164" y="40"/>
                </a:lnTo>
                <a:lnTo>
                  <a:pt x="176" y="40"/>
                </a:lnTo>
                <a:lnTo>
                  <a:pt x="188" y="42"/>
                </a:lnTo>
                <a:lnTo>
                  <a:pt x="192" y="46"/>
                </a:lnTo>
                <a:lnTo>
                  <a:pt x="192" y="52"/>
                </a:lnTo>
                <a:lnTo>
                  <a:pt x="188" y="56"/>
                </a:lnTo>
                <a:lnTo>
                  <a:pt x="188" y="62"/>
                </a:lnTo>
                <a:lnTo>
                  <a:pt x="196" y="60"/>
                </a:lnTo>
                <a:lnTo>
                  <a:pt x="202" y="58"/>
                </a:lnTo>
                <a:lnTo>
                  <a:pt x="210" y="62"/>
                </a:lnTo>
                <a:lnTo>
                  <a:pt x="204" y="70"/>
                </a:lnTo>
                <a:lnTo>
                  <a:pt x="200" y="76"/>
                </a:lnTo>
                <a:lnTo>
                  <a:pt x="202" y="84"/>
                </a:lnTo>
                <a:lnTo>
                  <a:pt x="192" y="90"/>
                </a:lnTo>
                <a:lnTo>
                  <a:pt x="188" y="96"/>
                </a:lnTo>
                <a:lnTo>
                  <a:pt x="190" y="104"/>
                </a:lnTo>
                <a:lnTo>
                  <a:pt x="194" y="110"/>
                </a:lnTo>
                <a:lnTo>
                  <a:pt x="196" y="116"/>
                </a:lnTo>
                <a:lnTo>
                  <a:pt x="192" y="126"/>
                </a:lnTo>
                <a:lnTo>
                  <a:pt x="180" y="130"/>
                </a:lnTo>
                <a:lnTo>
                  <a:pt x="170" y="132"/>
                </a:lnTo>
                <a:lnTo>
                  <a:pt x="164" y="136"/>
                </a:lnTo>
                <a:lnTo>
                  <a:pt x="158" y="136"/>
                </a:lnTo>
                <a:lnTo>
                  <a:pt x="148" y="134"/>
                </a:lnTo>
                <a:lnTo>
                  <a:pt x="140" y="130"/>
                </a:lnTo>
                <a:lnTo>
                  <a:pt x="134" y="132"/>
                </a:lnTo>
                <a:lnTo>
                  <a:pt x="140" y="138"/>
                </a:lnTo>
                <a:lnTo>
                  <a:pt x="142" y="148"/>
                </a:lnTo>
                <a:lnTo>
                  <a:pt x="148" y="156"/>
                </a:lnTo>
                <a:lnTo>
                  <a:pt x="154" y="156"/>
                </a:lnTo>
                <a:lnTo>
                  <a:pt x="154" y="160"/>
                </a:lnTo>
                <a:lnTo>
                  <a:pt x="152" y="166"/>
                </a:lnTo>
                <a:lnTo>
                  <a:pt x="146" y="166"/>
                </a:lnTo>
                <a:lnTo>
                  <a:pt x="140" y="168"/>
                </a:lnTo>
                <a:lnTo>
                  <a:pt x="130" y="180"/>
                </a:lnTo>
                <a:lnTo>
                  <a:pt x="116" y="184"/>
                </a:lnTo>
                <a:lnTo>
                  <a:pt x="106" y="182"/>
                </a:lnTo>
                <a:lnTo>
                  <a:pt x="98" y="174"/>
                </a:lnTo>
                <a:lnTo>
                  <a:pt x="96" y="170"/>
                </a:lnTo>
                <a:lnTo>
                  <a:pt x="94" y="160"/>
                </a:lnTo>
                <a:lnTo>
                  <a:pt x="90" y="158"/>
                </a:lnTo>
                <a:lnTo>
                  <a:pt x="90" y="136"/>
                </a:lnTo>
                <a:lnTo>
                  <a:pt x="86" y="134"/>
                </a:lnTo>
                <a:lnTo>
                  <a:pt x="86" y="108"/>
                </a:lnTo>
                <a:lnTo>
                  <a:pt x="92" y="100"/>
                </a:lnTo>
                <a:lnTo>
                  <a:pt x="86" y="94"/>
                </a:lnTo>
                <a:lnTo>
                  <a:pt x="58" y="96"/>
                </a:lnTo>
                <a:lnTo>
                  <a:pt x="46" y="82"/>
                </a:lnTo>
                <a:lnTo>
                  <a:pt x="18" y="84"/>
                </a:lnTo>
                <a:lnTo>
                  <a:pt x="12" y="80"/>
                </a:lnTo>
                <a:lnTo>
                  <a:pt x="12" y="66"/>
                </a:lnTo>
                <a:lnTo>
                  <a:pt x="0" y="46"/>
                </a:lnTo>
                <a:lnTo>
                  <a:pt x="2" y="32"/>
                </a:lnTo>
                <a:lnTo>
                  <a:pt x="8" y="22"/>
                </a:lnTo>
                <a:lnTo>
                  <a:pt x="18" y="14"/>
                </a:lnTo>
                <a:lnTo>
                  <a:pt x="22" y="16"/>
                </a:lnTo>
                <a:lnTo>
                  <a:pt x="22" y="20"/>
                </a:lnTo>
                <a:lnTo>
                  <a:pt x="22" y="30"/>
                </a:lnTo>
                <a:lnTo>
                  <a:pt x="16" y="34"/>
                </a:lnTo>
                <a:lnTo>
                  <a:pt x="18" y="46"/>
                </a:lnTo>
                <a:lnTo>
                  <a:pt x="22" y="52"/>
                </a:lnTo>
                <a:lnTo>
                  <a:pt x="30" y="48"/>
                </a:lnTo>
                <a:lnTo>
                  <a:pt x="34" y="40"/>
                </a:lnTo>
                <a:lnTo>
                  <a:pt x="30" y="32"/>
                </a:lnTo>
                <a:lnTo>
                  <a:pt x="28" y="26"/>
                </a:lnTo>
                <a:lnTo>
                  <a:pt x="32" y="20"/>
                </a:lnTo>
                <a:lnTo>
                  <a:pt x="38" y="18"/>
                </a:lnTo>
                <a:lnTo>
                  <a:pt x="44" y="14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40" name="Freeform 77">
            <a:extLst>
              <a:ext uri="{FF2B5EF4-FFF2-40B4-BE49-F238E27FC236}">
                <a16:creationId xmlns:a16="http://schemas.microsoft.com/office/drawing/2014/main" id="{0889A36D-C01E-49F5-94D6-29C65C9105DE}"/>
              </a:ext>
            </a:extLst>
          </p:cNvPr>
          <p:cNvSpPr>
            <a:spLocks/>
          </p:cNvSpPr>
          <p:nvPr/>
        </p:nvSpPr>
        <p:spPr bwMode="gray">
          <a:xfrm>
            <a:off x="1905677" y="2311998"/>
            <a:ext cx="50837" cy="76108"/>
          </a:xfrm>
          <a:custGeom>
            <a:avLst/>
            <a:gdLst>
              <a:gd name="T0" fmla="*/ 42 w 70"/>
              <a:gd name="T1" fmla="*/ 30 h 114"/>
              <a:gd name="T2" fmla="*/ 50 w 70"/>
              <a:gd name="T3" fmla="*/ 24 h 114"/>
              <a:gd name="T4" fmla="*/ 58 w 70"/>
              <a:gd name="T5" fmla="*/ 30 h 114"/>
              <a:gd name="T6" fmla="*/ 66 w 70"/>
              <a:gd name="T7" fmla="*/ 40 h 114"/>
              <a:gd name="T8" fmla="*/ 64 w 70"/>
              <a:gd name="T9" fmla="*/ 48 h 114"/>
              <a:gd name="T10" fmla="*/ 60 w 70"/>
              <a:gd name="T11" fmla="*/ 54 h 114"/>
              <a:gd name="T12" fmla="*/ 54 w 70"/>
              <a:gd name="T13" fmla="*/ 62 h 114"/>
              <a:gd name="T14" fmla="*/ 52 w 70"/>
              <a:gd name="T15" fmla="*/ 72 h 114"/>
              <a:gd name="T16" fmla="*/ 56 w 70"/>
              <a:gd name="T17" fmla="*/ 76 h 114"/>
              <a:gd name="T18" fmla="*/ 60 w 70"/>
              <a:gd name="T19" fmla="*/ 82 h 114"/>
              <a:gd name="T20" fmla="*/ 64 w 70"/>
              <a:gd name="T21" fmla="*/ 86 h 114"/>
              <a:gd name="T22" fmla="*/ 66 w 70"/>
              <a:gd name="T23" fmla="*/ 90 h 114"/>
              <a:gd name="T24" fmla="*/ 70 w 70"/>
              <a:gd name="T25" fmla="*/ 100 h 114"/>
              <a:gd name="T26" fmla="*/ 66 w 70"/>
              <a:gd name="T27" fmla="*/ 104 h 114"/>
              <a:gd name="T28" fmla="*/ 58 w 70"/>
              <a:gd name="T29" fmla="*/ 108 h 114"/>
              <a:gd name="T30" fmla="*/ 52 w 70"/>
              <a:gd name="T31" fmla="*/ 112 h 114"/>
              <a:gd name="T32" fmla="*/ 42 w 70"/>
              <a:gd name="T33" fmla="*/ 114 h 114"/>
              <a:gd name="T34" fmla="*/ 34 w 70"/>
              <a:gd name="T35" fmla="*/ 114 h 114"/>
              <a:gd name="T36" fmla="*/ 26 w 70"/>
              <a:gd name="T37" fmla="*/ 106 h 114"/>
              <a:gd name="T38" fmla="*/ 20 w 70"/>
              <a:gd name="T39" fmla="*/ 98 h 114"/>
              <a:gd name="T40" fmla="*/ 20 w 70"/>
              <a:gd name="T41" fmla="*/ 90 h 114"/>
              <a:gd name="T42" fmla="*/ 20 w 70"/>
              <a:gd name="T43" fmla="*/ 78 h 114"/>
              <a:gd name="T44" fmla="*/ 26 w 70"/>
              <a:gd name="T45" fmla="*/ 72 h 114"/>
              <a:gd name="T46" fmla="*/ 22 w 70"/>
              <a:gd name="T47" fmla="*/ 62 h 114"/>
              <a:gd name="T48" fmla="*/ 18 w 70"/>
              <a:gd name="T49" fmla="*/ 50 h 114"/>
              <a:gd name="T50" fmla="*/ 6 w 70"/>
              <a:gd name="T51" fmla="*/ 50 h 114"/>
              <a:gd name="T52" fmla="*/ 2 w 70"/>
              <a:gd name="T53" fmla="*/ 42 h 114"/>
              <a:gd name="T54" fmla="*/ 0 w 70"/>
              <a:gd name="T55" fmla="*/ 34 h 114"/>
              <a:gd name="T56" fmla="*/ 4 w 70"/>
              <a:gd name="T57" fmla="*/ 28 h 114"/>
              <a:gd name="T58" fmla="*/ 14 w 70"/>
              <a:gd name="T59" fmla="*/ 22 h 114"/>
              <a:gd name="T60" fmla="*/ 12 w 70"/>
              <a:gd name="T61" fmla="*/ 14 h 114"/>
              <a:gd name="T62" fmla="*/ 16 w 70"/>
              <a:gd name="T63" fmla="*/ 8 h 114"/>
              <a:gd name="T64" fmla="*/ 22 w 70"/>
              <a:gd name="T65" fmla="*/ 0 h 114"/>
              <a:gd name="T66" fmla="*/ 28 w 70"/>
              <a:gd name="T67" fmla="*/ 2 h 114"/>
              <a:gd name="T68" fmla="*/ 34 w 70"/>
              <a:gd name="T69" fmla="*/ 6 h 114"/>
              <a:gd name="T70" fmla="*/ 42 w 70"/>
              <a:gd name="T71" fmla="*/ 12 h 114"/>
              <a:gd name="T72" fmla="*/ 44 w 70"/>
              <a:gd name="T73" fmla="*/ 16 h 114"/>
              <a:gd name="T74" fmla="*/ 44 w 70"/>
              <a:gd name="T75" fmla="*/ 22 h 114"/>
              <a:gd name="T76" fmla="*/ 42 w 70"/>
              <a:gd name="T77" fmla="*/ 30 h 1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70" h="114">
                <a:moveTo>
                  <a:pt x="42" y="30"/>
                </a:moveTo>
                <a:lnTo>
                  <a:pt x="50" y="24"/>
                </a:lnTo>
                <a:lnTo>
                  <a:pt x="58" y="30"/>
                </a:lnTo>
                <a:lnTo>
                  <a:pt x="66" y="40"/>
                </a:lnTo>
                <a:lnTo>
                  <a:pt x="64" y="48"/>
                </a:lnTo>
                <a:lnTo>
                  <a:pt x="60" y="54"/>
                </a:lnTo>
                <a:lnTo>
                  <a:pt x="54" y="62"/>
                </a:lnTo>
                <a:lnTo>
                  <a:pt x="52" y="72"/>
                </a:lnTo>
                <a:lnTo>
                  <a:pt x="56" y="76"/>
                </a:lnTo>
                <a:lnTo>
                  <a:pt x="60" y="82"/>
                </a:lnTo>
                <a:lnTo>
                  <a:pt x="64" y="86"/>
                </a:lnTo>
                <a:lnTo>
                  <a:pt x="66" y="90"/>
                </a:lnTo>
                <a:lnTo>
                  <a:pt x="70" y="100"/>
                </a:lnTo>
                <a:lnTo>
                  <a:pt x="66" y="104"/>
                </a:lnTo>
                <a:lnTo>
                  <a:pt x="58" y="108"/>
                </a:lnTo>
                <a:lnTo>
                  <a:pt x="52" y="112"/>
                </a:lnTo>
                <a:lnTo>
                  <a:pt x="42" y="114"/>
                </a:lnTo>
                <a:lnTo>
                  <a:pt x="34" y="114"/>
                </a:lnTo>
                <a:lnTo>
                  <a:pt x="26" y="106"/>
                </a:lnTo>
                <a:lnTo>
                  <a:pt x="20" y="98"/>
                </a:lnTo>
                <a:lnTo>
                  <a:pt x="20" y="90"/>
                </a:lnTo>
                <a:lnTo>
                  <a:pt x="20" y="78"/>
                </a:lnTo>
                <a:lnTo>
                  <a:pt x="26" y="72"/>
                </a:lnTo>
                <a:lnTo>
                  <a:pt x="22" y="62"/>
                </a:lnTo>
                <a:lnTo>
                  <a:pt x="18" y="50"/>
                </a:lnTo>
                <a:lnTo>
                  <a:pt x="6" y="50"/>
                </a:lnTo>
                <a:lnTo>
                  <a:pt x="2" y="42"/>
                </a:lnTo>
                <a:lnTo>
                  <a:pt x="0" y="34"/>
                </a:lnTo>
                <a:lnTo>
                  <a:pt x="4" y="28"/>
                </a:lnTo>
                <a:lnTo>
                  <a:pt x="14" y="22"/>
                </a:lnTo>
                <a:lnTo>
                  <a:pt x="12" y="14"/>
                </a:lnTo>
                <a:lnTo>
                  <a:pt x="16" y="8"/>
                </a:lnTo>
                <a:lnTo>
                  <a:pt x="22" y="0"/>
                </a:lnTo>
                <a:lnTo>
                  <a:pt x="28" y="2"/>
                </a:lnTo>
                <a:lnTo>
                  <a:pt x="34" y="6"/>
                </a:lnTo>
                <a:lnTo>
                  <a:pt x="42" y="12"/>
                </a:lnTo>
                <a:lnTo>
                  <a:pt x="44" y="16"/>
                </a:lnTo>
                <a:lnTo>
                  <a:pt x="44" y="22"/>
                </a:lnTo>
                <a:lnTo>
                  <a:pt x="42" y="3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41" name="Freeform 78">
            <a:extLst>
              <a:ext uri="{FF2B5EF4-FFF2-40B4-BE49-F238E27FC236}">
                <a16:creationId xmlns:a16="http://schemas.microsoft.com/office/drawing/2014/main" id="{7F920566-CB1E-4267-BD27-035AA56C7715}"/>
              </a:ext>
            </a:extLst>
          </p:cNvPr>
          <p:cNvSpPr>
            <a:spLocks/>
          </p:cNvSpPr>
          <p:nvPr/>
        </p:nvSpPr>
        <p:spPr bwMode="gray">
          <a:xfrm>
            <a:off x="1982659" y="2340038"/>
            <a:ext cx="34860" cy="40057"/>
          </a:xfrm>
          <a:custGeom>
            <a:avLst/>
            <a:gdLst>
              <a:gd name="T0" fmla="*/ 6 w 48"/>
              <a:gd name="T1" fmla="*/ 0 h 60"/>
              <a:gd name="T2" fmla="*/ 16 w 48"/>
              <a:gd name="T3" fmla="*/ 2 h 60"/>
              <a:gd name="T4" fmla="*/ 28 w 48"/>
              <a:gd name="T5" fmla="*/ 6 h 60"/>
              <a:gd name="T6" fmla="*/ 38 w 48"/>
              <a:gd name="T7" fmla="*/ 12 h 60"/>
              <a:gd name="T8" fmla="*/ 44 w 48"/>
              <a:gd name="T9" fmla="*/ 20 h 60"/>
              <a:gd name="T10" fmla="*/ 48 w 48"/>
              <a:gd name="T11" fmla="*/ 26 h 60"/>
              <a:gd name="T12" fmla="*/ 42 w 48"/>
              <a:gd name="T13" fmla="*/ 34 h 60"/>
              <a:gd name="T14" fmla="*/ 36 w 48"/>
              <a:gd name="T15" fmla="*/ 46 h 60"/>
              <a:gd name="T16" fmla="*/ 30 w 48"/>
              <a:gd name="T17" fmla="*/ 60 h 60"/>
              <a:gd name="T18" fmla="*/ 24 w 48"/>
              <a:gd name="T19" fmla="*/ 56 h 60"/>
              <a:gd name="T20" fmla="*/ 14 w 48"/>
              <a:gd name="T21" fmla="*/ 54 h 60"/>
              <a:gd name="T22" fmla="*/ 8 w 48"/>
              <a:gd name="T23" fmla="*/ 58 h 60"/>
              <a:gd name="T24" fmla="*/ 2 w 48"/>
              <a:gd name="T25" fmla="*/ 58 h 60"/>
              <a:gd name="T26" fmla="*/ 2 w 48"/>
              <a:gd name="T27" fmla="*/ 50 h 60"/>
              <a:gd name="T28" fmla="*/ 6 w 48"/>
              <a:gd name="T29" fmla="*/ 36 h 60"/>
              <a:gd name="T30" fmla="*/ 10 w 48"/>
              <a:gd name="T31" fmla="*/ 28 h 60"/>
              <a:gd name="T32" fmla="*/ 4 w 48"/>
              <a:gd name="T33" fmla="*/ 24 h 60"/>
              <a:gd name="T34" fmla="*/ 0 w 48"/>
              <a:gd name="T35" fmla="*/ 18 h 60"/>
              <a:gd name="T36" fmla="*/ 0 w 48"/>
              <a:gd name="T37" fmla="*/ 12 h 60"/>
              <a:gd name="T38" fmla="*/ 2 w 48"/>
              <a:gd name="T39" fmla="*/ 6 h 60"/>
              <a:gd name="T40" fmla="*/ 6 w 48"/>
              <a:gd name="T41" fmla="*/ 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8" h="60">
                <a:moveTo>
                  <a:pt x="6" y="0"/>
                </a:moveTo>
                <a:lnTo>
                  <a:pt x="16" y="2"/>
                </a:lnTo>
                <a:lnTo>
                  <a:pt x="28" y="6"/>
                </a:lnTo>
                <a:lnTo>
                  <a:pt x="38" y="12"/>
                </a:lnTo>
                <a:lnTo>
                  <a:pt x="44" y="20"/>
                </a:lnTo>
                <a:lnTo>
                  <a:pt x="48" y="26"/>
                </a:lnTo>
                <a:lnTo>
                  <a:pt x="42" y="34"/>
                </a:lnTo>
                <a:lnTo>
                  <a:pt x="36" y="46"/>
                </a:lnTo>
                <a:lnTo>
                  <a:pt x="30" y="60"/>
                </a:lnTo>
                <a:lnTo>
                  <a:pt x="24" y="56"/>
                </a:lnTo>
                <a:lnTo>
                  <a:pt x="14" y="54"/>
                </a:lnTo>
                <a:lnTo>
                  <a:pt x="8" y="58"/>
                </a:lnTo>
                <a:lnTo>
                  <a:pt x="2" y="58"/>
                </a:lnTo>
                <a:lnTo>
                  <a:pt x="2" y="50"/>
                </a:lnTo>
                <a:lnTo>
                  <a:pt x="6" y="36"/>
                </a:lnTo>
                <a:lnTo>
                  <a:pt x="10" y="28"/>
                </a:lnTo>
                <a:lnTo>
                  <a:pt x="4" y="24"/>
                </a:lnTo>
                <a:lnTo>
                  <a:pt x="0" y="18"/>
                </a:lnTo>
                <a:lnTo>
                  <a:pt x="0" y="12"/>
                </a:lnTo>
                <a:lnTo>
                  <a:pt x="2" y="6"/>
                </a:lnTo>
                <a:lnTo>
                  <a:pt x="6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42" name="Freeform 79">
            <a:extLst>
              <a:ext uri="{FF2B5EF4-FFF2-40B4-BE49-F238E27FC236}">
                <a16:creationId xmlns:a16="http://schemas.microsoft.com/office/drawing/2014/main" id="{14E3D6FD-438A-4FDC-8825-2F4C0BA3CA73}"/>
              </a:ext>
            </a:extLst>
          </p:cNvPr>
          <p:cNvSpPr>
            <a:spLocks/>
          </p:cNvSpPr>
          <p:nvPr/>
        </p:nvSpPr>
        <p:spPr bwMode="gray">
          <a:xfrm>
            <a:off x="1943442" y="2338703"/>
            <a:ext cx="46479" cy="42727"/>
          </a:xfrm>
          <a:custGeom>
            <a:avLst/>
            <a:gdLst>
              <a:gd name="T0" fmla="*/ 14 w 64"/>
              <a:gd name="T1" fmla="*/ 0 h 64"/>
              <a:gd name="T2" fmla="*/ 22 w 64"/>
              <a:gd name="T3" fmla="*/ 0 h 64"/>
              <a:gd name="T4" fmla="*/ 32 w 64"/>
              <a:gd name="T5" fmla="*/ 2 h 64"/>
              <a:gd name="T6" fmla="*/ 36 w 64"/>
              <a:gd name="T7" fmla="*/ 2 h 64"/>
              <a:gd name="T8" fmla="*/ 42 w 64"/>
              <a:gd name="T9" fmla="*/ 2 h 64"/>
              <a:gd name="T10" fmla="*/ 48 w 64"/>
              <a:gd name="T11" fmla="*/ 2 h 64"/>
              <a:gd name="T12" fmla="*/ 54 w 64"/>
              <a:gd name="T13" fmla="*/ 2 h 64"/>
              <a:gd name="T14" fmla="*/ 60 w 64"/>
              <a:gd name="T15" fmla="*/ 2 h 64"/>
              <a:gd name="T16" fmla="*/ 54 w 64"/>
              <a:gd name="T17" fmla="*/ 14 h 64"/>
              <a:gd name="T18" fmla="*/ 54 w 64"/>
              <a:gd name="T19" fmla="*/ 20 h 64"/>
              <a:gd name="T20" fmla="*/ 58 w 64"/>
              <a:gd name="T21" fmla="*/ 26 h 64"/>
              <a:gd name="T22" fmla="*/ 64 w 64"/>
              <a:gd name="T23" fmla="*/ 30 h 64"/>
              <a:gd name="T24" fmla="*/ 56 w 64"/>
              <a:gd name="T25" fmla="*/ 52 h 64"/>
              <a:gd name="T26" fmla="*/ 56 w 64"/>
              <a:gd name="T27" fmla="*/ 60 h 64"/>
              <a:gd name="T28" fmla="*/ 50 w 64"/>
              <a:gd name="T29" fmla="*/ 58 h 64"/>
              <a:gd name="T30" fmla="*/ 42 w 64"/>
              <a:gd name="T31" fmla="*/ 56 h 64"/>
              <a:gd name="T32" fmla="*/ 36 w 64"/>
              <a:gd name="T33" fmla="*/ 54 h 64"/>
              <a:gd name="T34" fmla="*/ 32 w 64"/>
              <a:gd name="T35" fmla="*/ 54 h 64"/>
              <a:gd name="T36" fmla="*/ 32 w 64"/>
              <a:gd name="T37" fmla="*/ 60 h 64"/>
              <a:gd name="T38" fmla="*/ 30 w 64"/>
              <a:gd name="T39" fmla="*/ 64 h 64"/>
              <a:gd name="T40" fmla="*/ 28 w 64"/>
              <a:gd name="T41" fmla="*/ 64 h 64"/>
              <a:gd name="T42" fmla="*/ 22 w 64"/>
              <a:gd name="T43" fmla="*/ 64 h 64"/>
              <a:gd name="T44" fmla="*/ 18 w 64"/>
              <a:gd name="T45" fmla="*/ 60 h 64"/>
              <a:gd name="T46" fmla="*/ 12 w 64"/>
              <a:gd name="T47" fmla="*/ 46 h 64"/>
              <a:gd name="T48" fmla="*/ 0 w 64"/>
              <a:gd name="T49" fmla="*/ 32 h 64"/>
              <a:gd name="T50" fmla="*/ 2 w 64"/>
              <a:gd name="T51" fmla="*/ 22 h 64"/>
              <a:gd name="T52" fmla="*/ 8 w 64"/>
              <a:gd name="T53" fmla="*/ 14 h 64"/>
              <a:gd name="T54" fmla="*/ 12 w 64"/>
              <a:gd name="T55" fmla="*/ 8 h 64"/>
              <a:gd name="T56" fmla="*/ 14 w 64"/>
              <a:gd name="T57" fmla="*/ 0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64" h="64">
                <a:moveTo>
                  <a:pt x="14" y="0"/>
                </a:moveTo>
                <a:lnTo>
                  <a:pt x="22" y="0"/>
                </a:lnTo>
                <a:lnTo>
                  <a:pt x="32" y="2"/>
                </a:lnTo>
                <a:lnTo>
                  <a:pt x="36" y="2"/>
                </a:lnTo>
                <a:lnTo>
                  <a:pt x="42" y="2"/>
                </a:lnTo>
                <a:lnTo>
                  <a:pt x="48" y="2"/>
                </a:lnTo>
                <a:lnTo>
                  <a:pt x="54" y="2"/>
                </a:lnTo>
                <a:lnTo>
                  <a:pt x="60" y="2"/>
                </a:lnTo>
                <a:lnTo>
                  <a:pt x="54" y="14"/>
                </a:lnTo>
                <a:lnTo>
                  <a:pt x="54" y="20"/>
                </a:lnTo>
                <a:lnTo>
                  <a:pt x="58" y="26"/>
                </a:lnTo>
                <a:lnTo>
                  <a:pt x="64" y="30"/>
                </a:lnTo>
                <a:lnTo>
                  <a:pt x="56" y="52"/>
                </a:lnTo>
                <a:lnTo>
                  <a:pt x="56" y="60"/>
                </a:lnTo>
                <a:lnTo>
                  <a:pt x="50" y="58"/>
                </a:lnTo>
                <a:lnTo>
                  <a:pt x="42" y="56"/>
                </a:lnTo>
                <a:lnTo>
                  <a:pt x="36" y="54"/>
                </a:lnTo>
                <a:lnTo>
                  <a:pt x="32" y="54"/>
                </a:lnTo>
                <a:lnTo>
                  <a:pt x="32" y="60"/>
                </a:lnTo>
                <a:lnTo>
                  <a:pt x="30" y="64"/>
                </a:lnTo>
                <a:lnTo>
                  <a:pt x="28" y="64"/>
                </a:lnTo>
                <a:lnTo>
                  <a:pt x="22" y="64"/>
                </a:lnTo>
                <a:lnTo>
                  <a:pt x="18" y="60"/>
                </a:lnTo>
                <a:lnTo>
                  <a:pt x="12" y="46"/>
                </a:lnTo>
                <a:lnTo>
                  <a:pt x="0" y="32"/>
                </a:lnTo>
                <a:lnTo>
                  <a:pt x="2" y="22"/>
                </a:lnTo>
                <a:lnTo>
                  <a:pt x="8" y="14"/>
                </a:lnTo>
                <a:lnTo>
                  <a:pt x="12" y="8"/>
                </a:lnTo>
                <a:lnTo>
                  <a:pt x="14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43" name="Freeform 80">
            <a:extLst>
              <a:ext uri="{FF2B5EF4-FFF2-40B4-BE49-F238E27FC236}">
                <a16:creationId xmlns:a16="http://schemas.microsoft.com/office/drawing/2014/main" id="{C163E01A-6AAA-4E24-98B1-945BE03C1A92}"/>
              </a:ext>
            </a:extLst>
          </p:cNvPr>
          <p:cNvSpPr>
            <a:spLocks/>
          </p:cNvSpPr>
          <p:nvPr/>
        </p:nvSpPr>
        <p:spPr bwMode="gray">
          <a:xfrm>
            <a:off x="1674733" y="2401458"/>
            <a:ext cx="143796" cy="194943"/>
          </a:xfrm>
          <a:custGeom>
            <a:avLst/>
            <a:gdLst>
              <a:gd name="T0" fmla="*/ 6 w 198"/>
              <a:gd name="T1" fmla="*/ 60 h 292"/>
              <a:gd name="T2" fmla="*/ 16 w 198"/>
              <a:gd name="T3" fmla="*/ 54 h 292"/>
              <a:gd name="T4" fmla="*/ 24 w 198"/>
              <a:gd name="T5" fmla="*/ 68 h 292"/>
              <a:gd name="T6" fmla="*/ 44 w 198"/>
              <a:gd name="T7" fmla="*/ 70 h 292"/>
              <a:gd name="T8" fmla="*/ 54 w 198"/>
              <a:gd name="T9" fmla="*/ 52 h 292"/>
              <a:gd name="T10" fmla="*/ 72 w 198"/>
              <a:gd name="T11" fmla="*/ 40 h 292"/>
              <a:gd name="T12" fmla="*/ 84 w 198"/>
              <a:gd name="T13" fmla="*/ 34 h 292"/>
              <a:gd name="T14" fmla="*/ 94 w 198"/>
              <a:gd name="T15" fmla="*/ 18 h 292"/>
              <a:gd name="T16" fmla="*/ 104 w 198"/>
              <a:gd name="T17" fmla="*/ 2 h 292"/>
              <a:gd name="T18" fmla="*/ 114 w 198"/>
              <a:gd name="T19" fmla="*/ 14 h 292"/>
              <a:gd name="T20" fmla="*/ 126 w 198"/>
              <a:gd name="T21" fmla="*/ 26 h 292"/>
              <a:gd name="T22" fmla="*/ 172 w 198"/>
              <a:gd name="T23" fmla="*/ 36 h 292"/>
              <a:gd name="T24" fmla="*/ 176 w 198"/>
              <a:gd name="T25" fmla="*/ 48 h 292"/>
              <a:gd name="T26" fmla="*/ 172 w 198"/>
              <a:gd name="T27" fmla="*/ 64 h 292"/>
              <a:gd name="T28" fmla="*/ 172 w 198"/>
              <a:gd name="T29" fmla="*/ 68 h 292"/>
              <a:gd name="T30" fmla="*/ 142 w 198"/>
              <a:gd name="T31" fmla="*/ 76 h 292"/>
              <a:gd name="T32" fmla="*/ 130 w 198"/>
              <a:gd name="T33" fmla="*/ 98 h 292"/>
              <a:gd name="T34" fmla="*/ 116 w 198"/>
              <a:gd name="T35" fmla="*/ 116 h 292"/>
              <a:gd name="T36" fmla="*/ 124 w 198"/>
              <a:gd name="T37" fmla="*/ 138 h 292"/>
              <a:gd name="T38" fmla="*/ 144 w 198"/>
              <a:gd name="T39" fmla="*/ 158 h 292"/>
              <a:gd name="T40" fmla="*/ 162 w 198"/>
              <a:gd name="T41" fmla="*/ 156 h 292"/>
              <a:gd name="T42" fmla="*/ 172 w 198"/>
              <a:gd name="T43" fmla="*/ 154 h 292"/>
              <a:gd name="T44" fmla="*/ 170 w 198"/>
              <a:gd name="T45" fmla="*/ 172 h 292"/>
              <a:gd name="T46" fmla="*/ 188 w 198"/>
              <a:gd name="T47" fmla="*/ 174 h 292"/>
              <a:gd name="T48" fmla="*/ 198 w 198"/>
              <a:gd name="T49" fmla="*/ 208 h 292"/>
              <a:gd name="T50" fmla="*/ 196 w 198"/>
              <a:gd name="T51" fmla="*/ 228 h 292"/>
              <a:gd name="T52" fmla="*/ 190 w 198"/>
              <a:gd name="T53" fmla="*/ 240 h 292"/>
              <a:gd name="T54" fmla="*/ 192 w 198"/>
              <a:gd name="T55" fmla="*/ 256 h 292"/>
              <a:gd name="T56" fmla="*/ 194 w 198"/>
              <a:gd name="T57" fmla="*/ 268 h 292"/>
              <a:gd name="T58" fmla="*/ 184 w 198"/>
              <a:gd name="T59" fmla="*/ 282 h 292"/>
              <a:gd name="T60" fmla="*/ 174 w 198"/>
              <a:gd name="T61" fmla="*/ 292 h 292"/>
              <a:gd name="T62" fmla="*/ 140 w 198"/>
              <a:gd name="T63" fmla="*/ 268 h 292"/>
              <a:gd name="T64" fmla="*/ 100 w 198"/>
              <a:gd name="T65" fmla="*/ 248 h 292"/>
              <a:gd name="T66" fmla="*/ 76 w 198"/>
              <a:gd name="T67" fmla="*/ 222 h 292"/>
              <a:gd name="T68" fmla="*/ 72 w 198"/>
              <a:gd name="T69" fmla="*/ 198 h 292"/>
              <a:gd name="T70" fmla="*/ 56 w 198"/>
              <a:gd name="T71" fmla="*/ 172 h 292"/>
              <a:gd name="T72" fmla="*/ 36 w 198"/>
              <a:gd name="T73" fmla="*/ 132 h 292"/>
              <a:gd name="T74" fmla="*/ 16 w 198"/>
              <a:gd name="T75" fmla="*/ 102 h 292"/>
              <a:gd name="T76" fmla="*/ 6 w 198"/>
              <a:gd name="T77" fmla="*/ 84 h 292"/>
              <a:gd name="T78" fmla="*/ 2 w 198"/>
              <a:gd name="T79" fmla="*/ 68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98" h="292">
                <a:moveTo>
                  <a:pt x="2" y="68"/>
                </a:moveTo>
                <a:lnTo>
                  <a:pt x="6" y="60"/>
                </a:lnTo>
                <a:lnTo>
                  <a:pt x="10" y="54"/>
                </a:lnTo>
                <a:lnTo>
                  <a:pt x="16" y="54"/>
                </a:lnTo>
                <a:lnTo>
                  <a:pt x="16" y="66"/>
                </a:lnTo>
                <a:lnTo>
                  <a:pt x="24" y="68"/>
                </a:lnTo>
                <a:lnTo>
                  <a:pt x="34" y="78"/>
                </a:lnTo>
                <a:lnTo>
                  <a:pt x="44" y="70"/>
                </a:lnTo>
                <a:lnTo>
                  <a:pt x="48" y="60"/>
                </a:lnTo>
                <a:lnTo>
                  <a:pt x="54" y="52"/>
                </a:lnTo>
                <a:lnTo>
                  <a:pt x="60" y="46"/>
                </a:lnTo>
                <a:lnTo>
                  <a:pt x="72" y="40"/>
                </a:lnTo>
                <a:lnTo>
                  <a:pt x="80" y="36"/>
                </a:lnTo>
                <a:lnTo>
                  <a:pt x="84" y="34"/>
                </a:lnTo>
                <a:lnTo>
                  <a:pt x="90" y="26"/>
                </a:lnTo>
                <a:lnTo>
                  <a:pt x="94" y="18"/>
                </a:lnTo>
                <a:lnTo>
                  <a:pt x="96" y="0"/>
                </a:lnTo>
                <a:lnTo>
                  <a:pt x="104" y="2"/>
                </a:lnTo>
                <a:lnTo>
                  <a:pt x="110" y="10"/>
                </a:lnTo>
                <a:lnTo>
                  <a:pt x="114" y="14"/>
                </a:lnTo>
                <a:lnTo>
                  <a:pt x="120" y="20"/>
                </a:lnTo>
                <a:lnTo>
                  <a:pt x="126" y="26"/>
                </a:lnTo>
                <a:lnTo>
                  <a:pt x="130" y="34"/>
                </a:lnTo>
                <a:lnTo>
                  <a:pt x="172" y="36"/>
                </a:lnTo>
                <a:lnTo>
                  <a:pt x="174" y="42"/>
                </a:lnTo>
                <a:lnTo>
                  <a:pt x="176" y="48"/>
                </a:lnTo>
                <a:lnTo>
                  <a:pt x="172" y="54"/>
                </a:lnTo>
                <a:lnTo>
                  <a:pt x="172" y="64"/>
                </a:lnTo>
                <a:lnTo>
                  <a:pt x="178" y="68"/>
                </a:lnTo>
                <a:lnTo>
                  <a:pt x="172" y="68"/>
                </a:lnTo>
                <a:lnTo>
                  <a:pt x="156" y="70"/>
                </a:lnTo>
                <a:lnTo>
                  <a:pt x="142" y="76"/>
                </a:lnTo>
                <a:lnTo>
                  <a:pt x="132" y="88"/>
                </a:lnTo>
                <a:lnTo>
                  <a:pt x="130" y="98"/>
                </a:lnTo>
                <a:lnTo>
                  <a:pt x="124" y="104"/>
                </a:lnTo>
                <a:lnTo>
                  <a:pt x="116" y="116"/>
                </a:lnTo>
                <a:lnTo>
                  <a:pt x="120" y="126"/>
                </a:lnTo>
                <a:lnTo>
                  <a:pt x="124" y="138"/>
                </a:lnTo>
                <a:lnTo>
                  <a:pt x="134" y="148"/>
                </a:lnTo>
                <a:lnTo>
                  <a:pt x="144" y="158"/>
                </a:lnTo>
                <a:lnTo>
                  <a:pt x="152" y="160"/>
                </a:lnTo>
                <a:lnTo>
                  <a:pt x="162" y="156"/>
                </a:lnTo>
                <a:lnTo>
                  <a:pt x="170" y="148"/>
                </a:lnTo>
                <a:lnTo>
                  <a:pt x="172" y="154"/>
                </a:lnTo>
                <a:lnTo>
                  <a:pt x="168" y="166"/>
                </a:lnTo>
                <a:lnTo>
                  <a:pt x="170" y="172"/>
                </a:lnTo>
                <a:lnTo>
                  <a:pt x="176" y="172"/>
                </a:lnTo>
                <a:lnTo>
                  <a:pt x="188" y="174"/>
                </a:lnTo>
                <a:lnTo>
                  <a:pt x="198" y="200"/>
                </a:lnTo>
                <a:lnTo>
                  <a:pt x="198" y="208"/>
                </a:lnTo>
                <a:lnTo>
                  <a:pt x="196" y="222"/>
                </a:lnTo>
                <a:lnTo>
                  <a:pt x="196" y="228"/>
                </a:lnTo>
                <a:lnTo>
                  <a:pt x="194" y="230"/>
                </a:lnTo>
                <a:lnTo>
                  <a:pt x="190" y="240"/>
                </a:lnTo>
                <a:lnTo>
                  <a:pt x="188" y="250"/>
                </a:lnTo>
                <a:lnTo>
                  <a:pt x="192" y="256"/>
                </a:lnTo>
                <a:lnTo>
                  <a:pt x="198" y="262"/>
                </a:lnTo>
                <a:lnTo>
                  <a:pt x="194" y="268"/>
                </a:lnTo>
                <a:lnTo>
                  <a:pt x="186" y="276"/>
                </a:lnTo>
                <a:lnTo>
                  <a:pt x="184" y="282"/>
                </a:lnTo>
                <a:lnTo>
                  <a:pt x="180" y="290"/>
                </a:lnTo>
                <a:lnTo>
                  <a:pt x="174" y="292"/>
                </a:lnTo>
                <a:lnTo>
                  <a:pt x="158" y="278"/>
                </a:lnTo>
                <a:lnTo>
                  <a:pt x="140" y="268"/>
                </a:lnTo>
                <a:lnTo>
                  <a:pt x="118" y="258"/>
                </a:lnTo>
                <a:lnTo>
                  <a:pt x="100" y="248"/>
                </a:lnTo>
                <a:lnTo>
                  <a:pt x="90" y="236"/>
                </a:lnTo>
                <a:lnTo>
                  <a:pt x="76" y="222"/>
                </a:lnTo>
                <a:lnTo>
                  <a:pt x="82" y="214"/>
                </a:lnTo>
                <a:lnTo>
                  <a:pt x="72" y="198"/>
                </a:lnTo>
                <a:lnTo>
                  <a:pt x="64" y="186"/>
                </a:lnTo>
                <a:lnTo>
                  <a:pt x="56" y="172"/>
                </a:lnTo>
                <a:lnTo>
                  <a:pt x="48" y="152"/>
                </a:lnTo>
                <a:lnTo>
                  <a:pt x="36" y="132"/>
                </a:lnTo>
                <a:lnTo>
                  <a:pt x="26" y="112"/>
                </a:lnTo>
                <a:lnTo>
                  <a:pt x="16" y="102"/>
                </a:lnTo>
                <a:lnTo>
                  <a:pt x="4" y="96"/>
                </a:lnTo>
                <a:lnTo>
                  <a:pt x="6" y="84"/>
                </a:lnTo>
                <a:lnTo>
                  <a:pt x="0" y="78"/>
                </a:lnTo>
                <a:lnTo>
                  <a:pt x="2" y="68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44" name="Freeform 81">
            <a:extLst>
              <a:ext uri="{FF2B5EF4-FFF2-40B4-BE49-F238E27FC236}">
                <a16:creationId xmlns:a16="http://schemas.microsoft.com/office/drawing/2014/main" id="{DD60D9AA-F3FC-4B08-9F08-819A57AA7AF3}"/>
              </a:ext>
            </a:extLst>
          </p:cNvPr>
          <p:cNvSpPr>
            <a:spLocks/>
          </p:cNvSpPr>
          <p:nvPr/>
        </p:nvSpPr>
        <p:spPr bwMode="gray">
          <a:xfrm>
            <a:off x="1811266" y="2505605"/>
            <a:ext cx="136533" cy="142869"/>
          </a:xfrm>
          <a:custGeom>
            <a:avLst/>
            <a:gdLst>
              <a:gd name="T0" fmla="*/ 54 w 188"/>
              <a:gd name="T1" fmla="*/ 0 h 214"/>
              <a:gd name="T2" fmla="*/ 68 w 188"/>
              <a:gd name="T3" fmla="*/ 28 h 214"/>
              <a:gd name="T4" fmla="*/ 100 w 188"/>
              <a:gd name="T5" fmla="*/ 44 h 214"/>
              <a:gd name="T6" fmla="*/ 122 w 188"/>
              <a:gd name="T7" fmla="*/ 56 h 214"/>
              <a:gd name="T8" fmla="*/ 146 w 188"/>
              <a:gd name="T9" fmla="*/ 74 h 214"/>
              <a:gd name="T10" fmla="*/ 146 w 188"/>
              <a:gd name="T11" fmla="*/ 90 h 214"/>
              <a:gd name="T12" fmla="*/ 160 w 188"/>
              <a:gd name="T13" fmla="*/ 102 h 214"/>
              <a:gd name="T14" fmla="*/ 174 w 188"/>
              <a:gd name="T15" fmla="*/ 110 h 214"/>
              <a:gd name="T16" fmla="*/ 186 w 188"/>
              <a:gd name="T17" fmla="*/ 126 h 214"/>
              <a:gd name="T18" fmla="*/ 188 w 188"/>
              <a:gd name="T19" fmla="*/ 142 h 214"/>
              <a:gd name="T20" fmla="*/ 184 w 188"/>
              <a:gd name="T21" fmla="*/ 162 h 214"/>
              <a:gd name="T22" fmla="*/ 174 w 188"/>
              <a:gd name="T23" fmla="*/ 160 h 214"/>
              <a:gd name="T24" fmla="*/ 152 w 188"/>
              <a:gd name="T25" fmla="*/ 152 h 214"/>
              <a:gd name="T26" fmla="*/ 126 w 188"/>
              <a:gd name="T27" fmla="*/ 158 h 214"/>
              <a:gd name="T28" fmla="*/ 114 w 188"/>
              <a:gd name="T29" fmla="*/ 174 h 214"/>
              <a:gd name="T30" fmla="*/ 112 w 188"/>
              <a:gd name="T31" fmla="*/ 194 h 214"/>
              <a:gd name="T32" fmla="*/ 90 w 188"/>
              <a:gd name="T33" fmla="*/ 198 h 214"/>
              <a:gd name="T34" fmla="*/ 74 w 188"/>
              <a:gd name="T35" fmla="*/ 200 h 214"/>
              <a:gd name="T36" fmla="*/ 52 w 188"/>
              <a:gd name="T37" fmla="*/ 196 h 214"/>
              <a:gd name="T38" fmla="*/ 40 w 188"/>
              <a:gd name="T39" fmla="*/ 210 h 214"/>
              <a:gd name="T40" fmla="*/ 32 w 188"/>
              <a:gd name="T41" fmla="*/ 214 h 214"/>
              <a:gd name="T42" fmla="*/ 28 w 188"/>
              <a:gd name="T43" fmla="*/ 214 h 214"/>
              <a:gd name="T44" fmla="*/ 22 w 188"/>
              <a:gd name="T45" fmla="*/ 186 h 214"/>
              <a:gd name="T46" fmla="*/ 14 w 188"/>
              <a:gd name="T47" fmla="*/ 156 h 214"/>
              <a:gd name="T48" fmla="*/ 2 w 188"/>
              <a:gd name="T49" fmla="*/ 126 h 214"/>
              <a:gd name="T50" fmla="*/ 6 w 188"/>
              <a:gd name="T51" fmla="*/ 112 h 214"/>
              <a:gd name="T52" fmla="*/ 4 w 188"/>
              <a:gd name="T53" fmla="*/ 100 h 214"/>
              <a:gd name="T54" fmla="*/ 2 w 188"/>
              <a:gd name="T55" fmla="*/ 84 h 214"/>
              <a:gd name="T56" fmla="*/ 8 w 188"/>
              <a:gd name="T57" fmla="*/ 72 h 214"/>
              <a:gd name="T58" fmla="*/ 10 w 188"/>
              <a:gd name="T59" fmla="*/ 44 h 214"/>
              <a:gd name="T60" fmla="*/ 10 w 188"/>
              <a:gd name="T61" fmla="*/ 18 h 214"/>
              <a:gd name="T62" fmla="*/ 34 w 188"/>
              <a:gd name="T63" fmla="*/ 10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88" h="214">
                <a:moveTo>
                  <a:pt x="42" y="4"/>
                </a:moveTo>
                <a:lnTo>
                  <a:pt x="54" y="0"/>
                </a:lnTo>
                <a:lnTo>
                  <a:pt x="66" y="0"/>
                </a:lnTo>
                <a:lnTo>
                  <a:pt x="68" y="28"/>
                </a:lnTo>
                <a:lnTo>
                  <a:pt x="80" y="40"/>
                </a:lnTo>
                <a:lnTo>
                  <a:pt x="100" y="44"/>
                </a:lnTo>
                <a:lnTo>
                  <a:pt x="104" y="50"/>
                </a:lnTo>
                <a:lnTo>
                  <a:pt x="122" y="56"/>
                </a:lnTo>
                <a:lnTo>
                  <a:pt x="142" y="62"/>
                </a:lnTo>
                <a:lnTo>
                  <a:pt x="146" y="74"/>
                </a:lnTo>
                <a:lnTo>
                  <a:pt x="148" y="82"/>
                </a:lnTo>
                <a:lnTo>
                  <a:pt x="146" y="90"/>
                </a:lnTo>
                <a:lnTo>
                  <a:pt x="148" y="102"/>
                </a:lnTo>
                <a:lnTo>
                  <a:pt x="160" y="102"/>
                </a:lnTo>
                <a:lnTo>
                  <a:pt x="176" y="102"/>
                </a:lnTo>
                <a:lnTo>
                  <a:pt x="174" y="110"/>
                </a:lnTo>
                <a:lnTo>
                  <a:pt x="176" y="122"/>
                </a:lnTo>
                <a:lnTo>
                  <a:pt x="186" y="126"/>
                </a:lnTo>
                <a:lnTo>
                  <a:pt x="188" y="136"/>
                </a:lnTo>
                <a:lnTo>
                  <a:pt x="188" y="142"/>
                </a:lnTo>
                <a:lnTo>
                  <a:pt x="180" y="156"/>
                </a:lnTo>
                <a:lnTo>
                  <a:pt x="184" y="162"/>
                </a:lnTo>
                <a:lnTo>
                  <a:pt x="180" y="166"/>
                </a:lnTo>
                <a:lnTo>
                  <a:pt x="174" y="160"/>
                </a:lnTo>
                <a:lnTo>
                  <a:pt x="164" y="154"/>
                </a:lnTo>
                <a:lnTo>
                  <a:pt x="152" y="152"/>
                </a:lnTo>
                <a:lnTo>
                  <a:pt x="136" y="154"/>
                </a:lnTo>
                <a:lnTo>
                  <a:pt x="126" y="158"/>
                </a:lnTo>
                <a:lnTo>
                  <a:pt x="120" y="160"/>
                </a:lnTo>
                <a:lnTo>
                  <a:pt x="114" y="174"/>
                </a:lnTo>
                <a:lnTo>
                  <a:pt x="114" y="184"/>
                </a:lnTo>
                <a:lnTo>
                  <a:pt x="112" y="194"/>
                </a:lnTo>
                <a:lnTo>
                  <a:pt x="108" y="198"/>
                </a:lnTo>
                <a:lnTo>
                  <a:pt x="90" y="198"/>
                </a:lnTo>
                <a:lnTo>
                  <a:pt x="84" y="212"/>
                </a:lnTo>
                <a:lnTo>
                  <a:pt x="74" y="200"/>
                </a:lnTo>
                <a:lnTo>
                  <a:pt x="60" y="202"/>
                </a:lnTo>
                <a:lnTo>
                  <a:pt x="52" y="196"/>
                </a:lnTo>
                <a:lnTo>
                  <a:pt x="44" y="202"/>
                </a:lnTo>
                <a:lnTo>
                  <a:pt x="40" y="210"/>
                </a:lnTo>
                <a:lnTo>
                  <a:pt x="38" y="214"/>
                </a:lnTo>
                <a:lnTo>
                  <a:pt x="32" y="214"/>
                </a:lnTo>
                <a:lnTo>
                  <a:pt x="30" y="214"/>
                </a:lnTo>
                <a:lnTo>
                  <a:pt x="28" y="214"/>
                </a:lnTo>
                <a:lnTo>
                  <a:pt x="26" y="200"/>
                </a:lnTo>
                <a:lnTo>
                  <a:pt x="22" y="186"/>
                </a:lnTo>
                <a:lnTo>
                  <a:pt x="14" y="174"/>
                </a:lnTo>
                <a:lnTo>
                  <a:pt x="14" y="156"/>
                </a:lnTo>
                <a:lnTo>
                  <a:pt x="8" y="144"/>
                </a:lnTo>
                <a:lnTo>
                  <a:pt x="2" y="126"/>
                </a:lnTo>
                <a:lnTo>
                  <a:pt x="0" y="118"/>
                </a:lnTo>
                <a:lnTo>
                  <a:pt x="6" y="112"/>
                </a:lnTo>
                <a:lnTo>
                  <a:pt x="10" y="106"/>
                </a:lnTo>
                <a:lnTo>
                  <a:pt x="4" y="100"/>
                </a:lnTo>
                <a:lnTo>
                  <a:pt x="0" y="94"/>
                </a:lnTo>
                <a:lnTo>
                  <a:pt x="2" y="84"/>
                </a:lnTo>
                <a:lnTo>
                  <a:pt x="6" y="74"/>
                </a:lnTo>
                <a:lnTo>
                  <a:pt x="8" y="72"/>
                </a:lnTo>
                <a:lnTo>
                  <a:pt x="8" y="66"/>
                </a:lnTo>
                <a:lnTo>
                  <a:pt x="10" y="44"/>
                </a:lnTo>
                <a:lnTo>
                  <a:pt x="0" y="18"/>
                </a:lnTo>
                <a:lnTo>
                  <a:pt x="10" y="18"/>
                </a:lnTo>
                <a:lnTo>
                  <a:pt x="20" y="16"/>
                </a:lnTo>
                <a:lnTo>
                  <a:pt x="34" y="10"/>
                </a:lnTo>
                <a:lnTo>
                  <a:pt x="42" y="4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45" name="Freeform 82">
            <a:extLst>
              <a:ext uri="{FF2B5EF4-FFF2-40B4-BE49-F238E27FC236}">
                <a16:creationId xmlns:a16="http://schemas.microsoft.com/office/drawing/2014/main" id="{E9859FEA-8051-447E-9C42-CA7A958F92C3}"/>
              </a:ext>
            </a:extLst>
          </p:cNvPr>
          <p:cNvSpPr>
            <a:spLocks/>
          </p:cNvSpPr>
          <p:nvPr/>
        </p:nvSpPr>
        <p:spPr bwMode="gray">
          <a:xfrm>
            <a:off x="1889700" y="2607082"/>
            <a:ext cx="97316" cy="93466"/>
          </a:xfrm>
          <a:custGeom>
            <a:avLst/>
            <a:gdLst>
              <a:gd name="T0" fmla="*/ 108 w 134"/>
              <a:gd name="T1" fmla="*/ 136 h 140"/>
              <a:gd name="T2" fmla="*/ 94 w 134"/>
              <a:gd name="T3" fmla="*/ 140 h 140"/>
              <a:gd name="T4" fmla="*/ 72 w 134"/>
              <a:gd name="T5" fmla="*/ 140 h 140"/>
              <a:gd name="T6" fmla="*/ 66 w 134"/>
              <a:gd name="T7" fmla="*/ 132 h 140"/>
              <a:gd name="T8" fmla="*/ 72 w 134"/>
              <a:gd name="T9" fmla="*/ 118 h 140"/>
              <a:gd name="T10" fmla="*/ 80 w 134"/>
              <a:gd name="T11" fmla="*/ 106 h 140"/>
              <a:gd name="T12" fmla="*/ 74 w 134"/>
              <a:gd name="T13" fmla="*/ 98 h 140"/>
              <a:gd name="T14" fmla="*/ 54 w 134"/>
              <a:gd name="T15" fmla="*/ 90 h 140"/>
              <a:gd name="T16" fmla="*/ 38 w 134"/>
              <a:gd name="T17" fmla="*/ 78 h 140"/>
              <a:gd name="T18" fmla="*/ 30 w 134"/>
              <a:gd name="T19" fmla="*/ 78 h 140"/>
              <a:gd name="T20" fmla="*/ 20 w 134"/>
              <a:gd name="T21" fmla="*/ 72 h 140"/>
              <a:gd name="T22" fmla="*/ 8 w 134"/>
              <a:gd name="T23" fmla="*/ 60 h 140"/>
              <a:gd name="T24" fmla="*/ 2 w 134"/>
              <a:gd name="T25" fmla="*/ 52 h 140"/>
              <a:gd name="T26" fmla="*/ 0 w 134"/>
              <a:gd name="T27" fmla="*/ 46 h 140"/>
              <a:gd name="T28" fmla="*/ 4 w 134"/>
              <a:gd name="T29" fmla="*/ 42 h 140"/>
              <a:gd name="T30" fmla="*/ 6 w 134"/>
              <a:gd name="T31" fmla="*/ 32 h 140"/>
              <a:gd name="T32" fmla="*/ 6 w 134"/>
              <a:gd name="T33" fmla="*/ 22 h 140"/>
              <a:gd name="T34" fmla="*/ 12 w 134"/>
              <a:gd name="T35" fmla="*/ 8 h 140"/>
              <a:gd name="T36" fmla="*/ 28 w 134"/>
              <a:gd name="T37" fmla="*/ 2 h 140"/>
              <a:gd name="T38" fmla="*/ 44 w 134"/>
              <a:gd name="T39" fmla="*/ 0 h 140"/>
              <a:gd name="T40" fmla="*/ 56 w 134"/>
              <a:gd name="T41" fmla="*/ 2 h 140"/>
              <a:gd name="T42" fmla="*/ 66 w 134"/>
              <a:gd name="T43" fmla="*/ 8 h 140"/>
              <a:gd name="T44" fmla="*/ 72 w 134"/>
              <a:gd name="T45" fmla="*/ 14 h 140"/>
              <a:gd name="T46" fmla="*/ 76 w 134"/>
              <a:gd name="T47" fmla="*/ 22 h 140"/>
              <a:gd name="T48" fmla="*/ 76 w 134"/>
              <a:gd name="T49" fmla="*/ 34 h 140"/>
              <a:gd name="T50" fmla="*/ 76 w 134"/>
              <a:gd name="T51" fmla="*/ 50 h 140"/>
              <a:gd name="T52" fmla="*/ 86 w 134"/>
              <a:gd name="T53" fmla="*/ 50 h 140"/>
              <a:gd name="T54" fmla="*/ 94 w 134"/>
              <a:gd name="T55" fmla="*/ 48 h 140"/>
              <a:gd name="T56" fmla="*/ 104 w 134"/>
              <a:gd name="T57" fmla="*/ 50 h 140"/>
              <a:gd name="T58" fmla="*/ 110 w 134"/>
              <a:gd name="T59" fmla="*/ 54 h 140"/>
              <a:gd name="T60" fmla="*/ 108 w 134"/>
              <a:gd name="T61" fmla="*/ 64 h 140"/>
              <a:gd name="T62" fmla="*/ 112 w 134"/>
              <a:gd name="T63" fmla="*/ 74 h 140"/>
              <a:gd name="T64" fmla="*/ 120 w 134"/>
              <a:gd name="T65" fmla="*/ 82 h 140"/>
              <a:gd name="T66" fmla="*/ 128 w 134"/>
              <a:gd name="T67" fmla="*/ 80 h 140"/>
              <a:gd name="T68" fmla="*/ 134 w 134"/>
              <a:gd name="T69" fmla="*/ 82 h 140"/>
              <a:gd name="T70" fmla="*/ 132 w 134"/>
              <a:gd name="T71" fmla="*/ 90 h 140"/>
              <a:gd name="T72" fmla="*/ 128 w 134"/>
              <a:gd name="T73" fmla="*/ 100 h 140"/>
              <a:gd name="T74" fmla="*/ 128 w 134"/>
              <a:gd name="T75" fmla="*/ 114 h 140"/>
              <a:gd name="T76" fmla="*/ 126 w 134"/>
              <a:gd name="T77" fmla="*/ 120 h 140"/>
              <a:gd name="T78" fmla="*/ 122 w 134"/>
              <a:gd name="T79" fmla="*/ 128 h 140"/>
              <a:gd name="T80" fmla="*/ 112 w 134"/>
              <a:gd name="T81" fmla="*/ 134 h 140"/>
              <a:gd name="T82" fmla="*/ 108 w 134"/>
              <a:gd name="T83" fmla="*/ 136 h 1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34" h="140">
                <a:moveTo>
                  <a:pt x="108" y="136"/>
                </a:moveTo>
                <a:lnTo>
                  <a:pt x="94" y="140"/>
                </a:lnTo>
                <a:lnTo>
                  <a:pt x="72" y="140"/>
                </a:lnTo>
                <a:lnTo>
                  <a:pt x="66" y="132"/>
                </a:lnTo>
                <a:lnTo>
                  <a:pt x="72" y="118"/>
                </a:lnTo>
                <a:lnTo>
                  <a:pt x="80" y="106"/>
                </a:lnTo>
                <a:lnTo>
                  <a:pt x="74" y="98"/>
                </a:lnTo>
                <a:lnTo>
                  <a:pt x="54" y="90"/>
                </a:lnTo>
                <a:lnTo>
                  <a:pt x="38" y="78"/>
                </a:lnTo>
                <a:lnTo>
                  <a:pt x="30" y="78"/>
                </a:lnTo>
                <a:lnTo>
                  <a:pt x="20" y="72"/>
                </a:lnTo>
                <a:lnTo>
                  <a:pt x="8" y="60"/>
                </a:lnTo>
                <a:lnTo>
                  <a:pt x="2" y="52"/>
                </a:lnTo>
                <a:lnTo>
                  <a:pt x="0" y="46"/>
                </a:lnTo>
                <a:lnTo>
                  <a:pt x="4" y="42"/>
                </a:lnTo>
                <a:lnTo>
                  <a:pt x="6" y="32"/>
                </a:lnTo>
                <a:lnTo>
                  <a:pt x="6" y="22"/>
                </a:lnTo>
                <a:lnTo>
                  <a:pt x="12" y="8"/>
                </a:lnTo>
                <a:lnTo>
                  <a:pt x="28" y="2"/>
                </a:lnTo>
                <a:lnTo>
                  <a:pt x="44" y="0"/>
                </a:lnTo>
                <a:lnTo>
                  <a:pt x="56" y="2"/>
                </a:lnTo>
                <a:lnTo>
                  <a:pt x="66" y="8"/>
                </a:lnTo>
                <a:lnTo>
                  <a:pt x="72" y="14"/>
                </a:lnTo>
                <a:lnTo>
                  <a:pt x="76" y="22"/>
                </a:lnTo>
                <a:lnTo>
                  <a:pt x="76" y="34"/>
                </a:lnTo>
                <a:lnTo>
                  <a:pt x="76" y="50"/>
                </a:lnTo>
                <a:lnTo>
                  <a:pt x="86" y="50"/>
                </a:lnTo>
                <a:lnTo>
                  <a:pt x="94" y="48"/>
                </a:lnTo>
                <a:lnTo>
                  <a:pt x="104" y="50"/>
                </a:lnTo>
                <a:lnTo>
                  <a:pt x="110" y="54"/>
                </a:lnTo>
                <a:lnTo>
                  <a:pt x="108" y="64"/>
                </a:lnTo>
                <a:lnTo>
                  <a:pt x="112" y="74"/>
                </a:lnTo>
                <a:lnTo>
                  <a:pt x="120" y="82"/>
                </a:lnTo>
                <a:lnTo>
                  <a:pt x="128" y="80"/>
                </a:lnTo>
                <a:lnTo>
                  <a:pt x="134" y="82"/>
                </a:lnTo>
                <a:lnTo>
                  <a:pt x="132" y="90"/>
                </a:lnTo>
                <a:lnTo>
                  <a:pt x="128" y="100"/>
                </a:lnTo>
                <a:lnTo>
                  <a:pt x="128" y="114"/>
                </a:lnTo>
                <a:lnTo>
                  <a:pt x="126" y="120"/>
                </a:lnTo>
                <a:lnTo>
                  <a:pt x="122" y="128"/>
                </a:lnTo>
                <a:lnTo>
                  <a:pt x="112" y="134"/>
                </a:lnTo>
                <a:lnTo>
                  <a:pt x="108" y="13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46" name="Freeform 83">
            <a:extLst>
              <a:ext uri="{FF2B5EF4-FFF2-40B4-BE49-F238E27FC236}">
                <a16:creationId xmlns:a16="http://schemas.microsoft.com/office/drawing/2014/main" id="{CD611654-C60B-40FD-950D-EBAB34763E60}"/>
              </a:ext>
            </a:extLst>
          </p:cNvPr>
          <p:cNvSpPr>
            <a:spLocks/>
          </p:cNvSpPr>
          <p:nvPr/>
        </p:nvSpPr>
        <p:spPr bwMode="gray">
          <a:xfrm>
            <a:off x="1939084" y="2727252"/>
            <a:ext cx="61004" cy="60085"/>
          </a:xfrm>
          <a:custGeom>
            <a:avLst/>
            <a:gdLst>
              <a:gd name="T0" fmla="*/ 20 w 84"/>
              <a:gd name="T1" fmla="*/ 0 h 90"/>
              <a:gd name="T2" fmla="*/ 30 w 84"/>
              <a:gd name="T3" fmla="*/ 8 h 90"/>
              <a:gd name="T4" fmla="*/ 38 w 84"/>
              <a:gd name="T5" fmla="*/ 18 h 90"/>
              <a:gd name="T6" fmla="*/ 46 w 84"/>
              <a:gd name="T7" fmla="*/ 20 h 90"/>
              <a:gd name="T8" fmla="*/ 60 w 84"/>
              <a:gd name="T9" fmla="*/ 28 h 90"/>
              <a:gd name="T10" fmla="*/ 72 w 84"/>
              <a:gd name="T11" fmla="*/ 38 h 90"/>
              <a:gd name="T12" fmla="*/ 78 w 84"/>
              <a:gd name="T13" fmla="*/ 44 h 90"/>
              <a:gd name="T14" fmla="*/ 82 w 84"/>
              <a:gd name="T15" fmla="*/ 50 h 90"/>
              <a:gd name="T16" fmla="*/ 80 w 84"/>
              <a:gd name="T17" fmla="*/ 56 h 90"/>
              <a:gd name="T18" fmla="*/ 80 w 84"/>
              <a:gd name="T19" fmla="*/ 62 h 90"/>
              <a:gd name="T20" fmla="*/ 84 w 84"/>
              <a:gd name="T21" fmla="*/ 66 h 90"/>
              <a:gd name="T22" fmla="*/ 80 w 84"/>
              <a:gd name="T23" fmla="*/ 70 h 90"/>
              <a:gd name="T24" fmla="*/ 72 w 84"/>
              <a:gd name="T25" fmla="*/ 80 h 90"/>
              <a:gd name="T26" fmla="*/ 66 w 84"/>
              <a:gd name="T27" fmla="*/ 86 h 90"/>
              <a:gd name="T28" fmla="*/ 62 w 84"/>
              <a:gd name="T29" fmla="*/ 88 h 90"/>
              <a:gd name="T30" fmla="*/ 60 w 84"/>
              <a:gd name="T31" fmla="*/ 90 h 90"/>
              <a:gd name="T32" fmla="*/ 42 w 84"/>
              <a:gd name="T33" fmla="*/ 88 h 90"/>
              <a:gd name="T34" fmla="*/ 28 w 84"/>
              <a:gd name="T35" fmla="*/ 86 h 90"/>
              <a:gd name="T36" fmla="*/ 18 w 84"/>
              <a:gd name="T37" fmla="*/ 82 h 90"/>
              <a:gd name="T38" fmla="*/ 6 w 84"/>
              <a:gd name="T39" fmla="*/ 80 h 90"/>
              <a:gd name="T40" fmla="*/ 0 w 84"/>
              <a:gd name="T41" fmla="*/ 76 h 90"/>
              <a:gd name="T42" fmla="*/ 0 w 84"/>
              <a:gd name="T43" fmla="*/ 60 h 90"/>
              <a:gd name="T44" fmla="*/ 4 w 84"/>
              <a:gd name="T45" fmla="*/ 40 h 90"/>
              <a:gd name="T46" fmla="*/ 6 w 84"/>
              <a:gd name="T47" fmla="*/ 24 h 90"/>
              <a:gd name="T48" fmla="*/ 10 w 84"/>
              <a:gd name="T49" fmla="*/ 8 h 90"/>
              <a:gd name="T50" fmla="*/ 12 w 84"/>
              <a:gd name="T51" fmla="*/ 2 h 90"/>
              <a:gd name="T52" fmla="*/ 20 w 84"/>
              <a:gd name="T53" fmla="*/ 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84" h="90">
                <a:moveTo>
                  <a:pt x="20" y="0"/>
                </a:moveTo>
                <a:lnTo>
                  <a:pt x="30" y="8"/>
                </a:lnTo>
                <a:lnTo>
                  <a:pt x="38" y="18"/>
                </a:lnTo>
                <a:lnTo>
                  <a:pt x="46" y="20"/>
                </a:lnTo>
                <a:lnTo>
                  <a:pt x="60" y="28"/>
                </a:lnTo>
                <a:lnTo>
                  <a:pt x="72" y="38"/>
                </a:lnTo>
                <a:lnTo>
                  <a:pt x="78" y="44"/>
                </a:lnTo>
                <a:lnTo>
                  <a:pt x="82" y="50"/>
                </a:lnTo>
                <a:lnTo>
                  <a:pt x="80" y="56"/>
                </a:lnTo>
                <a:lnTo>
                  <a:pt x="80" y="62"/>
                </a:lnTo>
                <a:lnTo>
                  <a:pt x="84" y="66"/>
                </a:lnTo>
                <a:lnTo>
                  <a:pt x="80" y="70"/>
                </a:lnTo>
                <a:lnTo>
                  <a:pt x="72" y="80"/>
                </a:lnTo>
                <a:lnTo>
                  <a:pt x="66" y="86"/>
                </a:lnTo>
                <a:lnTo>
                  <a:pt x="62" y="88"/>
                </a:lnTo>
                <a:lnTo>
                  <a:pt x="60" y="90"/>
                </a:lnTo>
                <a:lnTo>
                  <a:pt x="42" y="88"/>
                </a:lnTo>
                <a:lnTo>
                  <a:pt x="28" y="86"/>
                </a:lnTo>
                <a:lnTo>
                  <a:pt x="18" y="82"/>
                </a:lnTo>
                <a:lnTo>
                  <a:pt x="6" y="80"/>
                </a:lnTo>
                <a:lnTo>
                  <a:pt x="0" y="76"/>
                </a:lnTo>
                <a:lnTo>
                  <a:pt x="0" y="60"/>
                </a:lnTo>
                <a:lnTo>
                  <a:pt x="4" y="40"/>
                </a:lnTo>
                <a:lnTo>
                  <a:pt x="6" y="24"/>
                </a:lnTo>
                <a:lnTo>
                  <a:pt x="10" y="8"/>
                </a:lnTo>
                <a:lnTo>
                  <a:pt x="12" y="2"/>
                </a:lnTo>
                <a:lnTo>
                  <a:pt x="20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47" name="Freeform 84">
            <a:extLst>
              <a:ext uri="{FF2B5EF4-FFF2-40B4-BE49-F238E27FC236}">
                <a16:creationId xmlns:a16="http://schemas.microsoft.com/office/drawing/2014/main" id="{03CBFB9B-A924-4F72-A569-32BD4C310140}"/>
              </a:ext>
            </a:extLst>
          </p:cNvPr>
          <p:cNvSpPr>
            <a:spLocks/>
          </p:cNvSpPr>
          <p:nvPr/>
        </p:nvSpPr>
        <p:spPr bwMode="gray">
          <a:xfrm>
            <a:off x="1764787" y="2636457"/>
            <a:ext cx="229492" cy="375198"/>
          </a:xfrm>
          <a:custGeom>
            <a:avLst/>
            <a:gdLst>
              <a:gd name="T0" fmla="*/ 108 w 316"/>
              <a:gd name="T1" fmla="*/ 6 h 562"/>
              <a:gd name="T2" fmla="*/ 138 w 316"/>
              <a:gd name="T3" fmla="*/ 4 h 562"/>
              <a:gd name="T4" fmla="*/ 172 w 316"/>
              <a:gd name="T5" fmla="*/ 2 h 562"/>
              <a:gd name="T6" fmla="*/ 190 w 316"/>
              <a:gd name="T7" fmla="*/ 26 h 562"/>
              <a:gd name="T8" fmla="*/ 210 w 316"/>
              <a:gd name="T9" fmla="*/ 34 h 562"/>
              <a:gd name="T10" fmla="*/ 236 w 316"/>
              <a:gd name="T11" fmla="*/ 50 h 562"/>
              <a:gd name="T12" fmla="*/ 246 w 316"/>
              <a:gd name="T13" fmla="*/ 72 h 562"/>
              <a:gd name="T14" fmla="*/ 266 w 316"/>
              <a:gd name="T15" fmla="*/ 96 h 562"/>
              <a:gd name="T16" fmla="*/ 294 w 316"/>
              <a:gd name="T17" fmla="*/ 84 h 562"/>
              <a:gd name="T18" fmla="*/ 310 w 316"/>
              <a:gd name="T19" fmla="*/ 62 h 562"/>
              <a:gd name="T20" fmla="*/ 312 w 316"/>
              <a:gd name="T21" fmla="*/ 88 h 562"/>
              <a:gd name="T22" fmla="*/ 292 w 316"/>
              <a:gd name="T23" fmla="*/ 104 h 562"/>
              <a:gd name="T24" fmla="*/ 268 w 316"/>
              <a:gd name="T25" fmla="*/ 128 h 562"/>
              <a:gd name="T26" fmla="*/ 252 w 316"/>
              <a:gd name="T27" fmla="*/ 138 h 562"/>
              <a:gd name="T28" fmla="*/ 240 w 316"/>
              <a:gd name="T29" fmla="*/ 192 h 562"/>
              <a:gd name="T30" fmla="*/ 234 w 316"/>
              <a:gd name="T31" fmla="*/ 222 h 562"/>
              <a:gd name="T32" fmla="*/ 258 w 316"/>
              <a:gd name="T33" fmla="*/ 236 h 562"/>
              <a:gd name="T34" fmla="*/ 266 w 316"/>
              <a:gd name="T35" fmla="*/ 254 h 562"/>
              <a:gd name="T36" fmla="*/ 240 w 316"/>
              <a:gd name="T37" fmla="*/ 294 h 562"/>
              <a:gd name="T38" fmla="*/ 190 w 316"/>
              <a:gd name="T39" fmla="*/ 300 h 562"/>
              <a:gd name="T40" fmla="*/ 180 w 316"/>
              <a:gd name="T41" fmla="*/ 314 h 562"/>
              <a:gd name="T42" fmla="*/ 162 w 316"/>
              <a:gd name="T43" fmla="*/ 342 h 562"/>
              <a:gd name="T44" fmla="*/ 136 w 316"/>
              <a:gd name="T45" fmla="*/ 332 h 562"/>
              <a:gd name="T46" fmla="*/ 136 w 316"/>
              <a:gd name="T47" fmla="*/ 362 h 562"/>
              <a:gd name="T48" fmla="*/ 150 w 316"/>
              <a:gd name="T49" fmla="*/ 362 h 562"/>
              <a:gd name="T50" fmla="*/ 158 w 316"/>
              <a:gd name="T51" fmla="*/ 370 h 562"/>
              <a:gd name="T52" fmla="*/ 146 w 316"/>
              <a:gd name="T53" fmla="*/ 368 h 562"/>
              <a:gd name="T54" fmla="*/ 140 w 316"/>
              <a:gd name="T55" fmla="*/ 376 h 562"/>
              <a:gd name="T56" fmla="*/ 132 w 316"/>
              <a:gd name="T57" fmla="*/ 396 h 562"/>
              <a:gd name="T58" fmla="*/ 118 w 316"/>
              <a:gd name="T59" fmla="*/ 414 h 562"/>
              <a:gd name="T60" fmla="*/ 96 w 316"/>
              <a:gd name="T61" fmla="*/ 444 h 562"/>
              <a:gd name="T62" fmla="*/ 112 w 316"/>
              <a:gd name="T63" fmla="*/ 456 h 562"/>
              <a:gd name="T64" fmla="*/ 118 w 316"/>
              <a:gd name="T65" fmla="*/ 474 h 562"/>
              <a:gd name="T66" fmla="*/ 90 w 316"/>
              <a:gd name="T67" fmla="*/ 510 h 562"/>
              <a:gd name="T68" fmla="*/ 70 w 316"/>
              <a:gd name="T69" fmla="*/ 524 h 562"/>
              <a:gd name="T70" fmla="*/ 72 w 316"/>
              <a:gd name="T71" fmla="*/ 552 h 562"/>
              <a:gd name="T72" fmla="*/ 60 w 316"/>
              <a:gd name="T73" fmla="*/ 558 h 562"/>
              <a:gd name="T74" fmla="*/ 18 w 316"/>
              <a:gd name="T75" fmla="*/ 544 h 562"/>
              <a:gd name="T76" fmla="*/ 2 w 316"/>
              <a:gd name="T77" fmla="*/ 520 h 562"/>
              <a:gd name="T78" fmla="*/ 10 w 316"/>
              <a:gd name="T79" fmla="*/ 492 h 562"/>
              <a:gd name="T80" fmla="*/ 28 w 316"/>
              <a:gd name="T81" fmla="*/ 450 h 562"/>
              <a:gd name="T82" fmla="*/ 26 w 316"/>
              <a:gd name="T83" fmla="*/ 400 h 562"/>
              <a:gd name="T84" fmla="*/ 24 w 316"/>
              <a:gd name="T85" fmla="*/ 360 h 562"/>
              <a:gd name="T86" fmla="*/ 36 w 316"/>
              <a:gd name="T87" fmla="*/ 302 h 562"/>
              <a:gd name="T88" fmla="*/ 40 w 316"/>
              <a:gd name="T89" fmla="*/ 278 h 562"/>
              <a:gd name="T90" fmla="*/ 48 w 316"/>
              <a:gd name="T91" fmla="*/ 244 h 562"/>
              <a:gd name="T92" fmla="*/ 56 w 316"/>
              <a:gd name="T93" fmla="*/ 196 h 562"/>
              <a:gd name="T94" fmla="*/ 48 w 316"/>
              <a:gd name="T95" fmla="*/ 156 h 562"/>
              <a:gd name="T96" fmla="*/ 64 w 316"/>
              <a:gd name="T97" fmla="*/ 106 h 562"/>
              <a:gd name="T98" fmla="*/ 76 w 316"/>
              <a:gd name="T99" fmla="*/ 52 h 562"/>
              <a:gd name="T100" fmla="*/ 100 w 316"/>
              <a:gd name="T101" fmla="*/ 30 h 5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16" h="562">
                <a:moveTo>
                  <a:pt x="102" y="18"/>
                </a:moveTo>
                <a:lnTo>
                  <a:pt x="104" y="10"/>
                </a:lnTo>
                <a:lnTo>
                  <a:pt x="108" y="6"/>
                </a:lnTo>
                <a:lnTo>
                  <a:pt x="116" y="0"/>
                </a:lnTo>
                <a:lnTo>
                  <a:pt x="124" y="6"/>
                </a:lnTo>
                <a:lnTo>
                  <a:pt x="138" y="4"/>
                </a:lnTo>
                <a:lnTo>
                  <a:pt x="148" y="16"/>
                </a:lnTo>
                <a:lnTo>
                  <a:pt x="154" y="2"/>
                </a:lnTo>
                <a:lnTo>
                  <a:pt x="172" y="2"/>
                </a:lnTo>
                <a:lnTo>
                  <a:pt x="174" y="8"/>
                </a:lnTo>
                <a:lnTo>
                  <a:pt x="180" y="16"/>
                </a:lnTo>
                <a:lnTo>
                  <a:pt x="190" y="26"/>
                </a:lnTo>
                <a:lnTo>
                  <a:pt x="192" y="28"/>
                </a:lnTo>
                <a:lnTo>
                  <a:pt x="202" y="34"/>
                </a:lnTo>
                <a:lnTo>
                  <a:pt x="210" y="34"/>
                </a:lnTo>
                <a:lnTo>
                  <a:pt x="220" y="40"/>
                </a:lnTo>
                <a:lnTo>
                  <a:pt x="226" y="46"/>
                </a:lnTo>
                <a:lnTo>
                  <a:pt x="236" y="50"/>
                </a:lnTo>
                <a:lnTo>
                  <a:pt x="246" y="54"/>
                </a:lnTo>
                <a:lnTo>
                  <a:pt x="252" y="62"/>
                </a:lnTo>
                <a:lnTo>
                  <a:pt x="246" y="72"/>
                </a:lnTo>
                <a:lnTo>
                  <a:pt x="238" y="88"/>
                </a:lnTo>
                <a:lnTo>
                  <a:pt x="244" y="96"/>
                </a:lnTo>
                <a:lnTo>
                  <a:pt x="266" y="96"/>
                </a:lnTo>
                <a:lnTo>
                  <a:pt x="280" y="92"/>
                </a:lnTo>
                <a:lnTo>
                  <a:pt x="288" y="86"/>
                </a:lnTo>
                <a:lnTo>
                  <a:pt x="294" y="84"/>
                </a:lnTo>
                <a:lnTo>
                  <a:pt x="300" y="70"/>
                </a:lnTo>
                <a:lnTo>
                  <a:pt x="300" y="60"/>
                </a:lnTo>
                <a:lnTo>
                  <a:pt x="310" y="62"/>
                </a:lnTo>
                <a:lnTo>
                  <a:pt x="314" y="66"/>
                </a:lnTo>
                <a:lnTo>
                  <a:pt x="316" y="76"/>
                </a:lnTo>
                <a:lnTo>
                  <a:pt x="312" y="88"/>
                </a:lnTo>
                <a:lnTo>
                  <a:pt x="308" y="94"/>
                </a:lnTo>
                <a:lnTo>
                  <a:pt x="300" y="98"/>
                </a:lnTo>
                <a:lnTo>
                  <a:pt x="292" y="104"/>
                </a:lnTo>
                <a:lnTo>
                  <a:pt x="282" y="112"/>
                </a:lnTo>
                <a:lnTo>
                  <a:pt x="274" y="118"/>
                </a:lnTo>
                <a:lnTo>
                  <a:pt x="268" y="128"/>
                </a:lnTo>
                <a:lnTo>
                  <a:pt x="262" y="132"/>
                </a:lnTo>
                <a:lnTo>
                  <a:pt x="260" y="136"/>
                </a:lnTo>
                <a:lnTo>
                  <a:pt x="252" y="138"/>
                </a:lnTo>
                <a:lnTo>
                  <a:pt x="246" y="160"/>
                </a:lnTo>
                <a:lnTo>
                  <a:pt x="244" y="174"/>
                </a:lnTo>
                <a:lnTo>
                  <a:pt x="240" y="192"/>
                </a:lnTo>
                <a:lnTo>
                  <a:pt x="240" y="212"/>
                </a:lnTo>
                <a:lnTo>
                  <a:pt x="236" y="216"/>
                </a:lnTo>
                <a:lnTo>
                  <a:pt x="234" y="222"/>
                </a:lnTo>
                <a:lnTo>
                  <a:pt x="244" y="224"/>
                </a:lnTo>
                <a:lnTo>
                  <a:pt x="254" y="228"/>
                </a:lnTo>
                <a:lnTo>
                  <a:pt x="258" y="236"/>
                </a:lnTo>
                <a:lnTo>
                  <a:pt x="256" y="244"/>
                </a:lnTo>
                <a:lnTo>
                  <a:pt x="258" y="248"/>
                </a:lnTo>
                <a:lnTo>
                  <a:pt x="266" y="254"/>
                </a:lnTo>
                <a:lnTo>
                  <a:pt x="266" y="268"/>
                </a:lnTo>
                <a:lnTo>
                  <a:pt x="254" y="284"/>
                </a:lnTo>
                <a:lnTo>
                  <a:pt x="240" y="294"/>
                </a:lnTo>
                <a:lnTo>
                  <a:pt x="220" y="296"/>
                </a:lnTo>
                <a:lnTo>
                  <a:pt x="206" y="298"/>
                </a:lnTo>
                <a:lnTo>
                  <a:pt x="190" y="300"/>
                </a:lnTo>
                <a:lnTo>
                  <a:pt x="180" y="298"/>
                </a:lnTo>
                <a:lnTo>
                  <a:pt x="178" y="304"/>
                </a:lnTo>
                <a:lnTo>
                  <a:pt x="180" y="314"/>
                </a:lnTo>
                <a:lnTo>
                  <a:pt x="178" y="330"/>
                </a:lnTo>
                <a:lnTo>
                  <a:pt x="170" y="338"/>
                </a:lnTo>
                <a:lnTo>
                  <a:pt x="162" y="342"/>
                </a:lnTo>
                <a:lnTo>
                  <a:pt x="148" y="336"/>
                </a:lnTo>
                <a:lnTo>
                  <a:pt x="142" y="334"/>
                </a:lnTo>
                <a:lnTo>
                  <a:pt x="136" y="332"/>
                </a:lnTo>
                <a:lnTo>
                  <a:pt x="134" y="338"/>
                </a:lnTo>
                <a:lnTo>
                  <a:pt x="136" y="354"/>
                </a:lnTo>
                <a:lnTo>
                  <a:pt x="136" y="362"/>
                </a:lnTo>
                <a:lnTo>
                  <a:pt x="142" y="364"/>
                </a:lnTo>
                <a:lnTo>
                  <a:pt x="150" y="364"/>
                </a:lnTo>
                <a:lnTo>
                  <a:pt x="150" y="362"/>
                </a:lnTo>
                <a:lnTo>
                  <a:pt x="154" y="360"/>
                </a:lnTo>
                <a:lnTo>
                  <a:pt x="158" y="364"/>
                </a:lnTo>
                <a:lnTo>
                  <a:pt x="158" y="370"/>
                </a:lnTo>
                <a:lnTo>
                  <a:pt x="152" y="374"/>
                </a:lnTo>
                <a:lnTo>
                  <a:pt x="148" y="372"/>
                </a:lnTo>
                <a:lnTo>
                  <a:pt x="146" y="368"/>
                </a:lnTo>
                <a:lnTo>
                  <a:pt x="142" y="368"/>
                </a:lnTo>
                <a:lnTo>
                  <a:pt x="138" y="370"/>
                </a:lnTo>
                <a:lnTo>
                  <a:pt x="140" y="376"/>
                </a:lnTo>
                <a:lnTo>
                  <a:pt x="136" y="382"/>
                </a:lnTo>
                <a:lnTo>
                  <a:pt x="130" y="384"/>
                </a:lnTo>
                <a:lnTo>
                  <a:pt x="132" y="396"/>
                </a:lnTo>
                <a:lnTo>
                  <a:pt x="126" y="408"/>
                </a:lnTo>
                <a:lnTo>
                  <a:pt x="124" y="410"/>
                </a:lnTo>
                <a:lnTo>
                  <a:pt x="118" y="414"/>
                </a:lnTo>
                <a:lnTo>
                  <a:pt x="106" y="420"/>
                </a:lnTo>
                <a:lnTo>
                  <a:pt x="94" y="432"/>
                </a:lnTo>
                <a:lnTo>
                  <a:pt x="96" y="444"/>
                </a:lnTo>
                <a:lnTo>
                  <a:pt x="106" y="454"/>
                </a:lnTo>
                <a:lnTo>
                  <a:pt x="106" y="456"/>
                </a:lnTo>
                <a:lnTo>
                  <a:pt x="112" y="456"/>
                </a:lnTo>
                <a:lnTo>
                  <a:pt x="122" y="458"/>
                </a:lnTo>
                <a:lnTo>
                  <a:pt x="122" y="466"/>
                </a:lnTo>
                <a:lnTo>
                  <a:pt x="118" y="474"/>
                </a:lnTo>
                <a:lnTo>
                  <a:pt x="104" y="486"/>
                </a:lnTo>
                <a:lnTo>
                  <a:pt x="94" y="496"/>
                </a:lnTo>
                <a:lnTo>
                  <a:pt x="90" y="510"/>
                </a:lnTo>
                <a:lnTo>
                  <a:pt x="88" y="516"/>
                </a:lnTo>
                <a:lnTo>
                  <a:pt x="76" y="518"/>
                </a:lnTo>
                <a:lnTo>
                  <a:pt x="70" y="524"/>
                </a:lnTo>
                <a:lnTo>
                  <a:pt x="66" y="538"/>
                </a:lnTo>
                <a:lnTo>
                  <a:pt x="68" y="546"/>
                </a:lnTo>
                <a:lnTo>
                  <a:pt x="72" y="552"/>
                </a:lnTo>
                <a:lnTo>
                  <a:pt x="78" y="560"/>
                </a:lnTo>
                <a:lnTo>
                  <a:pt x="76" y="562"/>
                </a:lnTo>
                <a:lnTo>
                  <a:pt x="60" y="558"/>
                </a:lnTo>
                <a:lnTo>
                  <a:pt x="34" y="558"/>
                </a:lnTo>
                <a:lnTo>
                  <a:pt x="24" y="556"/>
                </a:lnTo>
                <a:lnTo>
                  <a:pt x="18" y="544"/>
                </a:lnTo>
                <a:lnTo>
                  <a:pt x="18" y="528"/>
                </a:lnTo>
                <a:lnTo>
                  <a:pt x="6" y="526"/>
                </a:lnTo>
                <a:lnTo>
                  <a:pt x="2" y="520"/>
                </a:lnTo>
                <a:lnTo>
                  <a:pt x="0" y="510"/>
                </a:lnTo>
                <a:lnTo>
                  <a:pt x="2" y="500"/>
                </a:lnTo>
                <a:lnTo>
                  <a:pt x="10" y="492"/>
                </a:lnTo>
                <a:lnTo>
                  <a:pt x="18" y="480"/>
                </a:lnTo>
                <a:lnTo>
                  <a:pt x="20" y="462"/>
                </a:lnTo>
                <a:lnTo>
                  <a:pt x="28" y="450"/>
                </a:lnTo>
                <a:lnTo>
                  <a:pt x="28" y="424"/>
                </a:lnTo>
                <a:lnTo>
                  <a:pt x="30" y="412"/>
                </a:lnTo>
                <a:lnTo>
                  <a:pt x="26" y="400"/>
                </a:lnTo>
                <a:lnTo>
                  <a:pt x="26" y="380"/>
                </a:lnTo>
                <a:lnTo>
                  <a:pt x="22" y="376"/>
                </a:lnTo>
                <a:lnTo>
                  <a:pt x="24" y="360"/>
                </a:lnTo>
                <a:lnTo>
                  <a:pt x="26" y="348"/>
                </a:lnTo>
                <a:lnTo>
                  <a:pt x="28" y="318"/>
                </a:lnTo>
                <a:lnTo>
                  <a:pt x="36" y="302"/>
                </a:lnTo>
                <a:lnTo>
                  <a:pt x="38" y="296"/>
                </a:lnTo>
                <a:lnTo>
                  <a:pt x="40" y="292"/>
                </a:lnTo>
                <a:lnTo>
                  <a:pt x="40" y="278"/>
                </a:lnTo>
                <a:lnTo>
                  <a:pt x="38" y="254"/>
                </a:lnTo>
                <a:lnTo>
                  <a:pt x="44" y="248"/>
                </a:lnTo>
                <a:lnTo>
                  <a:pt x="48" y="244"/>
                </a:lnTo>
                <a:lnTo>
                  <a:pt x="50" y="224"/>
                </a:lnTo>
                <a:lnTo>
                  <a:pt x="54" y="216"/>
                </a:lnTo>
                <a:lnTo>
                  <a:pt x="56" y="196"/>
                </a:lnTo>
                <a:lnTo>
                  <a:pt x="52" y="180"/>
                </a:lnTo>
                <a:lnTo>
                  <a:pt x="48" y="172"/>
                </a:lnTo>
                <a:lnTo>
                  <a:pt x="48" y="156"/>
                </a:lnTo>
                <a:lnTo>
                  <a:pt x="52" y="148"/>
                </a:lnTo>
                <a:lnTo>
                  <a:pt x="56" y="120"/>
                </a:lnTo>
                <a:lnTo>
                  <a:pt x="64" y="106"/>
                </a:lnTo>
                <a:lnTo>
                  <a:pt x="74" y="92"/>
                </a:lnTo>
                <a:lnTo>
                  <a:pt x="80" y="82"/>
                </a:lnTo>
                <a:lnTo>
                  <a:pt x="76" y="52"/>
                </a:lnTo>
                <a:lnTo>
                  <a:pt x="82" y="46"/>
                </a:lnTo>
                <a:lnTo>
                  <a:pt x="90" y="42"/>
                </a:lnTo>
                <a:lnTo>
                  <a:pt x="100" y="30"/>
                </a:lnTo>
                <a:lnTo>
                  <a:pt x="102" y="18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48" name="Freeform 85">
            <a:extLst>
              <a:ext uri="{FF2B5EF4-FFF2-40B4-BE49-F238E27FC236}">
                <a16:creationId xmlns:a16="http://schemas.microsoft.com/office/drawing/2014/main" id="{F23A8100-641C-4A75-9EE0-D4F5EB23FD74}"/>
              </a:ext>
            </a:extLst>
          </p:cNvPr>
          <p:cNvSpPr>
            <a:spLocks/>
          </p:cNvSpPr>
          <p:nvPr/>
        </p:nvSpPr>
        <p:spPr bwMode="gray">
          <a:xfrm>
            <a:off x="1740095" y="2584384"/>
            <a:ext cx="98769" cy="448635"/>
          </a:xfrm>
          <a:custGeom>
            <a:avLst/>
            <a:gdLst>
              <a:gd name="T0" fmla="*/ 96 w 136"/>
              <a:gd name="T1" fmla="*/ 2 h 672"/>
              <a:gd name="T2" fmla="*/ 112 w 136"/>
              <a:gd name="T3" fmla="*/ 38 h 672"/>
              <a:gd name="T4" fmla="*/ 124 w 136"/>
              <a:gd name="T5" fmla="*/ 82 h 672"/>
              <a:gd name="T6" fmla="*/ 134 w 136"/>
              <a:gd name="T7" fmla="*/ 108 h 672"/>
              <a:gd name="T8" fmla="*/ 110 w 136"/>
              <a:gd name="T9" fmla="*/ 130 h 672"/>
              <a:gd name="T10" fmla="*/ 90 w 136"/>
              <a:gd name="T11" fmla="*/ 198 h 672"/>
              <a:gd name="T12" fmla="*/ 82 w 136"/>
              <a:gd name="T13" fmla="*/ 250 h 672"/>
              <a:gd name="T14" fmla="*/ 84 w 136"/>
              <a:gd name="T15" fmla="*/ 302 h 672"/>
              <a:gd name="T16" fmla="*/ 74 w 136"/>
              <a:gd name="T17" fmla="*/ 354 h 672"/>
              <a:gd name="T18" fmla="*/ 60 w 136"/>
              <a:gd name="T19" fmla="*/ 426 h 672"/>
              <a:gd name="T20" fmla="*/ 60 w 136"/>
              <a:gd name="T21" fmla="*/ 458 h 672"/>
              <a:gd name="T22" fmla="*/ 62 w 136"/>
              <a:gd name="T23" fmla="*/ 502 h 672"/>
              <a:gd name="T24" fmla="*/ 52 w 136"/>
              <a:gd name="T25" fmla="*/ 558 h 672"/>
              <a:gd name="T26" fmla="*/ 34 w 136"/>
              <a:gd name="T27" fmla="*/ 588 h 672"/>
              <a:gd name="T28" fmla="*/ 52 w 136"/>
              <a:gd name="T29" fmla="*/ 606 h 672"/>
              <a:gd name="T30" fmla="*/ 68 w 136"/>
              <a:gd name="T31" fmla="*/ 636 h 672"/>
              <a:gd name="T32" fmla="*/ 88 w 136"/>
              <a:gd name="T33" fmla="*/ 648 h 672"/>
              <a:gd name="T34" fmla="*/ 74 w 136"/>
              <a:gd name="T35" fmla="*/ 666 h 672"/>
              <a:gd name="T36" fmla="*/ 58 w 136"/>
              <a:gd name="T37" fmla="*/ 668 h 672"/>
              <a:gd name="T38" fmla="*/ 70 w 136"/>
              <a:gd name="T39" fmla="*/ 652 h 672"/>
              <a:gd name="T40" fmla="*/ 52 w 136"/>
              <a:gd name="T41" fmla="*/ 662 h 672"/>
              <a:gd name="T42" fmla="*/ 46 w 136"/>
              <a:gd name="T43" fmla="*/ 648 h 672"/>
              <a:gd name="T44" fmla="*/ 38 w 136"/>
              <a:gd name="T45" fmla="*/ 646 h 672"/>
              <a:gd name="T46" fmla="*/ 42 w 136"/>
              <a:gd name="T47" fmla="*/ 632 h 672"/>
              <a:gd name="T48" fmla="*/ 26 w 136"/>
              <a:gd name="T49" fmla="*/ 630 h 672"/>
              <a:gd name="T50" fmla="*/ 20 w 136"/>
              <a:gd name="T51" fmla="*/ 606 h 672"/>
              <a:gd name="T52" fmla="*/ 16 w 136"/>
              <a:gd name="T53" fmla="*/ 590 h 672"/>
              <a:gd name="T54" fmla="*/ 8 w 136"/>
              <a:gd name="T55" fmla="*/ 558 h 672"/>
              <a:gd name="T56" fmla="*/ 18 w 136"/>
              <a:gd name="T57" fmla="*/ 568 h 672"/>
              <a:gd name="T58" fmla="*/ 28 w 136"/>
              <a:gd name="T59" fmla="*/ 556 h 672"/>
              <a:gd name="T60" fmla="*/ 28 w 136"/>
              <a:gd name="T61" fmla="*/ 548 h 672"/>
              <a:gd name="T62" fmla="*/ 18 w 136"/>
              <a:gd name="T63" fmla="*/ 536 h 672"/>
              <a:gd name="T64" fmla="*/ 16 w 136"/>
              <a:gd name="T65" fmla="*/ 530 h 672"/>
              <a:gd name="T66" fmla="*/ 10 w 136"/>
              <a:gd name="T67" fmla="*/ 514 h 672"/>
              <a:gd name="T68" fmla="*/ 24 w 136"/>
              <a:gd name="T69" fmla="*/ 506 h 672"/>
              <a:gd name="T70" fmla="*/ 42 w 136"/>
              <a:gd name="T71" fmla="*/ 494 h 672"/>
              <a:gd name="T72" fmla="*/ 44 w 136"/>
              <a:gd name="T73" fmla="*/ 462 h 672"/>
              <a:gd name="T74" fmla="*/ 46 w 136"/>
              <a:gd name="T75" fmla="*/ 440 h 672"/>
              <a:gd name="T76" fmla="*/ 36 w 136"/>
              <a:gd name="T77" fmla="*/ 428 h 672"/>
              <a:gd name="T78" fmla="*/ 32 w 136"/>
              <a:gd name="T79" fmla="*/ 456 h 672"/>
              <a:gd name="T80" fmla="*/ 22 w 136"/>
              <a:gd name="T81" fmla="*/ 450 h 672"/>
              <a:gd name="T82" fmla="*/ 28 w 136"/>
              <a:gd name="T83" fmla="*/ 426 h 672"/>
              <a:gd name="T84" fmla="*/ 32 w 136"/>
              <a:gd name="T85" fmla="*/ 394 h 672"/>
              <a:gd name="T86" fmla="*/ 34 w 136"/>
              <a:gd name="T87" fmla="*/ 366 h 672"/>
              <a:gd name="T88" fmla="*/ 38 w 136"/>
              <a:gd name="T89" fmla="*/ 346 h 672"/>
              <a:gd name="T90" fmla="*/ 52 w 136"/>
              <a:gd name="T91" fmla="*/ 308 h 672"/>
              <a:gd name="T92" fmla="*/ 64 w 136"/>
              <a:gd name="T93" fmla="*/ 270 h 672"/>
              <a:gd name="T94" fmla="*/ 70 w 136"/>
              <a:gd name="T95" fmla="*/ 214 h 672"/>
              <a:gd name="T96" fmla="*/ 70 w 136"/>
              <a:gd name="T97" fmla="*/ 194 h 672"/>
              <a:gd name="T98" fmla="*/ 82 w 136"/>
              <a:gd name="T99" fmla="*/ 98 h 672"/>
              <a:gd name="T100" fmla="*/ 84 w 136"/>
              <a:gd name="T101" fmla="*/ 18 h 6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36" h="672">
                <a:moveTo>
                  <a:pt x="84" y="18"/>
                </a:moveTo>
                <a:lnTo>
                  <a:pt x="90" y="16"/>
                </a:lnTo>
                <a:lnTo>
                  <a:pt x="96" y="2"/>
                </a:lnTo>
                <a:lnTo>
                  <a:pt x="98" y="0"/>
                </a:lnTo>
                <a:lnTo>
                  <a:pt x="102" y="12"/>
                </a:lnTo>
                <a:lnTo>
                  <a:pt x="112" y="38"/>
                </a:lnTo>
                <a:lnTo>
                  <a:pt x="112" y="56"/>
                </a:lnTo>
                <a:lnTo>
                  <a:pt x="120" y="68"/>
                </a:lnTo>
                <a:lnTo>
                  <a:pt x="124" y="82"/>
                </a:lnTo>
                <a:lnTo>
                  <a:pt x="126" y="96"/>
                </a:lnTo>
                <a:lnTo>
                  <a:pt x="136" y="96"/>
                </a:lnTo>
                <a:lnTo>
                  <a:pt x="134" y="108"/>
                </a:lnTo>
                <a:lnTo>
                  <a:pt x="124" y="120"/>
                </a:lnTo>
                <a:lnTo>
                  <a:pt x="116" y="124"/>
                </a:lnTo>
                <a:lnTo>
                  <a:pt x="110" y="130"/>
                </a:lnTo>
                <a:lnTo>
                  <a:pt x="114" y="160"/>
                </a:lnTo>
                <a:lnTo>
                  <a:pt x="96" y="186"/>
                </a:lnTo>
                <a:lnTo>
                  <a:pt x="90" y="198"/>
                </a:lnTo>
                <a:lnTo>
                  <a:pt x="86" y="222"/>
                </a:lnTo>
                <a:lnTo>
                  <a:pt x="82" y="234"/>
                </a:lnTo>
                <a:lnTo>
                  <a:pt x="82" y="250"/>
                </a:lnTo>
                <a:lnTo>
                  <a:pt x="90" y="274"/>
                </a:lnTo>
                <a:lnTo>
                  <a:pt x="88" y="292"/>
                </a:lnTo>
                <a:lnTo>
                  <a:pt x="84" y="302"/>
                </a:lnTo>
                <a:lnTo>
                  <a:pt x="82" y="322"/>
                </a:lnTo>
                <a:lnTo>
                  <a:pt x="72" y="332"/>
                </a:lnTo>
                <a:lnTo>
                  <a:pt x="74" y="354"/>
                </a:lnTo>
                <a:lnTo>
                  <a:pt x="74" y="370"/>
                </a:lnTo>
                <a:lnTo>
                  <a:pt x="62" y="396"/>
                </a:lnTo>
                <a:lnTo>
                  <a:pt x="60" y="426"/>
                </a:lnTo>
                <a:lnTo>
                  <a:pt x="58" y="438"/>
                </a:lnTo>
                <a:lnTo>
                  <a:pt x="56" y="454"/>
                </a:lnTo>
                <a:lnTo>
                  <a:pt x="60" y="458"/>
                </a:lnTo>
                <a:lnTo>
                  <a:pt x="60" y="478"/>
                </a:lnTo>
                <a:lnTo>
                  <a:pt x="64" y="490"/>
                </a:lnTo>
                <a:lnTo>
                  <a:pt x="62" y="502"/>
                </a:lnTo>
                <a:lnTo>
                  <a:pt x="62" y="528"/>
                </a:lnTo>
                <a:lnTo>
                  <a:pt x="54" y="540"/>
                </a:lnTo>
                <a:lnTo>
                  <a:pt x="52" y="558"/>
                </a:lnTo>
                <a:lnTo>
                  <a:pt x="44" y="570"/>
                </a:lnTo>
                <a:lnTo>
                  <a:pt x="36" y="578"/>
                </a:lnTo>
                <a:lnTo>
                  <a:pt x="34" y="588"/>
                </a:lnTo>
                <a:lnTo>
                  <a:pt x="36" y="596"/>
                </a:lnTo>
                <a:lnTo>
                  <a:pt x="40" y="604"/>
                </a:lnTo>
                <a:lnTo>
                  <a:pt x="52" y="606"/>
                </a:lnTo>
                <a:lnTo>
                  <a:pt x="52" y="622"/>
                </a:lnTo>
                <a:lnTo>
                  <a:pt x="58" y="634"/>
                </a:lnTo>
                <a:lnTo>
                  <a:pt x="68" y="636"/>
                </a:lnTo>
                <a:lnTo>
                  <a:pt x="94" y="636"/>
                </a:lnTo>
                <a:lnTo>
                  <a:pt x="96" y="644"/>
                </a:lnTo>
                <a:lnTo>
                  <a:pt x="88" y="648"/>
                </a:lnTo>
                <a:lnTo>
                  <a:pt x="80" y="650"/>
                </a:lnTo>
                <a:lnTo>
                  <a:pt x="74" y="656"/>
                </a:lnTo>
                <a:lnTo>
                  <a:pt x="74" y="666"/>
                </a:lnTo>
                <a:lnTo>
                  <a:pt x="72" y="672"/>
                </a:lnTo>
                <a:lnTo>
                  <a:pt x="64" y="672"/>
                </a:lnTo>
                <a:lnTo>
                  <a:pt x="58" y="668"/>
                </a:lnTo>
                <a:lnTo>
                  <a:pt x="60" y="664"/>
                </a:lnTo>
                <a:lnTo>
                  <a:pt x="66" y="660"/>
                </a:lnTo>
                <a:lnTo>
                  <a:pt x="70" y="652"/>
                </a:lnTo>
                <a:lnTo>
                  <a:pt x="64" y="648"/>
                </a:lnTo>
                <a:lnTo>
                  <a:pt x="56" y="654"/>
                </a:lnTo>
                <a:lnTo>
                  <a:pt x="52" y="662"/>
                </a:lnTo>
                <a:lnTo>
                  <a:pt x="44" y="660"/>
                </a:lnTo>
                <a:lnTo>
                  <a:pt x="38" y="654"/>
                </a:lnTo>
                <a:lnTo>
                  <a:pt x="46" y="648"/>
                </a:lnTo>
                <a:lnTo>
                  <a:pt x="48" y="644"/>
                </a:lnTo>
                <a:lnTo>
                  <a:pt x="46" y="640"/>
                </a:lnTo>
                <a:lnTo>
                  <a:pt x="38" y="646"/>
                </a:lnTo>
                <a:lnTo>
                  <a:pt x="28" y="646"/>
                </a:lnTo>
                <a:lnTo>
                  <a:pt x="30" y="638"/>
                </a:lnTo>
                <a:lnTo>
                  <a:pt x="42" y="632"/>
                </a:lnTo>
                <a:lnTo>
                  <a:pt x="42" y="628"/>
                </a:lnTo>
                <a:lnTo>
                  <a:pt x="34" y="630"/>
                </a:lnTo>
                <a:lnTo>
                  <a:pt x="26" y="630"/>
                </a:lnTo>
                <a:lnTo>
                  <a:pt x="28" y="622"/>
                </a:lnTo>
                <a:lnTo>
                  <a:pt x="22" y="618"/>
                </a:lnTo>
                <a:lnTo>
                  <a:pt x="20" y="606"/>
                </a:lnTo>
                <a:lnTo>
                  <a:pt x="20" y="602"/>
                </a:lnTo>
                <a:lnTo>
                  <a:pt x="20" y="594"/>
                </a:lnTo>
                <a:lnTo>
                  <a:pt x="16" y="590"/>
                </a:lnTo>
                <a:lnTo>
                  <a:pt x="10" y="582"/>
                </a:lnTo>
                <a:lnTo>
                  <a:pt x="6" y="574"/>
                </a:lnTo>
                <a:lnTo>
                  <a:pt x="8" y="558"/>
                </a:lnTo>
                <a:lnTo>
                  <a:pt x="14" y="558"/>
                </a:lnTo>
                <a:lnTo>
                  <a:pt x="16" y="560"/>
                </a:lnTo>
                <a:lnTo>
                  <a:pt x="18" y="568"/>
                </a:lnTo>
                <a:lnTo>
                  <a:pt x="24" y="566"/>
                </a:lnTo>
                <a:lnTo>
                  <a:pt x="24" y="556"/>
                </a:lnTo>
                <a:lnTo>
                  <a:pt x="28" y="556"/>
                </a:lnTo>
                <a:lnTo>
                  <a:pt x="32" y="554"/>
                </a:lnTo>
                <a:lnTo>
                  <a:pt x="32" y="546"/>
                </a:lnTo>
                <a:lnTo>
                  <a:pt x="28" y="548"/>
                </a:lnTo>
                <a:lnTo>
                  <a:pt x="20" y="550"/>
                </a:lnTo>
                <a:lnTo>
                  <a:pt x="18" y="544"/>
                </a:lnTo>
                <a:lnTo>
                  <a:pt x="18" y="536"/>
                </a:lnTo>
                <a:lnTo>
                  <a:pt x="24" y="534"/>
                </a:lnTo>
                <a:lnTo>
                  <a:pt x="24" y="530"/>
                </a:lnTo>
                <a:lnTo>
                  <a:pt x="16" y="530"/>
                </a:lnTo>
                <a:lnTo>
                  <a:pt x="0" y="530"/>
                </a:lnTo>
                <a:lnTo>
                  <a:pt x="6" y="522"/>
                </a:lnTo>
                <a:lnTo>
                  <a:pt x="10" y="514"/>
                </a:lnTo>
                <a:lnTo>
                  <a:pt x="16" y="506"/>
                </a:lnTo>
                <a:lnTo>
                  <a:pt x="22" y="502"/>
                </a:lnTo>
                <a:lnTo>
                  <a:pt x="24" y="506"/>
                </a:lnTo>
                <a:lnTo>
                  <a:pt x="28" y="518"/>
                </a:lnTo>
                <a:lnTo>
                  <a:pt x="36" y="508"/>
                </a:lnTo>
                <a:lnTo>
                  <a:pt x="42" y="494"/>
                </a:lnTo>
                <a:lnTo>
                  <a:pt x="40" y="484"/>
                </a:lnTo>
                <a:lnTo>
                  <a:pt x="38" y="472"/>
                </a:lnTo>
                <a:lnTo>
                  <a:pt x="44" y="462"/>
                </a:lnTo>
                <a:lnTo>
                  <a:pt x="42" y="452"/>
                </a:lnTo>
                <a:lnTo>
                  <a:pt x="44" y="446"/>
                </a:lnTo>
                <a:lnTo>
                  <a:pt x="46" y="440"/>
                </a:lnTo>
                <a:lnTo>
                  <a:pt x="46" y="428"/>
                </a:lnTo>
                <a:lnTo>
                  <a:pt x="40" y="426"/>
                </a:lnTo>
                <a:lnTo>
                  <a:pt x="36" y="428"/>
                </a:lnTo>
                <a:lnTo>
                  <a:pt x="34" y="438"/>
                </a:lnTo>
                <a:lnTo>
                  <a:pt x="32" y="444"/>
                </a:lnTo>
                <a:lnTo>
                  <a:pt x="32" y="456"/>
                </a:lnTo>
                <a:lnTo>
                  <a:pt x="28" y="462"/>
                </a:lnTo>
                <a:lnTo>
                  <a:pt x="22" y="458"/>
                </a:lnTo>
                <a:lnTo>
                  <a:pt x="22" y="450"/>
                </a:lnTo>
                <a:lnTo>
                  <a:pt x="22" y="438"/>
                </a:lnTo>
                <a:lnTo>
                  <a:pt x="26" y="430"/>
                </a:lnTo>
                <a:lnTo>
                  <a:pt x="28" y="426"/>
                </a:lnTo>
                <a:lnTo>
                  <a:pt x="28" y="416"/>
                </a:lnTo>
                <a:lnTo>
                  <a:pt x="30" y="402"/>
                </a:lnTo>
                <a:lnTo>
                  <a:pt x="32" y="394"/>
                </a:lnTo>
                <a:lnTo>
                  <a:pt x="40" y="386"/>
                </a:lnTo>
                <a:lnTo>
                  <a:pt x="36" y="376"/>
                </a:lnTo>
                <a:lnTo>
                  <a:pt x="34" y="366"/>
                </a:lnTo>
                <a:lnTo>
                  <a:pt x="34" y="358"/>
                </a:lnTo>
                <a:lnTo>
                  <a:pt x="32" y="346"/>
                </a:lnTo>
                <a:lnTo>
                  <a:pt x="38" y="346"/>
                </a:lnTo>
                <a:lnTo>
                  <a:pt x="42" y="332"/>
                </a:lnTo>
                <a:lnTo>
                  <a:pt x="48" y="320"/>
                </a:lnTo>
                <a:lnTo>
                  <a:pt x="52" y="308"/>
                </a:lnTo>
                <a:lnTo>
                  <a:pt x="58" y="292"/>
                </a:lnTo>
                <a:lnTo>
                  <a:pt x="60" y="278"/>
                </a:lnTo>
                <a:lnTo>
                  <a:pt x="64" y="270"/>
                </a:lnTo>
                <a:lnTo>
                  <a:pt x="62" y="232"/>
                </a:lnTo>
                <a:lnTo>
                  <a:pt x="62" y="220"/>
                </a:lnTo>
                <a:lnTo>
                  <a:pt x="70" y="214"/>
                </a:lnTo>
                <a:lnTo>
                  <a:pt x="70" y="206"/>
                </a:lnTo>
                <a:lnTo>
                  <a:pt x="66" y="200"/>
                </a:lnTo>
                <a:lnTo>
                  <a:pt x="70" y="194"/>
                </a:lnTo>
                <a:lnTo>
                  <a:pt x="74" y="174"/>
                </a:lnTo>
                <a:lnTo>
                  <a:pt x="80" y="144"/>
                </a:lnTo>
                <a:lnTo>
                  <a:pt x="82" y="98"/>
                </a:lnTo>
                <a:lnTo>
                  <a:pt x="88" y="52"/>
                </a:lnTo>
                <a:lnTo>
                  <a:pt x="86" y="28"/>
                </a:lnTo>
                <a:lnTo>
                  <a:pt x="84" y="18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49" name="Freeform 86">
            <a:extLst>
              <a:ext uri="{FF2B5EF4-FFF2-40B4-BE49-F238E27FC236}">
                <a16:creationId xmlns:a16="http://schemas.microsoft.com/office/drawing/2014/main" id="{9A6D107F-385C-48EE-9C59-ED6AD4078BBD}"/>
              </a:ext>
            </a:extLst>
          </p:cNvPr>
          <p:cNvSpPr>
            <a:spLocks/>
          </p:cNvSpPr>
          <p:nvPr/>
        </p:nvSpPr>
        <p:spPr bwMode="gray">
          <a:xfrm>
            <a:off x="1821433" y="3021002"/>
            <a:ext cx="40669" cy="30710"/>
          </a:xfrm>
          <a:custGeom>
            <a:avLst/>
            <a:gdLst>
              <a:gd name="T0" fmla="*/ 0 w 56"/>
              <a:gd name="T1" fmla="*/ 0 h 46"/>
              <a:gd name="T2" fmla="*/ 0 w 56"/>
              <a:gd name="T3" fmla="*/ 42 h 46"/>
              <a:gd name="T4" fmla="*/ 12 w 56"/>
              <a:gd name="T5" fmla="*/ 42 h 46"/>
              <a:gd name="T6" fmla="*/ 22 w 56"/>
              <a:gd name="T7" fmla="*/ 42 h 46"/>
              <a:gd name="T8" fmla="*/ 36 w 56"/>
              <a:gd name="T9" fmla="*/ 46 h 46"/>
              <a:gd name="T10" fmla="*/ 50 w 56"/>
              <a:gd name="T11" fmla="*/ 44 h 46"/>
              <a:gd name="T12" fmla="*/ 56 w 56"/>
              <a:gd name="T13" fmla="*/ 42 h 46"/>
              <a:gd name="T14" fmla="*/ 48 w 56"/>
              <a:gd name="T15" fmla="*/ 40 h 46"/>
              <a:gd name="T16" fmla="*/ 32 w 56"/>
              <a:gd name="T17" fmla="*/ 36 h 46"/>
              <a:gd name="T18" fmla="*/ 20 w 56"/>
              <a:gd name="T19" fmla="*/ 28 h 46"/>
              <a:gd name="T20" fmla="*/ 8 w 56"/>
              <a:gd name="T21" fmla="*/ 16 h 46"/>
              <a:gd name="T22" fmla="*/ 6 w 56"/>
              <a:gd name="T23" fmla="*/ 8 h 46"/>
              <a:gd name="T24" fmla="*/ 4 w 56"/>
              <a:gd name="T25" fmla="*/ 2 h 46"/>
              <a:gd name="T26" fmla="*/ 0 w 56"/>
              <a:gd name="T27" fmla="*/ 0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6" h="46">
                <a:moveTo>
                  <a:pt x="0" y="0"/>
                </a:moveTo>
                <a:lnTo>
                  <a:pt x="0" y="42"/>
                </a:lnTo>
                <a:lnTo>
                  <a:pt x="12" y="42"/>
                </a:lnTo>
                <a:lnTo>
                  <a:pt x="22" y="42"/>
                </a:lnTo>
                <a:lnTo>
                  <a:pt x="36" y="46"/>
                </a:lnTo>
                <a:lnTo>
                  <a:pt x="50" y="44"/>
                </a:lnTo>
                <a:lnTo>
                  <a:pt x="56" y="42"/>
                </a:lnTo>
                <a:lnTo>
                  <a:pt x="48" y="40"/>
                </a:lnTo>
                <a:lnTo>
                  <a:pt x="32" y="36"/>
                </a:lnTo>
                <a:lnTo>
                  <a:pt x="20" y="28"/>
                </a:lnTo>
                <a:lnTo>
                  <a:pt x="8" y="16"/>
                </a:lnTo>
                <a:lnTo>
                  <a:pt x="6" y="8"/>
                </a:lnTo>
                <a:lnTo>
                  <a:pt x="4" y="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50" name="Freeform 87">
            <a:extLst>
              <a:ext uri="{FF2B5EF4-FFF2-40B4-BE49-F238E27FC236}">
                <a16:creationId xmlns:a16="http://schemas.microsoft.com/office/drawing/2014/main" id="{232BEBB8-033B-497D-AD17-B569FEDBE2AE}"/>
              </a:ext>
            </a:extLst>
          </p:cNvPr>
          <p:cNvSpPr>
            <a:spLocks/>
          </p:cNvSpPr>
          <p:nvPr/>
        </p:nvSpPr>
        <p:spPr bwMode="gray">
          <a:xfrm>
            <a:off x="1790931" y="3016996"/>
            <a:ext cx="49384" cy="42727"/>
          </a:xfrm>
          <a:custGeom>
            <a:avLst/>
            <a:gdLst>
              <a:gd name="T0" fmla="*/ 2 w 68"/>
              <a:gd name="T1" fmla="*/ 46 h 64"/>
              <a:gd name="T2" fmla="*/ 0 w 68"/>
              <a:gd name="T3" fmla="*/ 40 h 64"/>
              <a:gd name="T4" fmla="*/ 6 w 68"/>
              <a:gd name="T5" fmla="*/ 38 h 64"/>
              <a:gd name="T6" fmla="*/ 10 w 68"/>
              <a:gd name="T7" fmla="*/ 38 h 64"/>
              <a:gd name="T8" fmla="*/ 20 w 68"/>
              <a:gd name="T9" fmla="*/ 38 h 64"/>
              <a:gd name="T10" fmla="*/ 26 w 68"/>
              <a:gd name="T11" fmla="*/ 40 h 64"/>
              <a:gd name="T12" fmla="*/ 30 w 68"/>
              <a:gd name="T13" fmla="*/ 38 h 64"/>
              <a:gd name="T14" fmla="*/ 22 w 68"/>
              <a:gd name="T15" fmla="*/ 32 h 64"/>
              <a:gd name="T16" fmla="*/ 16 w 68"/>
              <a:gd name="T17" fmla="*/ 28 h 64"/>
              <a:gd name="T18" fmla="*/ 18 w 68"/>
              <a:gd name="T19" fmla="*/ 22 h 64"/>
              <a:gd name="T20" fmla="*/ 22 w 68"/>
              <a:gd name="T21" fmla="*/ 22 h 64"/>
              <a:gd name="T22" fmla="*/ 28 w 68"/>
              <a:gd name="T23" fmla="*/ 20 h 64"/>
              <a:gd name="T24" fmla="*/ 26 w 68"/>
              <a:gd name="T25" fmla="*/ 14 h 64"/>
              <a:gd name="T26" fmla="*/ 20 w 68"/>
              <a:gd name="T27" fmla="*/ 16 h 64"/>
              <a:gd name="T28" fmla="*/ 14 w 68"/>
              <a:gd name="T29" fmla="*/ 18 h 64"/>
              <a:gd name="T30" fmla="*/ 12 w 68"/>
              <a:gd name="T31" fmla="*/ 12 h 64"/>
              <a:gd name="T32" fmla="*/ 14 w 68"/>
              <a:gd name="T33" fmla="*/ 8 h 64"/>
              <a:gd name="T34" fmla="*/ 20 w 68"/>
              <a:gd name="T35" fmla="*/ 6 h 64"/>
              <a:gd name="T36" fmla="*/ 24 w 68"/>
              <a:gd name="T37" fmla="*/ 2 h 64"/>
              <a:gd name="T38" fmla="*/ 32 w 68"/>
              <a:gd name="T39" fmla="*/ 0 h 64"/>
              <a:gd name="T40" fmla="*/ 38 w 68"/>
              <a:gd name="T41" fmla="*/ 0 h 64"/>
              <a:gd name="T42" fmla="*/ 42 w 68"/>
              <a:gd name="T43" fmla="*/ 6 h 64"/>
              <a:gd name="T44" fmla="*/ 42 w 68"/>
              <a:gd name="T45" fmla="*/ 48 h 64"/>
              <a:gd name="T46" fmla="*/ 64 w 68"/>
              <a:gd name="T47" fmla="*/ 48 h 64"/>
              <a:gd name="T48" fmla="*/ 68 w 68"/>
              <a:gd name="T49" fmla="*/ 52 h 64"/>
              <a:gd name="T50" fmla="*/ 68 w 68"/>
              <a:gd name="T51" fmla="*/ 56 h 64"/>
              <a:gd name="T52" fmla="*/ 60 w 68"/>
              <a:gd name="T53" fmla="*/ 58 h 64"/>
              <a:gd name="T54" fmla="*/ 52 w 68"/>
              <a:gd name="T55" fmla="*/ 58 h 64"/>
              <a:gd name="T56" fmla="*/ 44 w 68"/>
              <a:gd name="T57" fmla="*/ 60 h 64"/>
              <a:gd name="T58" fmla="*/ 42 w 68"/>
              <a:gd name="T59" fmla="*/ 64 h 64"/>
              <a:gd name="T60" fmla="*/ 34 w 68"/>
              <a:gd name="T61" fmla="*/ 62 h 64"/>
              <a:gd name="T62" fmla="*/ 24 w 68"/>
              <a:gd name="T63" fmla="*/ 60 h 64"/>
              <a:gd name="T64" fmla="*/ 20 w 68"/>
              <a:gd name="T65" fmla="*/ 56 h 64"/>
              <a:gd name="T66" fmla="*/ 20 w 68"/>
              <a:gd name="T67" fmla="*/ 50 h 64"/>
              <a:gd name="T68" fmla="*/ 16 w 68"/>
              <a:gd name="T69" fmla="*/ 50 h 64"/>
              <a:gd name="T70" fmla="*/ 12 w 68"/>
              <a:gd name="T71" fmla="*/ 50 h 64"/>
              <a:gd name="T72" fmla="*/ 12 w 68"/>
              <a:gd name="T73" fmla="*/ 56 h 64"/>
              <a:gd name="T74" fmla="*/ 2 w 68"/>
              <a:gd name="T75" fmla="*/ 52 h 64"/>
              <a:gd name="T76" fmla="*/ 2 w 68"/>
              <a:gd name="T77" fmla="*/ 46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8" h="64">
                <a:moveTo>
                  <a:pt x="2" y="46"/>
                </a:moveTo>
                <a:lnTo>
                  <a:pt x="0" y="40"/>
                </a:lnTo>
                <a:lnTo>
                  <a:pt x="6" y="38"/>
                </a:lnTo>
                <a:lnTo>
                  <a:pt x="10" y="38"/>
                </a:lnTo>
                <a:lnTo>
                  <a:pt x="20" y="38"/>
                </a:lnTo>
                <a:lnTo>
                  <a:pt x="26" y="40"/>
                </a:lnTo>
                <a:lnTo>
                  <a:pt x="30" y="38"/>
                </a:lnTo>
                <a:lnTo>
                  <a:pt x="22" y="32"/>
                </a:lnTo>
                <a:lnTo>
                  <a:pt x="16" y="28"/>
                </a:lnTo>
                <a:lnTo>
                  <a:pt x="18" y="22"/>
                </a:lnTo>
                <a:lnTo>
                  <a:pt x="22" y="22"/>
                </a:lnTo>
                <a:lnTo>
                  <a:pt x="28" y="20"/>
                </a:lnTo>
                <a:lnTo>
                  <a:pt x="26" y="14"/>
                </a:lnTo>
                <a:lnTo>
                  <a:pt x="20" y="16"/>
                </a:lnTo>
                <a:lnTo>
                  <a:pt x="14" y="18"/>
                </a:lnTo>
                <a:lnTo>
                  <a:pt x="12" y="12"/>
                </a:lnTo>
                <a:lnTo>
                  <a:pt x="14" y="8"/>
                </a:lnTo>
                <a:lnTo>
                  <a:pt x="20" y="6"/>
                </a:lnTo>
                <a:lnTo>
                  <a:pt x="24" y="2"/>
                </a:lnTo>
                <a:lnTo>
                  <a:pt x="32" y="0"/>
                </a:lnTo>
                <a:lnTo>
                  <a:pt x="38" y="0"/>
                </a:lnTo>
                <a:lnTo>
                  <a:pt x="42" y="6"/>
                </a:lnTo>
                <a:lnTo>
                  <a:pt x="42" y="48"/>
                </a:lnTo>
                <a:lnTo>
                  <a:pt x="64" y="48"/>
                </a:lnTo>
                <a:lnTo>
                  <a:pt x="68" y="52"/>
                </a:lnTo>
                <a:lnTo>
                  <a:pt x="68" y="56"/>
                </a:lnTo>
                <a:lnTo>
                  <a:pt x="60" y="58"/>
                </a:lnTo>
                <a:lnTo>
                  <a:pt x="52" y="58"/>
                </a:lnTo>
                <a:lnTo>
                  <a:pt x="44" y="60"/>
                </a:lnTo>
                <a:lnTo>
                  <a:pt x="42" y="64"/>
                </a:lnTo>
                <a:lnTo>
                  <a:pt x="34" y="62"/>
                </a:lnTo>
                <a:lnTo>
                  <a:pt x="24" y="60"/>
                </a:lnTo>
                <a:lnTo>
                  <a:pt x="20" y="56"/>
                </a:lnTo>
                <a:lnTo>
                  <a:pt x="20" y="50"/>
                </a:lnTo>
                <a:lnTo>
                  <a:pt x="16" y="50"/>
                </a:lnTo>
                <a:lnTo>
                  <a:pt x="12" y="50"/>
                </a:lnTo>
                <a:lnTo>
                  <a:pt x="12" y="56"/>
                </a:lnTo>
                <a:lnTo>
                  <a:pt x="2" y="52"/>
                </a:lnTo>
                <a:lnTo>
                  <a:pt x="2" y="4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51" name="Freeform 88">
            <a:extLst>
              <a:ext uri="{FF2B5EF4-FFF2-40B4-BE49-F238E27FC236}">
                <a16:creationId xmlns:a16="http://schemas.microsoft.com/office/drawing/2014/main" id="{8F64E45B-F708-4147-A49D-A1D78D3AB3AF}"/>
              </a:ext>
            </a:extLst>
          </p:cNvPr>
          <p:cNvSpPr>
            <a:spLocks/>
          </p:cNvSpPr>
          <p:nvPr/>
        </p:nvSpPr>
        <p:spPr bwMode="gray">
          <a:xfrm>
            <a:off x="1912940" y="2998303"/>
            <a:ext cx="13072" cy="12017"/>
          </a:xfrm>
          <a:custGeom>
            <a:avLst/>
            <a:gdLst>
              <a:gd name="T0" fmla="*/ 6 w 18"/>
              <a:gd name="T1" fmla="*/ 4 h 18"/>
              <a:gd name="T2" fmla="*/ 12 w 18"/>
              <a:gd name="T3" fmla="*/ 0 h 18"/>
              <a:gd name="T4" fmla="*/ 18 w 18"/>
              <a:gd name="T5" fmla="*/ 2 h 18"/>
              <a:gd name="T6" fmla="*/ 18 w 18"/>
              <a:gd name="T7" fmla="*/ 6 h 18"/>
              <a:gd name="T8" fmla="*/ 14 w 18"/>
              <a:gd name="T9" fmla="*/ 10 h 18"/>
              <a:gd name="T10" fmla="*/ 8 w 18"/>
              <a:gd name="T11" fmla="*/ 16 h 18"/>
              <a:gd name="T12" fmla="*/ 4 w 18"/>
              <a:gd name="T13" fmla="*/ 18 h 18"/>
              <a:gd name="T14" fmla="*/ 0 w 18"/>
              <a:gd name="T15" fmla="*/ 16 h 18"/>
              <a:gd name="T16" fmla="*/ 0 w 18"/>
              <a:gd name="T17" fmla="*/ 12 h 18"/>
              <a:gd name="T18" fmla="*/ 4 w 18"/>
              <a:gd name="T19" fmla="*/ 8 h 18"/>
              <a:gd name="T20" fmla="*/ 6 w 18"/>
              <a:gd name="T21" fmla="*/ 4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8" h="18">
                <a:moveTo>
                  <a:pt x="6" y="4"/>
                </a:moveTo>
                <a:lnTo>
                  <a:pt x="12" y="0"/>
                </a:lnTo>
                <a:lnTo>
                  <a:pt x="18" y="2"/>
                </a:lnTo>
                <a:lnTo>
                  <a:pt x="18" y="6"/>
                </a:lnTo>
                <a:lnTo>
                  <a:pt x="14" y="10"/>
                </a:lnTo>
                <a:lnTo>
                  <a:pt x="8" y="16"/>
                </a:lnTo>
                <a:lnTo>
                  <a:pt x="4" y="18"/>
                </a:lnTo>
                <a:lnTo>
                  <a:pt x="0" y="16"/>
                </a:lnTo>
                <a:lnTo>
                  <a:pt x="0" y="12"/>
                </a:lnTo>
                <a:lnTo>
                  <a:pt x="4" y="8"/>
                </a:lnTo>
                <a:lnTo>
                  <a:pt x="6" y="4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52" name="Freeform 89">
            <a:extLst>
              <a:ext uri="{FF2B5EF4-FFF2-40B4-BE49-F238E27FC236}">
                <a16:creationId xmlns:a16="http://schemas.microsoft.com/office/drawing/2014/main" id="{50E6397E-F07A-49C7-815D-C8E88B848B98}"/>
              </a:ext>
            </a:extLst>
          </p:cNvPr>
          <p:cNvSpPr>
            <a:spLocks/>
          </p:cNvSpPr>
          <p:nvPr/>
        </p:nvSpPr>
        <p:spPr bwMode="gray">
          <a:xfrm>
            <a:off x="1924560" y="2999638"/>
            <a:ext cx="20335" cy="13352"/>
          </a:xfrm>
          <a:custGeom>
            <a:avLst/>
            <a:gdLst>
              <a:gd name="T0" fmla="*/ 6 w 28"/>
              <a:gd name="T1" fmla="*/ 8 h 20"/>
              <a:gd name="T2" fmla="*/ 10 w 28"/>
              <a:gd name="T3" fmla="*/ 0 h 20"/>
              <a:gd name="T4" fmla="*/ 16 w 28"/>
              <a:gd name="T5" fmla="*/ 0 h 20"/>
              <a:gd name="T6" fmla="*/ 22 w 28"/>
              <a:gd name="T7" fmla="*/ 0 h 20"/>
              <a:gd name="T8" fmla="*/ 28 w 28"/>
              <a:gd name="T9" fmla="*/ 2 h 20"/>
              <a:gd name="T10" fmla="*/ 28 w 28"/>
              <a:gd name="T11" fmla="*/ 6 h 20"/>
              <a:gd name="T12" fmla="*/ 22 w 28"/>
              <a:gd name="T13" fmla="*/ 8 h 20"/>
              <a:gd name="T14" fmla="*/ 18 w 28"/>
              <a:gd name="T15" fmla="*/ 10 h 20"/>
              <a:gd name="T16" fmla="*/ 16 w 28"/>
              <a:gd name="T17" fmla="*/ 10 h 20"/>
              <a:gd name="T18" fmla="*/ 12 w 28"/>
              <a:gd name="T19" fmla="*/ 14 h 20"/>
              <a:gd name="T20" fmla="*/ 8 w 28"/>
              <a:gd name="T21" fmla="*/ 16 h 20"/>
              <a:gd name="T22" fmla="*/ 6 w 28"/>
              <a:gd name="T23" fmla="*/ 20 h 20"/>
              <a:gd name="T24" fmla="*/ 0 w 28"/>
              <a:gd name="T25" fmla="*/ 18 h 20"/>
              <a:gd name="T26" fmla="*/ 0 w 28"/>
              <a:gd name="T27" fmla="*/ 12 h 20"/>
              <a:gd name="T28" fmla="*/ 2 w 28"/>
              <a:gd name="T29" fmla="*/ 10 h 20"/>
              <a:gd name="T30" fmla="*/ 6 w 28"/>
              <a:gd name="T31" fmla="*/ 8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8" h="20">
                <a:moveTo>
                  <a:pt x="6" y="8"/>
                </a:moveTo>
                <a:lnTo>
                  <a:pt x="10" y="0"/>
                </a:lnTo>
                <a:lnTo>
                  <a:pt x="16" y="0"/>
                </a:lnTo>
                <a:lnTo>
                  <a:pt x="22" y="0"/>
                </a:lnTo>
                <a:lnTo>
                  <a:pt x="28" y="2"/>
                </a:lnTo>
                <a:lnTo>
                  <a:pt x="28" y="6"/>
                </a:lnTo>
                <a:lnTo>
                  <a:pt x="22" y="8"/>
                </a:lnTo>
                <a:lnTo>
                  <a:pt x="18" y="10"/>
                </a:lnTo>
                <a:lnTo>
                  <a:pt x="16" y="10"/>
                </a:lnTo>
                <a:lnTo>
                  <a:pt x="12" y="14"/>
                </a:lnTo>
                <a:lnTo>
                  <a:pt x="8" y="16"/>
                </a:lnTo>
                <a:lnTo>
                  <a:pt x="6" y="20"/>
                </a:lnTo>
                <a:lnTo>
                  <a:pt x="0" y="18"/>
                </a:lnTo>
                <a:lnTo>
                  <a:pt x="0" y="12"/>
                </a:lnTo>
                <a:lnTo>
                  <a:pt x="2" y="10"/>
                </a:lnTo>
                <a:lnTo>
                  <a:pt x="6" y="8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53" name="Freeform 90">
            <a:extLst>
              <a:ext uri="{FF2B5EF4-FFF2-40B4-BE49-F238E27FC236}">
                <a16:creationId xmlns:a16="http://schemas.microsoft.com/office/drawing/2014/main" id="{638E93BD-A41B-43DD-9955-1212CEFD36D3}"/>
              </a:ext>
            </a:extLst>
          </p:cNvPr>
          <p:cNvSpPr>
            <a:spLocks/>
          </p:cNvSpPr>
          <p:nvPr/>
        </p:nvSpPr>
        <p:spPr bwMode="gray">
          <a:xfrm>
            <a:off x="1758977" y="2345379"/>
            <a:ext cx="450269" cy="425936"/>
          </a:xfrm>
          <a:custGeom>
            <a:avLst/>
            <a:gdLst>
              <a:gd name="T0" fmla="*/ 366 w 620"/>
              <a:gd name="T1" fmla="*/ 36 h 638"/>
              <a:gd name="T2" fmla="*/ 378 w 620"/>
              <a:gd name="T3" fmla="*/ 70 h 638"/>
              <a:gd name="T4" fmla="*/ 362 w 620"/>
              <a:gd name="T5" fmla="*/ 100 h 638"/>
              <a:gd name="T6" fmla="*/ 388 w 620"/>
              <a:gd name="T7" fmla="*/ 78 h 638"/>
              <a:gd name="T8" fmla="*/ 402 w 620"/>
              <a:gd name="T9" fmla="*/ 98 h 638"/>
              <a:gd name="T10" fmla="*/ 404 w 620"/>
              <a:gd name="T11" fmla="*/ 108 h 638"/>
              <a:gd name="T12" fmla="*/ 420 w 620"/>
              <a:gd name="T13" fmla="*/ 92 h 638"/>
              <a:gd name="T14" fmla="*/ 472 w 620"/>
              <a:gd name="T15" fmla="*/ 114 h 638"/>
              <a:gd name="T16" fmla="*/ 476 w 620"/>
              <a:gd name="T17" fmla="*/ 126 h 638"/>
              <a:gd name="T18" fmla="*/ 516 w 620"/>
              <a:gd name="T19" fmla="*/ 130 h 638"/>
              <a:gd name="T20" fmla="*/ 572 w 620"/>
              <a:gd name="T21" fmla="*/ 152 h 638"/>
              <a:gd name="T22" fmla="*/ 614 w 620"/>
              <a:gd name="T23" fmla="*/ 174 h 638"/>
              <a:gd name="T24" fmla="*/ 600 w 620"/>
              <a:gd name="T25" fmla="*/ 246 h 638"/>
              <a:gd name="T26" fmla="*/ 570 w 620"/>
              <a:gd name="T27" fmla="*/ 286 h 638"/>
              <a:gd name="T28" fmla="*/ 556 w 620"/>
              <a:gd name="T29" fmla="*/ 322 h 638"/>
              <a:gd name="T30" fmla="*/ 544 w 620"/>
              <a:gd name="T31" fmla="*/ 392 h 638"/>
              <a:gd name="T32" fmla="*/ 512 w 620"/>
              <a:gd name="T33" fmla="*/ 446 h 638"/>
              <a:gd name="T34" fmla="*/ 454 w 620"/>
              <a:gd name="T35" fmla="*/ 468 h 638"/>
              <a:gd name="T36" fmla="*/ 408 w 620"/>
              <a:gd name="T37" fmla="*/ 494 h 638"/>
              <a:gd name="T38" fmla="*/ 398 w 620"/>
              <a:gd name="T39" fmla="*/ 550 h 638"/>
              <a:gd name="T40" fmla="*/ 374 w 620"/>
              <a:gd name="T41" fmla="*/ 588 h 638"/>
              <a:gd name="T42" fmla="*/ 352 w 620"/>
              <a:gd name="T43" fmla="*/ 606 h 638"/>
              <a:gd name="T44" fmla="*/ 370 w 620"/>
              <a:gd name="T45" fmla="*/ 584 h 638"/>
              <a:gd name="T46" fmla="*/ 352 w 620"/>
              <a:gd name="T47" fmla="*/ 596 h 638"/>
              <a:gd name="T48" fmla="*/ 342 w 620"/>
              <a:gd name="T49" fmla="*/ 622 h 638"/>
              <a:gd name="T50" fmla="*/ 330 w 620"/>
              <a:gd name="T51" fmla="*/ 622 h 638"/>
              <a:gd name="T52" fmla="*/ 286 w 620"/>
              <a:gd name="T53" fmla="*/ 590 h 638"/>
              <a:gd name="T54" fmla="*/ 300 w 620"/>
              <a:gd name="T55" fmla="*/ 540 h 638"/>
              <a:gd name="T56" fmla="*/ 322 w 620"/>
              <a:gd name="T57" fmla="*/ 502 h 638"/>
              <a:gd name="T58" fmla="*/ 314 w 620"/>
              <a:gd name="T59" fmla="*/ 474 h 638"/>
              <a:gd name="T60" fmla="*/ 290 w 620"/>
              <a:gd name="T61" fmla="*/ 446 h 638"/>
              <a:gd name="T62" fmla="*/ 256 w 620"/>
              <a:gd name="T63" fmla="*/ 414 h 638"/>
              <a:gd name="T64" fmla="*/ 260 w 620"/>
              <a:gd name="T65" fmla="*/ 376 h 638"/>
              <a:gd name="T66" fmla="*/ 220 w 620"/>
              <a:gd name="T67" fmla="*/ 342 h 638"/>
              <a:gd name="T68" fmla="*/ 214 w 620"/>
              <a:gd name="T69" fmla="*/ 302 h 638"/>
              <a:gd name="T70" fmla="*/ 162 w 620"/>
              <a:gd name="T71" fmla="*/ 282 h 638"/>
              <a:gd name="T72" fmla="*/ 116 w 620"/>
              <a:gd name="T73" fmla="*/ 244 h 638"/>
              <a:gd name="T74" fmla="*/ 60 w 620"/>
              <a:gd name="T75" fmla="*/ 256 h 638"/>
              <a:gd name="T76" fmla="*/ 48 w 620"/>
              <a:gd name="T77" fmla="*/ 238 h 638"/>
              <a:gd name="T78" fmla="*/ 8 w 620"/>
              <a:gd name="T79" fmla="*/ 222 h 638"/>
              <a:gd name="T80" fmla="*/ 26 w 620"/>
              <a:gd name="T81" fmla="*/ 160 h 638"/>
              <a:gd name="T82" fmla="*/ 70 w 620"/>
              <a:gd name="T83" fmla="*/ 120 h 638"/>
              <a:gd name="T84" fmla="*/ 66 w 620"/>
              <a:gd name="T85" fmla="*/ 72 h 638"/>
              <a:gd name="T86" fmla="*/ 92 w 620"/>
              <a:gd name="T87" fmla="*/ 56 h 638"/>
              <a:gd name="T88" fmla="*/ 130 w 620"/>
              <a:gd name="T89" fmla="*/ 72 h 638"/>
              <a:gd name="T90" fmla="*/ 168 w 620"/>
              <a:gd name="T91" fmla="*/ 44 h 638"/>
              <a:gd name="T92" fmla="*/ 154 w 620"/>
              <a:gd name="T93" fmla="*/ 18 h 638"/>
              <a:gd name="T94" fmla="*/ 194 w 620"/>
              <a:gd name="T95" fmla="*/ 18 h 638"/>
              <a:gd name="T96" fmla="*/ 228 w 620"/>
              <a:gd name="T97" fmla="*/ 22 h 638"/>
              <a:gd name="T98" fmla="*/ 244 w 620"/>
              <a:gd name="T99" fmla="*/ 64 h 638"/>
              <a:gd name="T100" fmla="*/ 276 w 620"/>
              <a:gd name="T101" fmla="*/ 54 h 638"/>
              <a:gd name="T102" fmla="*/ 290 w 620"/>
              <a:gd name="T103" fmla="*/ 44 h 638"/>
              <a:gd name="T104" fmla="*/ 332 w 620"/>
              <a:gd name="T105" fmla="*/ 48 h 6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0" h="638">
                <a:moveTo>
                  <a:pt x="356" y="18"/>
                </a:moveTo>
                <a:lnTo>
                  <a:pt x="362" y="20"/>
                </a:lnTo>
                <a:lnTo>
                  <a:pt x="366" y="24"/>
                </a:lnTo>
                <a:lnTo>
                  <a:pt x="364" y="28"/>
                </a:lnTo>
                <a:lnTo>
                  <a:pt x="366" y="36"/>
                </a:lnTo>
                <a:lnTo>
                  <a:pt x="368" y="44"/>
                </a:lnTo>
                <a:lnTo>
                  <a:pt x="376" y="54"/>
                </a:lnTo>
                <a:lnTo>
                  <a:pt x="382" y="60"/>
                </a:lnTo>
                <a:lnTo>
                  <a:pt x="382" y="68"/>
                </a:lnTo>
                <a:lnTo>
                  <a:pt x="378" y="70"/>
                </a:lnTo>
                <a:lnTo>
                  <a:pt x="370" y="76"/>
                </a:lnTo>
                <a:lnTo>
                  <a:pt x="362" y="84"/>
                </a:lnTo>
                <a:lnTo>
                  <a:pt x="360" y="88"/>
                </a:lnTo>
                <a:lnTo>
                  <a:pt x="360" y="96"/>
                </a:lnTo>
                <a:lnTo>
                  <a:pt x="362" y="100"/>
                </a:lnTo>
                <a:lnTo>
                  <a:pt x="368" y="98"/>
                </a:lnTo>
                <a:lnTo>
                  <a:pt x="372" y="92"/>
                </a:lnTo>
                <a:lnTo>
                  <a:pt x="372" y="82"/>
                </a:lnTo>
                <a:lnTo>
                  <a:pt x="380" y="78"/>
                </a:lnTo>
                <a:lnTo>
                  <a:pt x="388" y="78"/>
                </a:lnTo>
                <a:lnTo>
                  <a:pt x="392" y="82"/>
                </a:lnTo>
                <a:lnTo>
                  <a:pt x="400" y="84"/>
                </a:lnTo>
                <a:lnTo>
                  <a:pt x="404" y="88"/>
                </a:lnTo>
                <a:lnTo>
                  <a:pt x="404" y="92"/>
                </a:lnTo>
                <a:lnTo>
                  <a:pt x="402" y="98"/>
                </a:lnTo>
                <a:lnTo>
                  <a:pt x="398" y="102"/>
                </a:lnTo>
                <a:lnTo>
                  <a:pt x="392" y="108"/>
                </a:lnTo>
                <a:lnTo>
                  <a:pt x="392" y="116"/>
                </a:lnTo>
                <a:lnTo>
                  <a:pt x="396" y="116"/>
                </a:lnTo>
                <a:lnTo>
                  <a:pt x="404" y="108"/>
                </a:lnTo>
                <a:lnTo>
                  <a:pt x="406" y="108"/>
                </a:lnTo>
                <a:lnTo>
                  <a:pt x="408" y="104"/>
                </a:lnTo>
                <a:lnTo>
                  <a:pt x="410" y="98"/>
                </a:lnTo>
                <a:lnTo>
                  <a:pt x="414" y="94"/>
                </a:lnTo>
                <a:lnTo>
                  <a:pt x="420" y="92"/>
                </a:lnTo>
                <a:lnTo>
                  <a:pt x="426" y="94"/>
                </a:lnTo>
                <a:lnTo>
                  <a:pt x="440" y="98"/>
                </a:lnTo>
                <a:lnTo>
                  <a:pt x="448" y="104"/>
                </a:lnTo>
                <a:lnTo>
                  <a:pt x="462" y="110"/>
                </a:lnTo>
                <a:lnTo>
                  <a:pt x="472" y="114"/>
                </a:lnTo>
                <a:lnTo>
                  <a:pt x="472" y="120"/>
                </a:lnTo>
                <a:lnTo>
                  <a:pt x="468" y="126"/>
                </a:lnTo>
                <a:lnTo>
                  <a:pt x="466" y="134"/>
                </a:lnTo>
                <a:lnTo>
                  <a:pt x="468" y="134"/>
                </a:lnTo>
                <a:lnTo>
                  <a:pt x="476" y="126"/>
                </a:lnTo>
                <a:lnTo>
                  <a:pt x="482" y="124"/>
                </a:lnTo>
                <a:lnTo>
                  <a:pt x="488" y="122"/>
                </a:lnTo>
                <a:lnTo>
                  <a:pt x="496" y="124"/>
                </a:lnTo>
                <a:lnTo>
                  <a:pt x="506" y="128"/>
                </a:lnTo>
                <a:lnTo>
                  <a:pt x="516" y="130"/>
                </a:lnTo>
                <a:lnTo>
                  <a:pt x="528" y="130"/>
                </a:lnTo>
                <a:lnTo>
                  <a:pt x="538" y="132"/>
                </a:lnTo>
                <a:lnTo>
                  <a:pt x="548" y="134"/>
                </a:lnTo>
                <a:lnTo>
                  <a:pt x="560" y="142"/>
                </a:lnTo>
                <a:lnTo>
                  <a:pt x="572" y="152"/>
                </a:lnTo>
                <a:lnTo>
                  <a:pt x="582" y="160"/>
                </a:lnTo>
                <a:lnTo>
                  <a:pt x="592" y="166"/>
                </a:lnTo>
                <a:lnTo>
                  <a:pt x="602" y="164"/>
                </a:lnTo>
                <a:lnTo>
                  <a:pt x="610" y="164"/>
                </a:lnTo>
                <a:lnTo>
                  <a:pt x="614" y="174"/>
                </a:lnTo>
                <a:lnTo>
                  <a:pt x="620" y="190"/>
                </a:lnTo>
                <a:lnTo>
                  <a:pt x="620" y="206"/>
                </a:lnTo>
                <a:lnTo>
                  <a:pt x="618" y="224"/>
                </a:lnTo>
                <a:lnTo>
                  <a:pt x="608" y="236"/>
                </a:lnTo>
                <a:lnTo>
                  <a:pt x="600" y="246"/>
                </a:lnTo>
                <a:lnTo>
                  <a:pt x="580" y="264"/>
                </a:lnTo>
                <a:lnTo>
                  <a:pt x="580" y="272"/>
                </a:lnTo>
                <a:lnTo>
                  <a:pt x="578" y="278"/>
                </a:lnTo>
                <a:lnTo>
                  <a:pt x="574" y="282"/>
                </a:lnTo>
                <a:lnTo>
                  <a:pt x="570" y="286"/>
                </a:lnTo>
                <a:lnTo>
                  <a:pt x="562" y="290"/>
                </a:lnTo>
                <a:lnTo>
                  <a:pt x="556" y="294"/>
                </a:lnTo>
                <a:lnTo>
                  <a:pt x="554" y="302"/>
                </a:lnTo>
                <a:lnTo>
                  <a:pt x="554" y="310"/>
                </a:lnTo>
                <a:lnTo>
                  <a:pt x="556" y="322"/>
                </a:lnTo>
                <a:lnTo>
                  <a:pt x="556" y="338"/>
                </a:lnTo>
                <a:lnTo>
                  <a:pt x="554" y="350"/>
                </a:lnTo>
                <a:lnTo>
                  <a:pt x="552" y="366"/>
                </a:lnTo>
                <a:lnTo>
                  <a:pt x="548" y="376"/>
                </a:lnTo>
                <a:lnTo>
                  <a:pt x="544" y="392"/>
                </a:lnTo>
                <a:lnTo>
                  <a:pt x="536" y="408"/>
                </a:lnTo>
                <a:lnTo>
                  <a:pt x="528" y="420"/>
                </a:lnTo>
                <a:lnTo>
                  <a:pt x="524" y="434"/>
                </a:lnTo>
                <a:lnTo>
                  <a:pt x="518" y="440"/>
                </a:lnTo>
                <a:lnTo>
                  <a:pt x="512" y="446"/>
                </a:lnTo>
                <a:lnTo>
                  <a:pt x="508" y="452"/>
                </a:lnTo>
                <a:lnTo>
                  <a:pt x="494" y="456"/>
                </a:lnTo>
                <a:lnTo>
                  <a:pt x="482" y="456"/>
                </a:lnTo>
                <a:lnTo>
                  <a:pt x="464" y="458"/>
                </a:lnTo>
                <a:lnTo>
                  <a:pt x="454" y="468"/>
                </a:lnTo>
                <a:lnTo>
                  <a:pt x="446" y="472"/>
                </a:lnTo>
                <a:lnTo>
                  <a:pt x="438" y="472"/>
                </a:lnTo>
                <a:lnTo>
                  <a:pt x="430" y="480"/>
                </a:lnTo>
                <a:lnTo>
                  <a:pt x="418" y="484"/>
                </a:lnTo>
                <a:lnTo>
                  <a:pt x="408" y="494"/>
                </a:lnTo>
                <a:lnTo>
                  <a:pt x="404" y="502"/>
                </a:lnTo>
                <a:lnTo>
                  <a:pt x="402" y="516"/>
                </a:lnTo>
                <a:lnTo>
                  <a:pt x="402" y="526"/>
                </a:lnTo>
                <a:lnTo>
                  <a:pt x="404" y="542"/>
                </a:lnTo>
                <a:lnTo>
                  <a:pt x="398" y="550"/>
                </a:lnTo>
                <a:lnTo>
                  <a:pt x="390" y="560"/>
                </a:lnTo>
                <a:lnTo>
                  <a:pt x="384" y="566"/>
                </a:lnTo>
                <a:lnTo>
                  <a:pt x="380" y="574"/>
                </a:lnTo>
                <a:lnTo>
                  <a:pt x="376" y="584"/>
                </a:lnTo>
                <a:lnTo>
                  <a:pt x="374" y="588"/>
                </a:lnTo>
                <a:lnTo>
                  <a:pt x="370" y="592"/>
                </a:lnTo>
                <a:lnTo>
                  <a:pt x="366" y="600"/>
                </a:lnTo>
                <a:lnTo>
                  <a:pt x="360" y="604"/>
                </a:lnTo>
                <a:lnTo>
                  <a:pt x="352" y="610"/>
                </a:lnTo>
                <a:lnTo>
                  <a:pt x="352" y="606"/>
                </a:lnTo>
                <a:lnTo>
                  <a:pt x="352" y="604"/>
                </a:lnTo>
                <a:lnTo>
                  <a:pt x="356" y="600"/>
                </a:lnTo>
                <a:lnTo>
                  <a:pt x="360" y="596"/>
                </a:lnTo>
                <a:lnTo>
                  <a:pt x="366" y="590"/>
                </a:lnTo>
                <a:lnTo>
                  <a:pt x="370" y="584"/>
                </a:lnTo>
                <a:lnTo>
                  <a:pt x="368" y="580"/>
                </a:lnTo>
                <a:lnTo>
                  <a:pt x="364" y="582"/>
                </a:lnTo>
                <a:lnTo>
                  <a:pt x="360" y="586"/>
                </a:lnTo>
                <a:lnTo>
                  <a:pt x="356" y="592"/>
                </a:lnTo>
                <a:lnTo>
                  <a:pt x="352" y="596"/>
                </a:lnTo>
                <a:lnTo>
                  <a:pt x="348" y="600"/>
                </a:lnTo>
                <a:lnTo>
                  <a:pt x="348" y="606"/>
                </a:lnTo>
                <a:lnTo>
                  <a:pt x="346" y="612"/>
                </a:lnTo>
                <a:lnTo>
                  <a:pt x="344" y="618"/>
                </a:lnTo>
                <a:lnTo>
                  <a:pt x="342" y="622"/>
                </a:lnTo>
                <a:lnTo>
                  <a:pt x="336" y="630"/>
                </a:lnTo>
                <a:lnTo>
                  <a:pt x="332" y="638"/>
                </a:lnTo>
                <a:lnTo>
                  <a:pt x="328" y="634"/>
                </a:lnTo>
                <a:lnTo>
                  <a:pt x="328" y="628"/>
                </a:lnTo>
                <a:lnTo>
                  <a:pt x="330" y="622"/>
                </a:lnTo>
                <a:lnTo>
                  <a:pt x="326" y="614"/>
                </a:lnTo>
                <a:lnTo>
                  <a:pt x="320" y="610"/>
                </a:lnTo>
                <a:lnTo>
                  <a:pt x="308" y="600"/>
                </a:lnTo>
                <a:lnTo>
                  <a:pt x="294" y="592"/>
                </a:lnTo>
                <a:lnTo>
                  <a:pt x="286" y="590"/>
                </a:lnTo>
                <a:lnTo>
                  <a:pt x="278" y="580"/>
                </a:lnTo>
                <a:lnTo>
                  <a:pt x="268" y="572"/>
                </a:lnTo>
                <a:lnTo>
                  <a:pt x="270" y="568"/>
                </a:lnTo>
                <a:lnTo>
                  <a:pt x="276" y="564"/>
                </a:lnTo>
                <a:lnTo>
                  <a:pt x="300" y="540"/>
                </a:lnTo>
                <a:lnTo>
                  <a:pt x="308" y="534"/>
                </a:lnTo>
                <a:lnTo>
                  <a:pt x="316" y="530"/>
                </a:lnTo>
                <a:lnTo>
                  <a:pt x="320" y="524"/>
                </a:lnTo>
                <a:lnTo>
                  <a:pt x="324" y="512"/>
                </a:lnTo>
                <a:lnTo>
                  <a:pt x="322" y="502"/>
                </a:lnTo>
                <a:lnTo>
                  <a:pt x="318" y="498"/>
                </a:lnTo>
                <a:lnTo>
                  <a:pt x="308" y="496"/>
                </a:lnTo>
                <a:lnTo>
                  <a:pt x="308" y="490"/>
                </a:lnTo>
                <a:lnTo>
                  <a:pt x="312" y="482"/>
                </a:lnTo>
                <a:lnTo>
                  <a:pt x="314" y="474"/>
                </a:lnTo>
                <a:lnTo>
                  <a:pt x="308" y="472"/>
                </a:lnTo>
                <a:lnTo>
                  <a:pt x="300" y="474"/>
                </a:lnTo>
                <a:lnTo>
                  <a:pt x="292" y="466"/>
                </a:lnTo>
                <a:lnTo>
                  <a:pt x="288" y="456"/>
                </a:lnTo>
                <a:lnTo>
                  <a:pt x="290" y="446"/>
                </a:lnTo>
                <a:lnTo>
                  <a:pt x="284" y="442"/>
                </a:lnTo>
                <a:lnTo>
                  <a:pt x="274" y="440"/>
                </a:lnTo>
                <a:lnTo>
                  <a:pt x="266" y="442"/>
                </a:lnTo>
                <a:lnTo>
                  <a:pt x="256" y="442"/>
                </a:lnTo>
                <a:lnTo>
                  <a:pt x="256" y="414"/>
                </a:lnTo>
                <a:lnTo>
                  <a:pt x="252" y="406"/>
                </a:lnTo>
                <a:lnTo>
                  <a:pt x="256" y="402"/>
                </a:lnTo>
                <a:lnTo>
                  <a:pt x="252" y="396"/>
                </a:lnTo>
                <a:lnTo>
                  <a:pt x="260" y="382"/>
                </a:lnTo>
                <a:lnTo>
                  <a:pt x="260" y="376"/>
                </a:lnTo>
                <a:lnTo>
                  <a:pt x="258" y="366"/>
                </a:lnTo>
                <a:lnTo>
                  <a:pt x="248" y="362"/>
                </a:lnTo>
                <a:lnTo>
                  <a:pt x="246" y="350"/>
                </a:lnTo>
                <a:lnTo>
                  <a:pt x="248" y="342"/>
                </a:lnTo>
                <a:lnTo>
                  <a:pt x="220" y="342"/>
                </a:lnTo>
                <a:lnTo>
                  <a:pt x="218" y="330"/>
                </a:lnTo>
                <a:lnTo>
                  <a:pt x="218" y="326"/>
                </a:lnTo>
                <a:lnTo>
                  <a:pt x="220" y="322"/>
                </a:lnTo>
                <a:lnTo>
                  <a:pt x="218" y="314"/>
                </a:lnTo>
                <a:lnTo>
                  <a:pt x="214" y="302"/>
                </a:lnTo>
                <a:lnTo>
                  <a:pt x="196" y="298"/>
                </a:lnTo>
                <a:lnTo>
                  <a:pt x="184" y="292"/>
                </a:lnTo>
                <a:lnTo>
                  <a:pt x="176" y="290"/>
                </a:lnTo>
                <a:lnTo>
                  <a:pt x="172" y="284"/>
                </a:lnTo>
                <a:lnTo>
                  <a:pt x="162" y="282"/>
                </a:lnTo>
                <a:lnTo>
                  <a:pt x="152" y="280"/>
                </a:lnTo>
                <a:lnTo>
                  <a:pt x="140" y="268"/>
                </a:lnTo>
                <a:lnTo>
                  <a:pt x="138" y="240"/>
                </a:lnTo>
                <a:lnTo>
                  <a:pt x="126" y="240"/>
                </a:lnTo>
                <a:lnTo>
                  <a:pt x="116" y="244"/>
                </a:lnTo>
                <a:lnTo>
                  <a:pt x="114" y="244"/>
                </a:lnTo>
                <a:lnTo>
                  <a:pt x="106" y="250"/>
                </a:lnTo>
                <a:lnTo>
                  <a:pt x="92" y="256"/>
                </a:lnTo>
                <a:lnTo>
                  <a:pt x="72" y="258"/>
                </a:lnTo>
                <a:lnTo>
                  <a:pt x="60" y="256"/>
                </a:lnTo>
                <a:lnTo>
                  <a:pt x="54" y="256"/>
                </a:lnTo>
                <a:lnTo>
                  <a:pt x="52" y="250"/>
                </a:lnTo>
                <a:lnTo>
                  <a:pt x="56" y="238"/>
                </a:lnTo>
                <a:lnTo>
                  <a:pt x="54" y="232"/>
                </a:lnTo>
                <a:lnTo>
                  <a:pt x="48" y="238"/>
                </a:lnTo>
                <a:lnTo>
                  <a:pt x="38" y="242"/>
                </a:lnTo>
                <a:lnTo>
                  <a:pt x="36" y="244"/>
                </a:lnTo>
                <a:lnTo>
                  <a:pt x="28" y="242"/>
                </a:lnTo>
                <a:lnTo>
                  <a:pt x="18" y="232"/>
                </a:lnTo>
                <a:lnTo>
                  <a:pt x="8" y="222"/>
                </a:lnTo>
                <a:lnTo>
                  <a:pt x="0" y="200"/>
                </a:lnTo>
                <a:lnTo>
                  <a:pt x="8" y="188"/>
                </a:lnTo>
                <a:lnTo>
                  <a:pt x="14" y="182"/>
                </a:lnTo>
                <a:lnTo>
                  <a:pt x="16" y="172"/>
                </a:lnTo>
                <a:lnTo>
                  <a:pt x="26" y="160"/>
                </a:lnTo>
                <a:lnTo>
                  <a:pt x="40" y="154"/>
                </a:lnTo>
                <a:lnTo>
                  <a:pt x="62" y="152"/>
                </a:lnTo>
                <a:lnTo>
                  <a:pt x="68" y="138"/>
                </a:lnTo>
                <a:lnTo>
                  <a:pt x="68" y="126"/>
                </a:lnTo>
                <a:lnTo>
                  <a:pt x="70" y="120"/>
                </a:lnTo>
                <a:lnTo>
                  <a:pt x="72" y="106"/>
                </a:lnTo>
                <a:lnTo>
                  <a:pt x="70" y="94"/>
                </a:lnTo>
                <a:lnTo>
                  <a:pt x="64" y="86"/>
                </a:lnTo>
                <a:lnTo>
                  <a:pt x="64" y="74"/>
                </a:lnTo>
                <a:lnTo>
                  <a:pt x="66" y="72"/>
                </a:lnTo>
                <a:lnTo>
                  <a:pt x="76" y="74"/>
                </a:lnTo>
                <a:lnTo>
                  <a:pt x="76" y="68"/>
                </a:lnTo>
                <a:lnTo>
                  <a:pt x="64" y="64"/>
                </a:lnTo>
                <a:lnTo>
                  <a:pt x="64" y="58"/>
                </a:lnTo>
                <a:lnTo>
                  <a:pt x="92" y="56"/>
                </a:lnTo>
                <a:lnTo>
                  <a:pt x="102" y="54"/>
                </a:lnTo>
                <a:lnTo>
                  <a:pt x="108" y="56"/>
                </a:lnTo>
                <a:lnTo>
                  <a:pt x="112" y="62"/>
                </a:lnTo>
                <a:lnTo>
                  <a:pt x="120" y="70"/>
                </a:lnTo>
                <a:lnTo>
                  <a:pt x="130" y="72"/>
                </a:lnTo>
                <a:lnTo>
                  <a:pt x="144" y="68"/>
                </a:lnTo>
                <a:lnTo>
                  <a:pt x="150" y="62"/>
                </a:lnTo>
                <a:lnTo>
                  <a:pt x="156" y="56"/>
                </a:lnTo>
                <a:lnTo>
                  <a:pt x="168" y="52"/>
                </a:lnTo>
                <a:lnTo>
                  <a:pt x="168" y="44"/>
                </a:lnTo>
                <a:lnTo>
                  <a:pt x="162" y="44"/>
                </a:lnTo>
                <a:lnTo>
                  <a:pt x="156" y="36"/>
                </a:lnTo>
                <a:lnTo>
                  <a:pt x="154" y="26"/>
                </a:lnTo>
                <a:lnTo>
                  <a:pt x="148" y="20"/>
                </a:lnTo>
                <a:lnTo>
                  <a:pt x="154" y="18"/>
                </a:lnTo>
                <a:lnTo>
                  <a:pt x="162" y="22"/>
                </a:lnTo>
                <a:lnTo>
                  <a:pt x="174" y="22"/>
                </a:lnTo>
                <a:lnTo>
                  <a:pt x="178" y="24"/>
                </a:lnTo>
                <a:lnTo>
                  <a:pt x="184" y="20"/>
                </a:lnTo>
                <a:lnTo>
                  <a:pt x="194" y="18"/>
                </a:lnTo>
                <a:lnTo>
                  <a:pt x="206" y="14"/>
                </a:lnTo>
                <a:lnTo>
                  <a:pt x="210" y="4"/>
                </a:lnTo>
                <a:lnTo>
                  <a:pt x="208" y="0"/>
                </a:lnTo>
                <a:lnTo>
                  <a:pt x="220" y="0"/>
                </a:lnTo>
                <a:lnTo>
                  <a:pt x="228" y="22"/>
                </a:lnTo>
                <a:lnTo>
                  <a:pt x="222" y="28"/>
                </a:lnTo>
                <a:lnTo>
                  <a:pt x="222" y="48"/>
                </a:lnTo>
                <a:lnTo>
                  <a:pt x="228" y="56"/>
                </a:lnTo>
                <a:lnTo>
                  <a:pt x="236" y="64"/>
                </a:lnTo>
                <a:lnTo>
                  <a:pt x="244" y="64"/>
                </a:lnTo>
                <a:lnTo>
                  <a:pt x="254" y="62"/>
                </a:lnTo>
                <a:lnTo>
                  <a:pt x="260" y="58"/>
                </a:lnTo>
                <a:lnTo>
                  <a:pt x="268" y="54"/>
                </a:lnTo>
                <a:lnTo>
                  <a:pt x="272" y="50"/>
                </a:lnTo>
                <a:lnTo>
                  <a:pt x="276" y="54"/>
                </a:lnTo>
                <a:lnTo>
                  <a:pt x="282" y="54"/>
                </a:lnTo>
                <a:lnTo>
                  <a:pt x="284" y="54"/>
                </a:lnTo>
                <a:lnTo>
                  <a:pt x="286" y="48"/>
                </a:lnTo>
                <a:lnTo>
                  <a:pt x="286" y="44"/>
                </a:lnTo>
                <a:lnTo>
                  <a:pt x="290" y="44"/>
                </a:lnTo>
                <a:lnTo>
                  <a:pt x="300" y="46"/>
                </a:lnTo>
                <a:lnTo>
                  <a:pt x="310" y="50"/>
                </a:lnTo>
                <a:lnTo>
                  <a:pt x="316" y="50"/>
                </a:lnTo>
                <a:lnTo>
                  <a:pt x="322" y="46"/>
                </a:lnTo>
                <a:lnTo>
                  <a:pt x="332" y="48"/>
                </a:lnTo>
                <a:lnTo>
                  <a:pt x="338" y="52"/>
                </a:lnTo>
                <a:lnTo>
                  <a:pt x="350" y="24"/>
                </a:lnTo>
                <a:lnTo>
                  <a:pt x="356" y="18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54" name="Freeform 91">
            <a:extLst>
              <a:ext uri="{FF2B5EF4-FFF2-40B4-BE49-F238E27FC236}">
                <a16:creationId xmlns:a16="http://schemas.microsoft.com/office/drawing/2014/main" id="{8F831B49-833F-46D1-AD83-CE3BF4AB75BB}"/>
              </a:ext>
            </a:extLst>
          </p:cNvPr>
          <p:cNvSpPr>
            <a:spLocks/>
          </p:cNvSpPr>
          <p:nvPr/>
        </p:nvSpPr>
        <p:spPr bwMode="gray">
          <a:xfrm>
            <a:off x="2737948" y="1289217"/>
            <a:ext cx="121282" cy="80113"/>
          </a:xfrm>
          <a:custGeom>
            <a:avLst/>
            <a:gdLst>
              <a:gd name="T0" fmla="*/ 55 w 167"/>
              <a:gd name="T1" fmla="*/ 84 h 120"/>
              <a:gd name="T2" fmla="*/ 71 w 167"/>
              <a:gd name="T3" fmla="*/ 80 h 120"/>
              <a:gd name="T4" fmla="*/ 43 w 167"/>
              <a:gd name="T5" fmla="*/ 78 h 120"/>
              <a:gd name="T6" fmla="*/ 55 w 167"/>
              <a:gd name="T7" fmla="*/ 64 h 120"/>
              <a:gd name="T8" fmla="*/ 85 w 167"/>
              <a:gd name="T9" fmla="*/ 60 h 120"/>
              <a:gd name="T10" fmla="*/ 89 w 167"/>
              <a:gd name="T11" fmla="*/ 48 h 120"/>
              <a:gd name="T12" fmla="*/ 71 w 167"/>
              <a:gd name="T13" fmla="*/ 52 h 120"/>
              <a:gd name="T14" fmla="*/ 65 w 167"/>
              <a:gd name="T15" fmla="*/ 42 h 120"/>
              <a:gd name="T16" fmla="*/ 55 w 167"/>
              <a:gd name="T17" fmla="*/ 48 h 120"/>
              <a:gd name="T18" fmla="*/ 37 w 167"/>
              <a:gd name="T19" fmla="*/ 64 h 120"/>
              <a:gd name="T20" fmla="*/ 11 w 167"/>
              <a:gd name="T21" fmla="*/ 46 h 120"/>
              <a:gd name="T22" fmla="*/ 19 w 167"/>
              <a:gd name="T23" fmla="*/ 28 h 120"/>
              <a:gd name="T24" fmla="*/ 11 w 167"/>
              <a:gd name="T25" fmla="*/ 24 h 120"/>
              <a:gd name="T26" fmla="*/ 0 w 167"/>
              <a:gd name="T27" fmla="*/ 20 h 120"/>
              <a:gd name="T28" fmla="*/ 19 w 167"/>
              <a:gd name="T29" fmla="*/ 8 h 120"/>
              <a:gd name="T30" fmla="*/ 47 w 167"/>
              <a:gd name="T31" fmla="*/ 10 h 120"/>
              <a:gd name="T32" fmla="*/ 55 w 167"/>
              <a:gd name="T33" fmla="*/ 12 h 120"/>
              <a:gd name="T34" fmla="*/ 73 w 167"/>
              <a:gd name="T35" fmla="*/ 14 h 120"/>
              <a:gd name="T36" fmla="*/ 77 w 167"/>
              <a:gd name="T37" fmla="*/ 28 h 120"/>
              <a:gd name="T38" fmla="*/ 89 w 167"/>
              <a:gd name="T39" fmla="*/ 38 h 120"/>
              <a:gd name="T40" fmla="*/ 83 w 167"/>
              <a:gd name="T41" fmla="*/ 12 h 120"/>
              <a:gd name="T42" fmla="*/ 85 w 167"/>
              <a:gd name="T43" fmla="*/ 0 h 120"/>
              <a:gd name="T44" fmla="*/ 107 w 167"/>
              <a:gd name="T45" fmla="*/ 8 h 120"/>
              <a:gd name="T46" fmla="*/ 111 w 167"/>
              <a:gd name="T47" fmla="*/ 22 h 120"/>
              <a:gd name="T48" fmla="*/ 127 w 167"/>
              <a:gd name="T49" fmla="*/ 22 h 120"/>
              <a:gd name="T50" fmla="*/ 151 w 167"/>
              <a:gd name="T51" fmla="*/ 36 h 120"/>
              <a:gd name="T52" fmla="*/ 159 w 167"/>
              <a:gd name="T53" fmla="*/ 48 h 120"/>
              <a:gd name="T54" fmla="*/ 123 w 167"/>
              <a:gd name="T55" fmla="*/ 60 h 120"/>
              <a:gd name="T56" fmla="*/ 117 w 167"/>
              <a:gd name="T57" fmla="*/ 84 h 120"/>
              <a:gd name="T58" fmla="*/ 101 w 167"/>
              <a:gd name="T59" fmla="*/ 102 h 120"/>
              <a:gd name="T60" fmla="*/ 81 w 167"/>
              <a:gd name="T61" fmla="*/ 114 h 120"/>
              <a:gd name="T62" fmla="*/ 67 w 167"/>
              <a:gd name="T63" fmla="*/ 104 h 120"/>
              <a:gd name="T64" fmla="*/ 45 w 167"/>
              <a:gd name="T65" fmla="*/ 92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67" h="120">
                <a:moveTo>
                  <a:pt x="45" y="92"/>
                </a:moveTo>
                <a:lnTo>
                  <a:pt x="55" y="84"/>
                </a:lnTo>
                <a:lnTo>
                  <a:pt x="83" y="88"/>
                </a:lnTo>
                <a:lnTo>
                  <a:pt x="71" y="80"/>
                </a:lnTo>
                <a:lnTo>
                  <a:pt x="59" y="76"/>
                </a:lnTo>
                <a:lnTo>
                  <a:pt x="43" y="78"/>
                </a:lnTo>
                <a:lnTo>
                  <a:pt x="43" y="68"/>
                </a:lnTo>
                <a:lnTo>
                  <a:pt x="55" y="64"/>
                </a:lnTo>
                <a:lnTo>
                  <a:pt x="69" y="60"/>
                </a:lnTo>
                <a:lnTo>
                  <a:pt x="85" y="60"/>
                </a:lnTo>
                <a:lnTo>
                  <a:pt x="97" y="56"/>
                </a:lnTo>
                <a:lnTo>
                  <a:pt x="89" y="48"/>
                </a:lnTo>
                <a:lnTo>
                  <a:pt x="83" y="52"/>
                </a:lnTo>
                <a:lnTo>
                  <a:pt x="71" y="52"/>
                </a:lnTo>
                <a:lnTo>
                  <a:pt x="71" y="44"/>
                </a:lnTo>
                <a:lnTo>
                  <a:pt x="65" y="42"/>
                </a:lnTo>
                <a:lnTo>
                  <a:pt x="61" y="48"/>
                </a:lnTo>
                <a:lnTo>
                  <a:pt x="55" y="48"/>
                </a:lnTo>
                <a:lnTo>
                  <a:pt x="51" y="56"/>
                </a:lnTo>
                <a:lnTo>
                  <a:pt x="37" y="64"/>
                </a:lnTo>
                <a:lnTo>
                  <a:pt x="27" y="58"/>
                </a:lnTo>
                <a:lnTo>
                  <a:pt x="11" y="46"/>
                </a:lnTo>
                <a:lnTo>
                  <a:pt x="7" y="36"/>
                </a:lnTo>
                <a:lnTo>
                  <a:pt x="19" y="28"/>
                </a:lnTo>
                <a:lnTo>
                  <a:pt x="19" y="24"/>
                </a:lnTo>
                <a:lnTo>
                  <a:pt x="11" y="24"/>
                </a:lnTo>
                <a:lnTo>
                  <a:pt x="2" y="30"/>
                </a:lnTo>
                <a:lnTo>
                  <a:pt x="0" y="20"/>
                </a:lnTo>
                <a:lnTo>
                  <a:pt x="4" y="12"/>
                </a:lnTo>
                <a:lnTo>
                  <a:pt x="19" y="8"/>
                </a:lnTo>
                <a:lnTo>
                  <a:pt x="33" y="8"/>
                </a:lnTo>
                <a:lnTo>
                  <a:pt x="47" y="10"/>
                </a:lnTo>
                <a:lnTo>
                  <a:pt x="51" y="26"/>
                </a:lnTo>
                <a:lnTo>
                  <a:pt x="55" y="12"/>
                </a:lnTo>
                <a:lnTo>
                  <a:pt x="63" y="10"/>
                </a:lnTo>
                <a:lnTo>
                  <a:pt x="73" y="14"/>
                </a:lnTo>
                <a:lnTo>
                  <a:pt x="75" y="22"/>
                </a:lnTo>
                <a:lnTo>
                  <a:pt x="77" y="28"/>
                </a:lnTo>
                <a:lnTo>
                  <a:pt x="83" y="36"/>
                </a:lnTo>
                <a:lnTo>
                  <a:pt x="89" y="38"/>
                </a:lnTo>
                <a:lnTo>
                  <a:pt x="87" y="24"/>
                </a:lnTo>
                <a:lnTo>
                  <a:pt x="83" y="12"/>
                </a:lnTo>
                <a:lnTo>
                  <a:pt x="81" y="4"/>
                </a:lnTo>
                <a:lnTo>
                  <a:pt x="85" y="0"/>
                </a:lnTo>
                <a:lnTo>
                  <a:pt x="95" y="4"/>
                </a:lnTo>
                <a:lnTo>
                  <a:pt x="107" y="8"/>
                </a:lnTo>
                <a:lnTo>
                  <a:pt x="103" y="20"/>
                </a:lnTo>
                <a:lnTo>
                  <a:pt x="111" y="22"/>
                </a:lnTo>
                <a:lnTo>
                  <a:pt x="115" y="16"/>
                </a:lnTo>
                <a:lnTo>
                  <a:pt x="127" y="22"/>
                </a:lnTo>
                <a:lnTo>
                  <a:pt x="127" y="30"/>
                </a:lnTo>
                <a:lnTo>
                  <a:pt x="151" y="36"/>
                </a:lnTo>
                <a:lnTo>
                  <a:pt x="167" y="44"/>
                </a:lnTo>
                <a:lnTo>
                  <a:pt x="159" y="48"/>
                </a:lnTo>
                <a:lnTo>
                  <a:pt x="137" y="52"/>
                </a:lnTo>
                <a:lnTo>
                  <a:pt x="123" y="60"/>
                </a:lnTo>
                <a:lnTo>
                  <a:pt x="119" y="68"/>
                </a:lnTo>
                <a:lnTo>
                  <a:pt x="117" y="84"/>
                </a:lnTo>
                <a:lnTo>
                  <a:pt x="107" y="88"/>
                </a:lnTo>
                <a:lnTo>
                  <a:pt x="101" y="102"/>
                </a:lnTo>
                <a:lnTo>
                  <a:pt x="93" y="120"/>
                </a:lnTo>
                <a:lnTo>
                  <a:pt x="81" y="114"/>
                </a:lnTo>
                <a:lnTo>
                  <a:pt x="81" y="102"/>
                </a:lnTo>
                <a:lnTo>
                  <a:pt x="67" y="104"/>
                </a:lnTo>
                <a:lnTo>
                  <a:pt x="59" y="98"/>
                </a:lnTo>
                <a:lnTo>
                  <a:pt x="45" y="9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55" name="Freeform 92">
            <a:extLst>
              <a:ext uri="{FF2B5EF4-FFF2-40B4-BE49-F238E27FC236}">
                <a16:creationId xmlns:a16="http://schemas.microsoft.com/office/drawing/2014/main" id="{8EA07A79-CE07-4F0D-8067-911181D9059D}"/>
              </a:ext>
            </a:extLst>
          </p:cNvPr>
          <p:cNvSpPr>
            <a:spLocks/>
          </p:cNvSpPr>
          <p:nvPr/>
        </p:nvSpPr>
        <p:spPr bwMode="gray">
          <a:xfrm>
            <a:off x="2822919" y="1277200"/>
            <a:ext cx="104579" cy="33381"/>
          </a:xfrm>
          <a:custGeom>
            <a:avLst/>
            <a:gdLst>
              <a:gd name="T0" fmla="*/ 62 w 144"/>
              <a:gd name="T1" fmla="*/ 38 h 50"/>
              <a:gd name="T2" fmla="*/ 52 w 144"/>
              <a:gd name="T3" fmla="*/ 38 h 50"/>
              <a:gd name="T4" fmla="*/ 34 w 144"/>
              <a:gd name="T5" fmla="*/ 38 h 50"/>
              <a:gd name="T6" fmla="*/ 36 w 144"/>
              <a:gd name="T7" fmla="*/ 30 h 50"/>
              <a:gd name="T8" fmla="*/ 54 w 144"/>
              <a:gd name="T9" fmla="*/ 28 h 50"/>
              <a:gd name="T10" fmla="*/ 60 w 144"/>
              <a:gd name="T11" fmla="*/ 24 h 50"/>
              <a:gd name="T12" fmla="*/ 50 w 144"/>
              <a:gd name="T13" fmla="*/ 22 h 50"/>
              <a:gd name="T14" fmla="*/ 34 w 144"/>
              <a:gd name="T15" fmla="*/ 22 h 50"/>
              <a:gd name="T16" fmla="*/ 18 w 144"/>
              <a:gd name="T17" fmla="*/ 26 h 50"/>
              <a:gd name="T18" fmla="*/ 2 w 144"/>
              <a:gd name="T19" fmla="*/ 24 h 50"/>
              <a:gd name="T20" fmla="*/ 0 w 144"/>
              <a:gd name="T21" fmla="*/ 18 h 50"/>
              <a:gd name="T22" fmla="*/ 10 w 144"/>
              <a:gd name="T23" fmla="*/ 14 h 50"/>
              <a:gd name="T24" fmla="*/ 22 w 144"/>
              <a:gd name="T25" fmla="*/ 6 h 50"/>
              <a:gd name="T26" fmla="*/ 30 w 144"/>
              <a:gd name="T27" fmla="*/ 6 h 50"/>
              <a:gd name="T28" fmla="*/ 46 w 144"/>
              <a:gd name="T29" fmla="*/ 10 h 50"/>
              <a:gd name="T30" fmla="*/ 56 w 144"/>
              <a:gd name="T31" fmla="*/ 10 h 50"/>
              <a:gd name="T32" fmla="*/ 66 w 144"/>
              <a:gd name="T33" fmla="*/ 12 h 50"/>
              <a:gd name="T34" fmla="*/ 74 w 144"/>
              <a:gd name="T35" fmla="*/ 0 h 50"/>
              <a:gd name="T36" fmla="*/ 82 w 144"/>
              <a:gd name="T37" fmla="*/ 14 h 50"/>
              <a:gd name="T38" fmla="*/ 96 w 144"/>
              <a:gd name="T39" fmla="*/ 8 h 50"/>
              <a:gd name="T40" fmla="*/ 114 w 144"/>
              <a:gd name="T41" fmla="*/ 10 h 50"/>
              <a:gd name="T42" fmla="*/ 132 w 144"/>
              <a:gd name="T43" fmla="*/ 14 h 50"/>
              <a:gd name="T44" fmla="*/ 144 w 144"/>
              <a:gd name="T45" fmla="*/ 16 h 50"/>
              <a:gd name="T46" fmla="*/ 138 w 144"/>
              <a:gd name="T47" fmla="*/ 22 h 50"/>
              <a:gd name="T48" fmla="*/ 122 w 144"/>
              <a:gd name="T49" fmla="*/ 30 h 50"/>
              <a:gd name="T50" fmla="*/ 114 w 144"/>
              <a:gd name="T51" fmla="*/ 38 h 50"/>
              <a:gd name="T52" fmla="*/ 100 w 144"/>
              <a:gd name="T53" fmla="*/ 38 h 50"/>
              <a:gd name="T54" fmla="*/ 92 w 144"/>
              <a:gd name="T55" fmla="*/ 50 h 50"/>
              <a:gd name="T56" fmla="*/ 74 w 144"/>
              <a:gd name="T57" fmla="*/ 46 h 50"/>
              <a:gd name="T58" fmla="*/ 68 w 144"/>
              <a:gd name="T59" fmla="*/ 38 h 50"/>
              <a:gd name="T60" fmla="*/ 62 w 144"/>
              <a:gd name="T61" fmla="*/ 38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44" h="50">
                <a:moveTo>
                  <a:pt x="62" y="38"/>
                </a:moveTo>
                <a:lnTo>
                  <a:pt x="52" y="38"/>
                </a:lnTo>
                <a:lnTo>
                  <a:pt x="34" y="38"/>
                </a:lnTo>
                <a:lnTo>
                  <a:pt x="36" y="30"/>
                </a:lnTo>
                <a:lnTo>
                  <a:pt x="54" y="28"/>
                </a:lnTo>
                <a:lnTo>
                  <a:pt x="60" y="24"/>
                </a:lnTo>
                <a:lnTo>
                  <a:pt x="50" y="22"/>
                </a:lnTo>
                <a:lnTo>
                  <a:pt x="34" y="22"/>
                </a:lnTo>
                <a:lnTo>
                  <a:pt x="18" y="26"/>
                </a:lnTo>
                <a:lnTo>
                  <a:pt x="2" y="24"/>
                </a:lnTo>
                <a:lnTo>
                  <a:pt x="0" y="18"/>
                </a:lnTo>
                <a:lnTo>
                  <a:pt x="10" y="14"/>
                </a:lnTo>
                <a:lnTo>
                  <a:pt x="22" y="6"/>
                </a:lnTo>
                <a:lnTo>
                  <a:pt x="30" y="6"/>
                </a:lnTo>
                <a:lnTo>
                  <a:pt x="46" y="10"/>
                </a:lnTo>
                <a:lnTo>
                  <a:pt x="56" y="10"/>
                </a:lnTo>
                <a:lnTo>
                  <a:pt x="66" y="12"/>
                </a:lnTo>
                <a:lnTo>
                  <a:pt x="74" y="0"/>
                </a:lnTo>
                <a:lnTo>
                  <a:pt x="82" y="14"/>
                </a:lnTo>
                <a:lnTo>
                  <a:pt x="96" y="8"/>
                </a:lnTo>
                <a:lnTo>
                  <a:pt x="114" y="10"/>
                </a:lnTo>
                <a:lnTo>
                  <a:pt x="132" y="14"/>
                </a:lnTo>
                <a:lnTo>
                  <a:pt x="144" y="16"/>
                </a:lnTo>
                <a:lnTo>
                  <a:pt x="138" y="22"/>
                </a:lnTo>
                <a:lnTo>
                  <a:pt x="122" y="30"/>
                </a:lnTo>
                <a:lnTo>
                  <a:pt x="114" y="38"/>
                </a:lnTo>
                <a:lnTo>
                  <a:pt x="100" y="38"/>
                </a:lnTo>
                <a:lnTo>
                  <a:pt x="92" y="50"/>
                </a:lnTo>
                <a:lnTo>
                  <a:pt x="74" y="46"/>
                </a:lnTo>
                <a:lnTo>
                  <a:pt x="68" y="38"/>
                </a:lnTo>
                <a:lnTo>
                  <a:pt x="62" y="38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56" name="Freeform 93">
            <a:extLst>
              <a:ext uri="{FF2B5EF4-FFF2-40B4-BE49-F238E27FC236}">
                <a16:creationId xmlns:a16="http://schemas.microsoft.com/office/drawing/2014/main" id="{E2F4A7A3-0823-408B-A4A0-F95043294247}"/>
              </a:ext>
            </a:extLst>
          </p:cNvPr>
          <p:cNvSpPr>
            <a:spLocks/>
          </p:cNvSpPr>
          <p:nvPr/>
        </p:nvSpPr>
        <p:spPr bwMode="gray">
          <a:xfrm>
            <a:off x="2851968" y="1331945"/>
            <a:ext cx="42122" cy="21364"/>
          </a:xfrm>
          <a:custGeom>
            <a:avLst/>
            <a:gdLst>
              <a:gd name="T0" fmla="*/ 10 w 58"/>
              <a:gd name="T1" fmla="*/ 8 h 32"/>
              <a:gd name="T2" fmla="*/ 14 w 58"/>
              <a:gd name="T3" fmla="*/ 4 h 32"/>
              <a:gd name="T4" fmla="*/ 30 w 58"/>
              <a:gd name="T5" fmla="*/ 0 h 32"/>
              <a:gd name="T6" fmla="*/ 38 w 58"/>
              <a:gd name="T7" fmla="*/ 0 h 32"/>
              <a:gd name="T8" fmla="*/ 42 w 58"/>
              <a:gd name="T9" fmla="*/ 8 h 32"/>
              <a:gd name="T10" fmla="*/ 48 w 58"/>
              <a:gd name="T11" fmla="*/ 12 h 32"/>
              <a:gd name="T12" fmla="*/ 58 w 58"/>
              <a:gd name="T13" fmla="*/ 12 h 32"/>
              <a:gd name="T14" fmla="*/ 52 w 58"/>
              <a:gd name="T15" fmla="*/ 20 h 32"/>
              <a:gd name="T16" fmla="*/ 38 w 58"/>
              <a:gd name="T17" fmla="*/ 28 h 32"/>
              <a:gd name="T18" fmla="*/ 26 w 58"/>
              <a:gd name="T19" fmla="*/ 32 h 32"/>
              <a:gd name="T20" fmla="*/ 26 w 58"/>
              <a:gd name="T21" fmla="*/ 20 h 32"/>
              <a:gd name="T22" fmla="*/ 18 w 58"/>
              <a:gd name="T23" fmla="*/ 20 h 32"/>
              <a:gd name="T24" fmla="*/ 10 w 58"/>
              <a:gd name="T25" fmla="*/ 22 h 32"/>
              <a:gd name="T26" fmla="*/ 4 w 58"/>
              <a:gd name="T27" fmla="*/ 28 h 32"/>
              <a:gd name="T28" fmla="*/ 0 w 58"/>
              <a:gd name="T29" fmla="*/ 20 h 32"/>
              <a:gd name="T30" fmla="*/ 6 w 58"/>
              <a:gd name="T31" fmla="*/ 14 h 32"/>
              <a:gd name="T32" fmla="*/ 10 w 58"/>
              <a:gd name="T33" fmla="*/ 8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8" h="32">
                <a:moveTo>
                  <a:pt x="10" y="8"/>
                </a:moveTo>
                <a:lnTo>
                  <a:pt x="14" y="4"/>
                </a:lnTo>
                <a:lnTo>
                  <a:pt x="30" y="0"/>
                </a:lnTo>
                <a:lnTo>
                  <a:pt x="38" y="0"/>
                </a:lnTo>
                <a:lnTo>
                  <a:pt x="42" y="8"/>
                </a:lnTo>
                <a:lnTo>
                  <a:pt x="48" y="12"/>
                </a:lnTo>
                <a:lnTo>
                  <a:pt x="58" y="12"/>
                </a:lnTo>
                <a:lnTo>
                  <a:pt x="52" y="20"/>
                </a:lnTo>
                <a:lnTo>
                  <a:pt x="38" y="28"/>
                </a:lnTo>
                <a:lnTo>
                  <a:pt x="26" y="32"/>
                </a:lnTo>
                <a:lnTo>
                  <a:pt x="26" y="20"/>
                </a:lnTo>
                <a:lnTo>
                  <a:pt x="18" y="20"/>
                </a:lnTo>
                <a:lnTo>
                  <a:pt x="10" y="22"/>
                </a:lnTo>
                <a:lnTo>
                  <a:pt x="4" y="28"/>
                </a:lnTo>
                <a:lnTo>
                  <a:pt x="0" y="20"/>
                </a:lnTo>
                <a:lnTo>
                  <a:pt x="6" y="14"/>
                </a:lnTo>
                <a:lnTo>
                  <a:pt x="10" y="8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57" name="Freeform 94">
            <a:extLst>
              <a:ext uri="{FF2B5EF4-FFF2-40B4-BE49-F238E27FC236}">
                <a16:creationId xmlns:a16="http://schemas.microsoft.com/office/drawing/2014/main" id="{448B0522-E610-4668-B528-B2DD15F9E898}"/>
              </a:ext>
            </a:extLst>
          </p:cNvPr>
          <p:cNvSpPr>
            <a:spLocks/>
          </p:cNvSpPr>
          <p:nvPr/>
        </p:nvSpPr>
        <p:spPr bwMode="gray">
          <a:xfrm>
            <a:off x="3114867" y="1936801"/>
            <a:ext cx="37764" cy="29375"/>
          </a:xfrm>
          <a:custGeom>
            <a:avLst/>
            <a:gdLst>
              <a:gd name="T0" fmla="*/ 0 w 52"/>
              <a:gd name="T1" fmla="*/ 6 h 44"/>
              <a:gd name="T2" fmla="*/ 6 w 52"/>
              <a:gd name="T3" fmla="*/ 4 h 44"/>
              <a:gd name="T4" fmla="*/ 16 w 52"/>
              <a:gd name="T5" fmla="*/ 0 h 44"/>
              <a:gd name="T6" fmla="*/ 24 w 52"/>
              <a:gd name="T7" fmla="*/ 0 h 44"/>
              <a:gd name="T8" fmla="*/ 28 w 52"/>
              <a:gd name="T9" fmla="*/ 4 h 44"/>
              <a:gd name="T10" fmla="*/ 30 w 52"/>
              <a:gd name="T11" fmla="*/ 10 h 44"/>
              <a:gd name="T12" fmla="*/ 32 w 52"/>
              <a:gd name="T13" fmla="*/ 18 h 44"/>
              <a:gd name="T14" fmla="*/ 36 w 52"/>
              <a:gd name="T15" fmla="*/ 24 h 44"/>
              <a:gd name="T16" fmla="*/ 40 w 52"/>
              <a:gd name="T17" fmla="*/ 28 h 44"/>
              <a:gd name="T18" fmla="*/ 46 w 52"/>
              <a:gd name="T19" fmla="*/ 30 h 44"/>
              <a:gd name="T20" fmla="*/ 50 w 52"/>
              <a:gd name="T21" fmla="*/ 34 h 44"/>
              <a:gd name="T22" fmla="*/ 52 w 52"/>
              <a:gd name="T23" fmla="*/ 38 h 44"/>
              <a:gd name="T24" fmla="*/ 50 w 52"/>
              <a:gd name="T25" fmla="*/ 44 h 44"/>
              <a:gd name="T26" fmla="*/ 42 w 52"/>
              <a:gd name="T27" fmla="*/ 42 h 44"/>
              <a:gd name="T28" fmla="*/ 40 w 52"/>
              <a:gd name="T29" fmla="*/ 34 h 44"/>
              <a:gd name="T30" fmla="*/ 34 w 52"/>
              <a:gd name="T31" fmla="*/ 32 h 44"/>
              <a:gd name="T32" fmla="*/ 28 w 52"/>
              <a:gd name="T33" fmla="*/ 28 h 44"/>
              <a:gd name="T34" fmla="*/ 20 w 52"/>
              <a:gd name="T35" fmla="*/ 28 h 44"/>
              <a:gd name="T36" fmla="*/ 18 w 52"/>
              <a:gd name="T37" fmla="*/ 32 h 44"/>
              <a:gd name="T38" fmla="*/ 12 w 52"/>
              <a:gd name="T39" fmla="*/ 28 h 44"/>
              <a:gd name="T40" fmla="*/ 0 w 52"/>
              <a:gd name="T41" fmla="*/ 28 h 44"/>
              <a:gd name="T42" fmla="*/ 0 w 52"/>
              <a:gd name="T43" fmla="*/ 16 h 44"/>
              <a:gd name="T44" fmla="*/ 0 w 52"/>
              <a:gd name="T45" fmla="*/ 6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52" h="44">
                <a:moveTo>
                  <a:pt x="0" y="6"/>
                </a:moveTo>
                <a:lnTo>
                  <a:pt x="6" y="4"/>
                </a:lnTo>
                <a:lnTo>
                  <a:pt x="16" y="0"/>
                </a:lnTo>
                <a:lnTo>
                  <a:pt x="24" y="0"/>
                </a:lnTo>
                <a:lnTo>
                  <a:pt x="28" y="4"/>
                </a:lnTo>
                <a:lnTo>
                  <a:pt x="30" y="10"/>
                </a:lnTo>
                <a:lnTo>
                  <a:pt x="32" y="18"/>
                </a:lnTo>
                <a:lnTo>
                  <a:pt x="36" y="24"/>
                </a:lnTo>
                <a:lnTo>
                  <a:pt x="40" y="28"/>
                </a:lnTo>
                <a:lnTo>
                  <a:pt x="46" y="30"/>
                </a:lnTo>
                <a:lnTo>
                  <a:pt x="50" y="34"/>
                </a:lnTo>
                <a:lnTo>
                  <a:pt x="52" y="38"/>
                </a:lnTo>
                <a:lnTo>
                  <a:pt x="50" y="44"/>
                </a:lnTo>
                <a:lnTo>
                  <a:pt x="42" y="42"/>
                </a:lnTo>
                <a:lnTo>
                  <a:pt x="40" y="34"/>
                </a:lnTo>
                <a:lnTo>
                  <a:pt x="34" y="32"/>
                </a:lnTo>
                <a:lnTo>
                  <a:pt x="28" y="28"/>
                </a:lnTo>
                <a:lnTo>
                  <a:pt x="20" y="28"/>
                </a:lnTo>
                <a:lnTo>
                  <a:pt x="18" y="32"/>
                </a:lnTo>
                <a:lnTo>
                  <a:pt x="12" y="28"/>
                </a:lnTo>
                <a:lnTo>
                  <a:pt x="0" y="28"/>
                </a:lnTo>
                <a:lnTo>
                  <a:pt x="0" y="16"/>
                </a:lnTo>
                <a:lnTo>
                  <a:pt x="0" y="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58" name="Freeform 95">
            <a:extLst>
              <a:ext uri="{FF2B5EF4-FFF2-40B4-BE49-F238E27FC236}">
                <a16:creationId xmlns:a16="http://schemas.microsoft.com/office/drawing/2014/main" id="{198CF95F-E461-44DD-A496-F7D5729A1A8E}"/>
              </a:ext>
            </a:extLst>
          </p:cNvPr>
          <p:cNvSpPr>
            <a:spLocks/>
          </p:cNvSpPr>
          <p:nvPr/>
        </p:nvSpPr>
        <p:spPr bwMode="gray">
          <a:xfrm>
            <a:off x="3132297" y="1928789"/>
            <a:ext cx="61004" cy="44062"/>
          </a:xfrm>
          <a:custGeom>
            <a:avLst/>
            <a:gdLst>
              <a:gd name="T0" fmla="*/ 20 w 84"/>
              <a:gd name="T1" fmla="*/ 0 h 66"/>
              <a:gd name="T2" fmla="*/ 26 w 84"/>
              <a:gd name="T3" fmla="*/ 2 h 66"/>
              <a:gd name="T4" fmla="*/ 32 w 84"/>
              <a:gd name="T5" fmla="*/ 8 h 66"/>
              <a:gd name="T6" fmla="*/ 42 w 84"/>
              <a:gd name="T7" fmla="*/ 14 h 66"/>
              <a:gd name="T8" fmla="*/ 46 w 84"/>
              <a:gd name="T9" fmla="*/ 12 h 66"/>
              <a:gd name="T10" fmla="*/ 52 w 84"/>
              <a:gd name="T11" fmla="*/ 6 h 66"/>
              <a:gd name="T12" fmla="*/ 56 w 84"/>
              <a:gd name="T13" fmla="*/ 2 h 66"/>
              <a:gd name="T14" fmla="*/ 60 w 84"/>
              <a:gd name="T15" fmla="*/ 8 h 66"/>
              <a:gd name="T16" fmla="*/ 66 w 84"/>
              <a:gd name="T17" fmla="*/ 20 h 66"/>
              <a:gd name="T18" fmla="*/ 70 w 84"/>
              <a:gd name="T19" fmla="*/ 24 h 66"/>
              <a:gd name="T20" fmla="*/ 80 w 84"/>
              <a:gd name="T21" fmla="*/ 28 h 66"/>
              <a:gd name="T22" fmla="*/ 84 w 84"/>
              <a:gd name="T23" fmla="*/ 30 h 66"/>
              <a:gd name="T24" fmla="*/ 84 w 84"/>
              <a:gd name="T25" fmla="*/ 36 h 66"/>
              <a:gd name="T26" fmla="*/ 72 w 84"/>
              <a:gd name="T27" fmla="*/ 36 h 66"/>
              <a:gd name="T28" fmla="*/ 68 w 84"/>
              <a:gd name="T29" fmla="*/ 38 h 66"/>
              <a:gd name="T30" fmla="*/ 66 w 84"/>
              <a:gd name="T31" fmla="*/ 44 h 66"/>
              <a:gd name="T32" fmla="*/ 68 w 84"/>
              <a:gd name="T33" fmla="*/ 48 h 66"/>
              <a:gd name="T34" fmla="*/ 68 w 84"/>
              <a:gd name="T35" fmla="*/ 50 h 66"/>
              <a:gd name="T36" fmla="*/ 68 w 84"/>
              <a:gd name="T37" fmla="*/ 52 h 66"/>
              <a:gd name="T38" fmla="*/ 68 w 84"/>
              <a:gd name="T39" fmla="*/ 54 h 66"/>
              <a:gd name="T40" fmla="*/ 60 w 84"/>
              <a:gd name="T41" fmla="*/ 54 h 66"/>
              <a:gd name="T42" fmla="*/ 60 w 84"/>
              <a:gd name="T43" fmla="*/ 58 h 66"/>
              <a:gd name="T44" fmla="*/ 60 w 84"/>
              <a:gd name="T45" fmla="*/ 62 h 66"/>
              <a:gd name="T46" fmla="*/ 60 w 84"/>
              <a:gd name="T47" fmla="*/ 66 h 66"/>
              <a:gd name="T48" fmla="*/ 52 w 84"/>
              <a:gd name="T49" fmla="*/ 66 h 66"/>
              <a:gd name="T50" fmla="*/ 46 w 84"/>
              <a:gd name="T51" fmla="*/ 62 h 66"/>
              <a:gd name="T52" fmla="*/ 52 w 84"/>
              <a:gd name="T53" fmla="*/ 58 h 66"/>
              <a:gd name="T54" fmla="*/ 48 w 84"/>
              <a:gd name="T55" fmla="*/ 52 h 66"/>
              <a:gd name="T56" fmla="*/ 48 w 84"/>
              <a:gd name="T57" fmla="*/ 44 h 66"/>
              <a:gd name="T58" fmla="*/ 44 w 84"/>
              <a:gd name="T59" fmla="*/ 42 h 66"/>
              <a:gd name="T60" fmla="*/ 42 w 84"/>
              <a:gd name="T61" fmla="*/ 44 h 66"/>
              <a:gd name="T62" fmla="*/ 38 w 84"/>
              <a:gd name="T63" fmla="*/ 48 h 66"/>
              <a:gd name="T64" fmla="*/ 32 w 84"/>
              <a:gd name="T65" fmla="*/ 52 h 66"/>
              <a:gd name="T66" fmla="*/ 26 w 84"/>
              <a:gd name="T67" fmla="*/ 56 h 66"/>
              <a:gd name="T68" fmla="*/ 28 w 84"/>
              <a:gd name="T69" fmla="*/ 50 h 66"/>
              <a:gd name="T70" fmla="*/ 26 w 84"/>
              <a:gd name="T71" fmla="*/ 46 h 66"/>
              <a:gd name="T72" fmla="*/ 12 w 84"/>
              <a:gd name="T73" fmla="*/ 36 h 66"/>
              <a:gd name="T74" fmla="*/ 6 w 84"/>
              <a:gd name="T75" fmla="*/ 20 h 66"/>
              <a:gd name="T76" fmla="*/ 4 w 84"/>
              <a:gd name="T77" fmla="*/ 16 h 66"/>
              <a:gd name="T78" fmla="*/ 0 w 84"/>
              <a:gd name="T79" fmla="*/ 12 h 66"/>
              <a:gd name="T80" fmla="*/ 6 w 84"/>
              <a:gd name="T81" fmla="*/ 8 h 66"/>
              <a:gd name="T82" fmla="*/ 12 w 84"/>
              <a:gd name="T83" fmla="*/ 12 h 66"/>
              <a:gd name="T84" fmla="*/ 18 w 84"/>
              <a:gd name="T85" fmla="*/ 18 h 66"/>
              <a:gd name="T86" fmla="*/ 24 w 84"/>
              <a:gd name="T87" fmla="*/ 18 h 66"/>
              <a:gd name="T88" fmla="*/ 26 w 84"/>
              <a:gd name="T89" fmla="*/ 14 h 66"/>
              <a:gd name="T90" fmla="*/ 22 w 84"/>
              <a:gd name="T91" fmla="*/ 8 h 66"/>
              <a:gd name="T92" fmla="*/ 16 w 84"/>
              <a:gd name="T93" fmla="*/ 2 h 66"/>
              <a:gd name="T94" fmla="*/ 20 w 84"/>
              <a:gd name="T95" fmla="*/ 0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84" h="66">
                <a:moveTo>
                  <a:pt x="20" y="0"/>
                </a:moveTo>
                <a:lnTo>
                  <a:pt x="26" y="2"/>
                </a:lnTo>
                <a:lnTo>
                  <a:pt x="32" y="8"/>
                </a:lnTo>
                <a:lnTo>
                  <a:pt x="42" y="14"/>
                </a:lnTo>
                <a:lnTo>
                  <a:pt x="46" y="12"/>
                </a:lnTo>
                <a:lnTo>
                  <a:pt x="52" y="6"/>
                </a:lnTo>
                <a:lnTo>
                  <a:pt x="56" y="2"/>
                </a:lnTo>
                <a:lnTo>
                  <a:pt x="60" y="8"/>
                </a:lnTo>
                <a:lnTo>
                  <a:pt x="66" y="20"/>
                </a:lnTo>
                <a:lnTo>
                  <a:pt x="70" y="24"/>
                </a:lnTo>
                <a:lnTo>
                  <a:pt x="80" y="28"/>
                </a:lnTo>
                <a:lnTo>
                  <a:pt x="84" y="30"/>
                </a:lnTo>
                <a:lnTo>
                  <a:pt x="84" y="36"/>
                </a:lnTo>
                <a:lnTo>
                  <a:pt x="72" y="36"/>
                </a:lnTo>
                <a:lnTo>
                  <a:pt x="68" y="38"/>
                </a:lnTo>
                <a:lnTo>
                  <a:pt x="66" y="44"/>
                </a:lnTo>
                <a:lnTo>
                  <a:pt x="68" y="48"/>
                </a:lnTo>
                <a:lnTo>
                  <a:pt x="68" y="50"/>
                </a:lnTo>
                <a:lnTo>
                  <a:pt x="68" y="52"/>
                </a:lnTo>
                <a:lnTo>
                  <a:pt x="68" y="54"/>
                </a:lnTo>
                <a:lnTo>
                  <a:pt x="60" y="54"/>
                </a:lnTo>
                <a:lnTo>
                  <a:pt x="60" y="58"/>
                </a:lnTo>
                <a:lnTo>
                  <a:pt x="60" y="62"/>
                </a:lnTo>
                <a:lnTo>
                  <a:pt x="60" y="66"/>
                </a:lnTo>
                <a:lnTo>
                  <a:pt x="52" y="66"/>
                </a:lnTo>
                <a:lnTo>
                  <a:pt x="46" y="62"/>
                </a:lnTo>
                <a:lnTo>
                  <a:pt x="52" y="58"/>
                </a:lnTo>
                <a:lnTo>
                  <a:pt x="48" y="52"/>
                </a:lnTo>
                <a:lnTo>
                  <a:pt x="48" y="44"/>
                </a:lnTo>
                <a:lnTo>
                  <a:pt x="44" y="42"/>
                </a:lnTo>
                <a:lnTo>
                  <a:pt x="42" y="44"/>
                </a:lnTo>
                <a:lnTo>
                  <a:pt x="38" y="48"/>
                </a:lnTo>
                <a:lnTo>
                  <a:pt x="32" y="52"/>
                </a:lnTo>
                <a:lnTo>
                  <a:pt x="26" y="56"/>
                </a:lnTo>
                <a:lnTo>
                  <a:pt x="28" y="50"/>
                </a:lnTo>
                <a:lnTo>
                  <a:pt x="26" y="46"/>
                </a:lnTo>
                <a:lnTo>
                  <a:pt x="12" y="36"/>
                </a:lnTo>
                <a:lnTo>
                  <a:pt x="6" y="20"/>
                </a:lnTo>
                <a:lnTo>
                  <a:pt x="4" y="16"/>
                </a:lnTo>
                <a:lnTo>
                  <a:pt x="0" y="12"/>
                </a:lnTo>
                <a:lnTo>
                  <a:pt x="6" y="8"/>
                </a:lnTo>
                <a:lnTo>
                  <a:pt x="12" y="12"/>
                </a:lnTo>
                <a:lnTo>
                  <a:pt x="18" y="18"/>
                </a:lnTo>
                <a:lnTo>
                  <a:pt x="24" y="18"/>
                </a:lnTo>
                <a:lnTo>
                  <a:pt x="26" y="14"/>
                </a:lnTo>
                <a:lnTo>
                  <a:pt x="22" y="8"/>
                </a:lnTo>
                <a:lnTo>
                  <a:pt x="16" y="2"/>
                </a:lnTo>
                <a:lnTo>
                  <a:pt x="20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59" name="Freeform 96">
            <a:extLst>
              <a:ext uri="{FF2B5EF4-FFF2-40B4-BE49-F238E27FC236}">
                <a16:creationId xmlns:a16="http://schemas.microsoft.com/office/drawing/2014/main" id="{B5E25E64-C054-4149-A869-C353C0D52A9A}"/>
              </a:ext>
            </a:extLst>
          </p:cNvPr>
          <p:cNvSpPr>
            <a:spLocks/>
          </p:cNvSpPr>
          <p:nvPr/>
        </p:nvSpPr>
        <p:spPr bwMode="gray">
          <a:xfrm>
            <a:off x="3072745" y="1907426"/>
            <a:ext cx="78434" cy="33381"/>
          </a:xfrm>
          <a:custGeom>
            <a:avLst/>
            <a:gdLst>
              <a:gd name="T0" fmla="*/ 0 w 108"/>
              <a:gd name="T1" fmla="*/ 2 h 50"/>
              <a:gd name="T2" fmla="*/ 12 w 108"/>
              <a:gd name="T3" fmla="*/ 0 h 50"/>
              <a:gd name="T4" fmla="*/ 18 w 108"/>
              <a:gd name="T5" fmla="*/ 4 h 50"/>
              <a:gd name="T6" fmla="*/ 24 w 108"/>
              <a:gd name="T7" fmla="*/ 8 h 50"/>
              <a:gd name="T8" fmla="*/ 34 w 108"/>
              <a:gd name="T9" fmla="*/ 6 h 50"/>
              <a:gd name="T10" fmla="*/ 42 w 108"/>
              <a:gd name="T11" fmla="*/ 6 h 50"/>
              <a:gd name="T12" fmla="*/ 52 w 108"/>
              <a:gd name="T13" fmla="*/ 12 h 50"/>
              <a:gd name="T14" fmla="*/ 56 w 108"/>
              <a:gd name="T15" fmla="*/ 14 h 50"/>
              <a:gd name="T16" fmla="*/ 66 w 108"/>
              <a:gd name="T17" fmla="*/ 18 h 50"/>
              <a:gd name="T18" fmla="*/ 72 w 108"/>
              <a:gd name="T19" fmla="*/ 18 h 50"/>
              <a:gd name="T20" fmla="*/ 82 w 108"/>
              <a:gd name="T21" fmla="*/ 16 h 50"/>
              <a:gd name="T22" fmla="*/ 92 w 108"/>
              <a:gd name="T23" fmla="*/ 22 h 50"/>
              <a:gd name="T24" fmla="*/ 94 w 108"/>
              <a:gd name="T25" fmla="*/ 24 h 50"/>
              <a:gd name="T26" fmla="*/ 102 w 108"/>
              <a:gd name="T27" fmla="*/ 32 h 50"/>
              <a:gd name="T28" fmla="*/ 98 w 108"/>
              <a:gd name="T29" fmla="*/ 34 h 50"/>
              <a:gd name="T30" fmla="*/ 104 w 108"/>
              <a:gd name="T31" fmla="*/ 40 h 50"/>
              <a:gd name="T32" fmla="*/ 108 w 108"/>
              <a:gd name="T33" fmla="*/ 46 h 50"/>
              <a:gd name="T34" fmla="*/ 106 w 108"/>
              <a:gd name="T35" fmla="*/ 50 h 50"/>
              <a:gd name="T36" fmla="*/ 100 w 108"/>
              <a:gd name="T37" fmla="*/ 50 h 50"/>
              <a:gd name="T38" fmla="*/ 88 w 108"/>
              <a:gd name="T39" fmla="*/ 40 h 50"/>
              <a:gd name="T40" fmla="*/ 82 w 108"/>
              <a:gd name="T41" fmla="*/ 44 h 50"/>
              <a:gd name="T42" fmla="*/ 74 w 108"/>
              <a:gd name="T43" fmla="*/ 44 h 50"/>
              <a:gd name="T44" fmla="*/ 66 w 108"/>
              <a:gd name="T45" fmla="*/ 46 h 50"/>
              <a:gd name="T46" fmla="*/ 58 w 108"/>
              <a:gd name="T47" fmla="*/ 50 h 50"/>
              <a:gd name="T48" fmla="*/ 52 w 108"/>
              <a:gd name="T49" fmla="*/ 46 h 50"/>
              <a:gd name="T50" fmla="*/ 46 w 108"/>
              <a:gd name="T51" fmla="*/ 40 h 50"/>
              <a:gd name="T52" fmla="*/ 38 w 108"/>
              <a:gd name="T53" fmla="*/ 38 h 50"/>
              <a:gd name="T54" fmla="*/ 36 w 108"/>
              <a:gd name="T55" fmla="*/ 44 h 50"/>
              <a:gd name="T56" fmla="*/ 26 w 108"/>
              <a:gd name="T57" fmla="*/ 40 h 50"/>
              <a:gd name="T58" fmla="*/ 30 w 108"/>
              <a:gd name="T59" fmla="*/ 32 h 50"/>
              <a:gd name="T60" fmla="*/ 26 w 108"/>
              <a:gd name="T61" fmla="*/ 22 h 50"/>
              <a:gd name="T62" fmla="*/ 20 w 108"/>
              <a:gd name="T63" fmla="*/ 14 h 50"/>
              <a:gd name="T64" fmla="*/ 12 w 108"/>
              <a:gd name="T65" fmla="*/ 10 h 50"/>
              <a:gd name="T66" fmla="*/ 6 w 108"/>
              <a:gd name="T67" fmla="*/ 6 h 50"/>
              <a:gd name="T68" fmla="*/ 0 w 108"/>
              <a:gd name="T69" fmla="*/ 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08" h="50">
                <a:moveTo>
                  <a:pt x="0" y="2"/>
                </a:moveTo>
                <a:lnTo>
                  <a:pt x="12" y="0"/>
                </a:lnTo>
                <a:lnTo>
                  <a:pt x="18" y="4"/>
                </a:lnTo>
                <a:lnTo>
                  <a:pt x="24" y="8"/>
                </a:lnTo>
                <a:lnTo>
                  <a:pt x="34" y="6"/>
                </a:lnTo>
                <a:lnTo>
                  <a:pt x="42" y="6"/>
                </a:lnTo>
                <a:lnTo>
                  <a:pt x="52" y="12"/>
                </a:lnTo>
                <a:lnTo>
                  <a:pt x="56" y="14"/>
                </a:lnTo>
                <a:lnTo>
                  <a:pt x="66" y="18"/>
                </a:lnTo>
                <a:lnTo>
                  <a:pt x="72" y="18"/>
                </a:lnTo>
                <a:lnTo>
                  <a:pt x="82" y="16"/>
                </a:lnTo>
                <a:lnTo>
                  <a:pt x="92" y="22"/>
                </a:lnTo>
                <a:lnTo>
                  <a:pt x="94" y="24"/>
                </a:lnTo>
                <a:lnTo>
                  <a:pt x="102" y="32"/>
                </a:lnTo>
                <a:lnTo>
                  <a:pt x="98" y="34"/>
                </a:lnTo>
                <a:lnTo>
                  <a:pt x="104" y="40"/>
                </a:lnTo>
                <a:lnTo>
                  <a:pt x="108" y="46"/>
                </a:lnTo>
                <a:lnTo>
                  <a:pt x="106" y="50"/>
                </a:lnTo>
                <a:lnTo>
                  <a:pt x="100" y="50"/>
                </a:lnTo>
                <a:lnTo>
                  <a:pt x="88" y="40"/>
                </a:lnTo>
                <a:lnTo>
                  <a:pt x="82" y="44"/>
                </a:lnTo>
                <a:lnTo>
                  <a:pt x="74" y="44"/>
                </a:lnTo>
                <a:lnTo>
                  <a:pt x="66" y="46"/>
                </a:lnTo>
                <a:lnTo>
                  <a:pt x="58" y="50"/>
                </a:lnTo>
                <a:lnTo>
                  <a:pt x="52" y="46"/>
                </a:lnTo>
                <a:lnTo>
                  <a:pt x="46" y="40"/>
                </a:lnTo>
                <a:lnTo>
                  <a:pt x="38" y="38"/>
                </a:lnTo>
                <a:lnTo>
                  <a:pt x="36" y="44"/>
                </a:lnTo>
                <a:lnTo>
                  <a:pt x="26" y="40"/>
                </a:lnTo>
                <a:lnTo>
                  <a:pt x="30" y="32"/>
                </a:lnTo>
                <a:lnTo>
                  <a:pt x="26" y="22"/>
                </a:lnTo>
                <a:lnTo>
                  <a:pt x="20" y="14"/>
                </a:lnTo>
                <a:lnTo>
                  <a:pt x="12" y="10"/>
                </a:lnTo>
                <a:lnTo>
                  <a:pt x="6" y="6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60" name="Freeform 97">
            <a:extLst>
              <a:ext uri="{FF2B5EF4-FFF2-40B4-BE49-F238E27FC236}">
                <a16:creationId xmlns:a16="http://schemas.microsoft.com/office/drawing/2014/main" id="{8998CA43-C4AC-4922-AC80-7C443B5907DC}"/>
              </a:ext>
            </a:extLst>
          </p:cNvPr>
          <p:cNvSpPr>
            <a:spLocks/>
          </p:cNvSpPr>
          <p:nvPr/>
        </p:nvSpPr>
        <p:spPr bwMode="gray">
          <a:xfrm>
            <a:off x="3219446" y="1919443"/>
            <a:ext cx="161225" cy="92130"/>
          </a:xfrm>
          <a:custGeom>
            <a:avLst/>
            <a:gdLst>
              <a:gd name="T0" fmla="*/ 20 w 222"/>
              <a:gd name="T1" fmla="*/ 104 h 138"/>
              <a:gd name="T2" fmla="*/ 18 w 222"/>
              <a:gd name="T3" fmla="*/ 80 h 138"/>
              <a:gd name="T4" fmla="*/ 24 w 222"/>
              <a:gd name="T5" fmla="*/ 72 h 138"/>
              <a:gd name="T6" fmla="*/ 12 w 222"/>
              <a:gd name="T7" fmla="*/ 56 h 138"/>
              <a:gd name="T8" fmla="*/ 8 w 222"/>
              <a:gd name="T9" fmla="*/ 50 h 138"/>
              <a:gd name="T10" fmla="*/ 0 w 222"/>
              <a:gd name="T11" fmla="*/ 52 h 138"/>
              <a:gd name="T12" fmla="*/ 0 w 222"/>
              <a:gd name="T13" fmla="*/ 44 h 138"/>
              <a:gd name="T14" fmla="*/ 6 w 222"/>
              <a:gd name="T15" fmla="*/ 36 h 138"/>
              <a:gd name="T16" fmla="*/ 12 w 222"/>
              <a:gd name="T17" fmla="*/ 40 h 138"/>
              <a:gd name="T18" fmla="*/ 28 w 222"/>
              <a:gd name="T19" fmla="*/ 40 h 138"/>
              <a:gd name="T20" fmla="*/ 34 w 222"/>
              <a:gd name="T21" fmla="*/ 32 h 138"/>
              <a:gd name="T22" fmla="*/ 26 w 222"/>
              <a:gd name="T23" fmla="*/ 24 h 138"/>
              <a:gd name="T24" fmla="*/ 20 w 222"/>
              <a:gd name="T25" fmla="*/ 16 h 138"/>
              <a:gd name="T26" fmla="*/ 14 w 222"/>
              <a:gd name="T27" fmla="*/ 10 h 138"/>
              <a:gd name="T28" fmla="*/ 4 w 222"/>
              <a:gd name="T29" fmla="*/ 14 h 138"/>
              <a:gd name="T30" fmla="*/ 2 w 222"/>
              <a:gd name="T31" fmla="*/ 28 h 138"/>
              <a:gd name="T32" fmla="*/ 0 w 222"/>
              <a:gd name="T33" fmla="*/ 22 h 138"/>
              <a:gd name="T34" fmla="*/ 0 w 222"/>
              <a:gd name="T35" fmla="*/ 12 h 138"/>
              <a:gd name="T36" fmla="*/ 10 w 222"/>
              <a:gd name="T37" fmla="*/ 6 h 138"/>
              <a:gd name="T38" fmla="*/ 24 w 222"/>
              <a:gd name="T39" fmla="*/ 4 h 138"/>
              <a:gd name="T40" fmla="*/ 36 w 222"/>
              <a:gd name="T41" fmla="*/ 12 h 138"/>
              <a:gd name="T42" fmla="*/ 44 w 222"/>
              <a:gd name="T43" fmla="*/ 26 h 138"/>
              <a:gd name="T44" fmla="*/ 54 w 222"/>
              <a:gd name="T45" fmla="*/ 28 h 138"/>
              <a:gd name="T46" fmla="*/ 68 w 222"/>
              <a:gd name="T47" fmla="*/ 26 h 138"/>
              <a:gd name="T48" fmla="*/ 68 w 222"/>
              <a:gd name="T49" fmla="*/ 14 h 138"/>
              <a:gd name="T50" fmla="*/ 96 w 222"/>
              <a:gd name="T51" fmla="*/ 0 h 138"/>
              <a:gd name="T52" fmla="*/ 102 w 222"/>
              <a:gd name="T53" fmla="*/ 6 h 138"/>
              <a:gd name="T54" fmla="*/ 116 w 222"/>
              <a:gd name="T55" fmla="*/ 8 h 138"/>
              <a:gd name="T56" fmla="*/ 118 w 222"/>
              <a:gd name="T57" fmla="*/ 12 h 138"/>
              <a:gd name="T58" fmla="*/ 118 w 222"/>
              <a:gd name="T59" fmla="*/ 28 h 138"/>
              <a:gd name="T60" fmla="*/ 144 w 222"/>
              <a:gd name="T61" fmla="*/ 28 h 138"/>
              <a:gd name="T62" fmla="*/ 158 w 222"/>
              <a:gd name="T63" fmla="*/ 54 h 138"/>
              <a:gd name="T64" fmla="*/ 178 w 222"/>
              <a:gd name="T65" fmla="*/ 66 h 138"/>
              <a:gd name="T66" fmla="*/ 200 w 222"/>
              <a:gd name="T67" fmla="*/ 82 h 138"/>
              <a:gd name="T68" fmla="*/ 212 w 222"/>
              <a:gd name="T69" fmla="*/ 84 h 138"/>
              <a:gd name="T70" fmla="*/ 222 w 222"/>
              <a:gd name="T71" fmla="*/ 90 h 138"/>
              <a:gd name="T72" fmla="*/ 222 w 222"/>
              <a:gd name="T73" fmla="*/ 98 h 138"/>
              <a:gd name="T74" fmla="*/ 210 w 222"/>
              <a:gd name="T75" fmla="*/ 98 h 138"/>
              <a:gd name="T76" fmla="*/ 194 w 222"/>
              <a:gd name="T77" fmla="*/ 104 h 138"/>
              <a:gd name="T78" fmla="*/ 182 w 222"/>
              <a:gd name="T79" fmla="*/ 122 h 138"/>
              <a:gd name="T80" fmla="*/ 170 w 222"/>
              <a:gd name="T81" fmla="*/ 126 h 138"/>
              <a:gd name="T82" fmla="*/ 160 w 222"/>
              <a:gd name="T83" fmla="*/ 138 h 138"/>
              <a:gd name="T84" fmla="*/ 150 w 222"/>
              <a:gd name="T85" fmla="*/ 134 h 138"/>
              <a:gd name="T86" fmla="*/ 138 w 222"/>
              <a:gd name="T87" fmla="*/ 134 h 138"/>
              <a:gd name="T88" fmla="*/ 136 w 222"/>
              <a:gd name="T89" fmla="*/ 112 h 138"/>
              <a:gd name="T90" fmla="*/ 126 w 222"/>
              <a:gd name="T91" fmla="*/ 110 h 138"/>
              <a:gd name="T92" fmla="*/ 68 w 222"/>
              <a:gd name="T93" fmla="*/ 84 h 138"/>
              <a:gd name="T94" fmla="*/ 42 w 222"/>
              <a:gd name="T95" fmla="*/ 88 h 138"/>
              <a:gd name="T96" fmla="*/ 20 w 222"/>
              <a:gd name="T97" fmla="*/ 104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22" h="138">
                <a:moveTo>
                  <a:pt x="20" y="104"/>
                </a:moveTo>
                <a:lnTo>
                  <a:pt x="18" y="80"/>
                </a:lnTo>
                <a:lnTo>
                  <a:pt x="24" y="72"/>
                </a:lnTo>
                <a:lnTo>
                  <a:pt x="12" y="56"/>
                </a:lnTo>
                <a:lnTo>
                  <a:pt x="8" y="50"/>
                </a:lnTo>
                <a:lnTo>
                  <a:pt x="0" y="52"/>
                </a:lnTo>
                <a:lnTo>
                  <a:pt x="0" y="44"/>
                </a:lnTo>
                <a:lnTo>
                  <a:pt x="6" y="36"/>
                </a:lnTo>
                <a:lnTo>
                  <a:pt x="12" y="40"/>
                </a:lnTo>
                <a:lnTo>
                  <a:pt x="28" y="40"/>
                </a:lnTo>
                <a:lnTo>
                  <a:pt x="34" y="32"/>
                </a:lnTo>
                <a:lnTo>
                  <a:pt x="26" y="24"/>
                </a:lnTo>
                <a:lnTo>
                  <a:pt x="20" y="16"/>
                </a:lnTo>
                <a:lnTo>
                  <a:pt x="14" y="10"/>
                </a:lnTo>
                <a:lnTo>
                  <a:pt x="4" y="14"/>
                </a:lnTo>
                <a:lnTo>
                  <a:pt x="2" y="28"/>
                </a:lnTo>
                <a:lnTo>
                  <a:pt x="0" y="22"/>
                </a:lnTo>
                <a:lnTo>
                  <a:pt x="0" y="12"/>
                </a:lnTo>
                <a:lnTo>
                  <a:pt x="10" y="6"/>
                </a:lnTo>
                <a:lnTo>
                  <a:pt x="24" y="4"/>
                </a:lnTo>
                <a:lnTo>
                  <a:pt x="36" y="12"/>
                </a:lnTo>
                <a:lnTo>
                  <a:pt x="44" y="26"/>
                </a:lnTo>
                <a:lnTo>
                  <a:pt x="54" y="28"/>
                </a:lnTo>
                <a:lnTo>
                  <a:pt x="68" y="26"/>
                </a:lnTo>
                <a:lnTo>
                  <a:pt x="68" y="14"/>
                </a:lnTo>
                <a:lnTo>
                  <a:pt x="96" y="0"/>
                </a:lnTo>
                <a:lnTo>
                  <a:pt x="102" y="6"/>
                </a:lnTo>
                <a:lnTo>
                  <a:pt x="116" y="8"/>
                </a:lnTo>
                <a:lnTo>
                  <a:pt x="118" y="12"/>
                </a:lnTo>
                <a:lnTo>
                  <a:pt x="118" y="28"/>
                </a:lnTo>
                <a:lnTo>
                  <a:pt x="144" y="28"/>
                </a:lnTo>
                <a:lnTo>
                  <a:pt x="158" y="54"/>
                </a:lnTo>
                <a:lnTo>
                  <a:pt x="178" y="66"/>
                </a:lnTo>
                <a:lnTo>
                  <a:pt x="200" y="82"/>
                </a:lnTo>
                <a:lnTo>
                  <a:pt x="212" y="84"/>
                </a:lnTo>
                <a:lnTo>
                  <a:pt x="222" y="90"/>
                </a:lnTo>
                <a:lnTo>
                  <a:pt x="222" y="98"/>
                </a:lnTo>
                <a:lnTo>
                  <a:pt x="210" y="98"/>
                </a:lnTo>
                <a:lnTo>
                  <a:pt x="194" y="104"/>
                </a:lnTo>
                <a:lnTo>
                  <a:pt x="182" y="122"/>
                </a:lnTo>
                <a:lnTo>
                  <a:pt x="170" y="126"/>
                </a:lnTo>
                <a:lnTo>
                  <a:pt x="160" y="138"/>
                </a:lnTo>
                <a:lnTo>
                  <a:pt x="150" y="134"/>
                </a:lnTo>
                <a:lnTo>
                  <a:pt x="138" y="134"/>
                </a:lnTo>
                <a:lnTo>
                  <a:pt x="136" y="112"/>
                </a:lnTo>
                <a:lnTo>
                  <a:pt x="126" y="110"/>
                </a:lnTo>
                <a:lnTo>
                  <a:pt x="68" y="84"/>
                </a:lnTo>
                <a:lnTo>
                  <a:pt x="42" y="88"/>
                </a:lnTo>
                <a:lnTo>
                  <a:pt x="20" y="104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61" name="Freeform 98">
            <a:extLst>
              <a:ext uri="{FF2B5EF4-FFF2-40B4-BE49-F238E27FC236}">
                <a16:creationId xmlns:a16="http://schemas.microsoft.com/office/drawing/2014/main" id="{9E915218-426B-487B-B368-7BC381460FB7}"/>
              </a:ext>
            </a:extLst>
          </p:cNvPr>
          <p:cNvSpPr>
            <a:spLocks/>
          </p:cNvSpPr>
          <p:nvPr/>
        </p:nvSpPr>
        <p:spPr bwMode="gray">
          <a:xfrm>
            <a:off x="3389386" y="1942141"/>
            <a:ext cx="85696" cy="50738"/>
          </a:xfrm>
          <a:custGeom>
            <a:avLst/>
            <a:gdLst>
              <a:gd name="T0" fmla="*/ 24 w 118"/>
              <a:gd name="T1" fmla="*/ 14 h 76"/>
              <a:gd name="T2" fmla="*/ 32 w 118"/>
              <a:gd name="T3" fmla="*/ 10 h 76"/>
              <a:gd name="T4" fmla="*/ 36 w 118"/>
              <a:gd name="T5" fmla="*/ 2 h 76"/>
              <a:gd name="T6" fmla="*/ 48 w 118"/>
              <a:gd name="T7" fmla="*/ 0 h 76"/>
              <a:gd name="T8" fmla="*/ 54 w 118"/>
              <a:gd name="T9" fmla="*/ 2 h 76"/>
              <a:gd name="T10" fmla="*/ 52 w 118"/>
              <a:gd name="T11" fmla="*/ 8 h 76"/>
              <a:gd name="T12" fmla="*/ 50 w 118"/>
              <a:gd name="T13" fmla="*/ 14 h 76"/>
              <a:gd name="T14" fmla="*/ 52 w 118"/>
              <a:gd name="T15" fmla="*/ 20 h 76"/>
              <a:gd name="T16" fmla="*/ 54 w 118"/>
              <a:gd name="T17" fmla="*/ 28 h 76"/>
              <a:gd name="T18" fmla="*/ 66 w 118"/>
              <a:gd name="T19" fmla="*/ 28 h 76"/>
              <a:gd name="T20" fmla="*/ 80 w 118"/>
              <a:gd name="T21" fmla="*/ 30 h 76"/>
              <a:gd name="T22" fmla="*/ 100 w 118"/>
              <a:gd name="T23" fmla="*/ 30 h 76"/>
              <a:gd name="T24" fmla="*/ 98 w 118"/>
              <a:gd name="T25" fmla="*/ 36 h 76"/>
              <a:gd name="T26" fmla="*/ 100 w 118"/>
              <a:gd name="T27" fmla="*/ 44 h 76"/>
              <a:gd name="T28" fmla="*/ 106 w 118"/>
              <a:gd name="T29" fmla="*/ 46 h 76"/>
              <a:gd name="T30" fmla="*/ 118 w 118"/>
              <a:gd name="T31" fmla="*/ 44 h 76"/>
              <a:gd name="T32" fmla="*/ 118 w 118"/>
              <a:gd name="T33" fmla="*/ 64 h 76"/>
              <a:gd name="T34" fmla="*/ 90 w 118"/>
              <a:gd name="T35" fmla="*/ 64 h 76"/>
              <a:gd name="T36" fmla="*/ 80 w 118"/>
              <a:gd name="T37" fmla="*/ 70 h 76"/>
              <a:gd name="T38" fmla="*/ 64 w 118"/>
              <a:gd name="T39" fmla="*/ 76 h 76"/>
              <a:gd name="T40" fmla="*/ 64 w 118"/>
              <a:gd name="T41" fmla="*/ 70 h 76"/>
              <a:gd name="T42" fmla="*/ 66 w 118"/>
              <a:gd name="T43" fmla="*/ 62 h 76"/>
              <a:gd name="T44" fmla="*/ 64 w 118"/>
              <a:gd name="T45" fmla="*/ 50 h 76"/>
              <a:gd name="T46" fmla="*/ 56 w 118"/>
              <a:gd name="T47" fmla="*/ 44 h 76"/>
              <a:gd name="T48" fmla="*/ 46 w 118"/>
              <a:gd name="T49" fmla="*/ 60 h 76"/>
              <a:gd name="T50" fmla="*/ 38 w 118"/>
              <a:gd name="T51" fmla="*/ 62 h 76"/>
              <a:gd name="T52" fmla="*/ 18 w 118"/>
              <a:gd name="T53" fmla="*/ 74 h 76"/>
              <a:gd name="T54" fmla="*/ 8 w 118"/>
              <a:gd name="T55" fmla="*/ 70 h 76"/>
              <a:gd name="T56" fmla="*/ 8 w 118"/>
              <a:gd name="T57" fmla="*/ 62 h 76"/>
              <a:gd name="T58" fmla="*/ 16 w 118"/>
              <a:gd name="T59" fmla="*/ 52 h 76"/>
              <a:gd name="T60" fmla="*/ 10 w 118"/>
              <a:gd name="T61" fmla="*/ 50 h 76"/>
              <a:gd name="T62" fmla="*/ 12 w 118"/>
              <a:gd name="T63" fmla="*/ 36 h 76"/>
              <a:gd name="T64" fmla="*/ 0 w 118"/>
              <a:gd name="T65" fmla="*/ 36 h 76"/>
              <a:gd name="T66" fmla="*/ 0 w 118"/>
              <a:gd name="T67" fmla="*/ 26 h 76"/>
              <a:gd name="T68" fmla="*/ 20 w 118"/>
              <a:gd name="T69" fmla="*/ 26 h 76"/>
              <a:gd name="T70" fmla="*/ 18 w 118"/>
              <a:gd name="T71" fmla="*/ 12 h 76"/>
              <a:gd name="T72" fmla="*/ 24 w 118"/>
              <a:gd name="T73" fmla="*/ 14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18" h="76">
                <a:moveTo>
                  <a:pt x="24" y="14"/>
                </a:moveTo>
                <a:lnTo>
                  <a:pt x="32" y="10"/>
                </a:lnTo>
                <a:lnTo>
                  <a:pt x="36" y="2"/>
                </a:lnTo>
                <a:lnTo>
                  <a:pt x="48" y="0"/>
                </a:lnTo>
                <a:lnTo>
                  <a:pt x="54" y="2"/>
                </a:lnTo>
                <a:lnTo>
                  <a:pt x="52" y="8"/>
                </a:lnTo>
                <a:lnTo>
                  <a:pt x="50" y="14"/>
                </a:lnTo>
                <a:lnTo>
                  <a:pt x="52" y="20"/>
                </a:lnTo>
                <a:lnTo>
                  <a:pt x="54" y="28"/>
                </a:lnTo>
                <a:lnTo>
                  <a:pt x="66" y="28"/>
                </a:lnTo>
                <a:lnTo>
                  <a:pt x="80" y="30"/>
                </a:lnTo>
                <a:lnTo>
                  <a:pt x="100" y="30"/>
                </a:lnTo>
                <a:lnTo>
                  <a:pt x="98" y="36"/>
                </a:lnTo>
                <a:lnTo>
                  <a:pt x="100" y="44"/>
                </a:lnTo>
                <a:lnTo>
                  <a:pt x="106" y="46"/>
                </a:lnTo>
                <a:lnTo>
                  <a:pt x="118" y="44"/>
                </a:lnTo>
                <a:lnTo>
                  <a:pt x="118" y="64"/>
                </a:lnTo>
                <a:lnTo>
                  <a:pt x="90" y="64"/>
                </a:lnTo>
                <a:lnTo>
                  <a:pt x="80" y="70"/>
                </a:lnTo>
                <a:lnTo>
                  <a:pt x="64" y="76"/>
                </a:lnTo>
                <a:lnTo>
                  <a:pt x="64" y="70"/>
                </a:lnTo>
                <a:lnTo>
                  <a:pt x="66" y="62"/>
                </a:lnTo>
                <a:lnTo>
                  <a:pt x="64" y="50"/>
                </a:lnTo>
                <a:lnTo>
                  <a:pt x="56" y="44"/>
                </a:lnTo>
                <a:lnTo>
                  <a:pt x="46" y="60"/>
                </a:lnTo>
                <a:lnTo>
                  <a:pt x="38" y="62"/>
                </a:lnTo>
                <a:lnTo>
                  <a:pt x="18" y="74"/>
                </a:lnTo>
                <a:lnTo>
                  <a:pt x="8" y="70"/>
                </a:lnTo>
                <a:lnTo>
                  <a:pt x="8" y="62"/>
                </a:lnTo>
                <a:lnTo>
                  <a:pt x="16" y="52"/>
                </a:lnTo>
                <a:lnTo>
                  <a:pt x="10" y="50"/>
                </a:lnTo>
                <a:lnTo>
                  <a:pt x="12" y="36"/>
                </a:lnTo>
                <a:lnTo>
                  <a:pt x="0" y="36"/>
                </a:lnTo>
                <a:lnTo>
                  <a:pt x="0" y="26"/>
                </a:lnTo>
                <a:lnTo>
                  <a:pt x="20" y="26"/>
                </a:lnTo>
                <a:lnTo>
                  <a:pt x="18" y="12"/>
                </a:lnTo>
                <a:lnTo>
                  <a:pt x="24" y="14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62" name="Freeform 99">
            <a:extLst>
              <a:ext uri="{FF2B5EF4-FFF2-40B4-BE49-F238E27FC236}">
                <a16:creationId xmlns:a16="http://schemas.microsoft.com/office/drawing/2014/main" id="{B7CE219D-3946-4A9A-BB80-8FB71559BE78}"/>
              </a:ext>
            </a:extLst>
          </p:cNvPr>
          <p:cNvSpPr>
            <a:spLocks/>
          </p:cNvSpPr>
          <p:nvPr/>
        </p:nvSpPr>
        <p:spPr bwMode="gray">
          <a:xfrm>
            <a:off x="3258663" y="1883392"/>
            <a:ext cx="193180" cy="105483"/>
          </a:xfrm>
          <a:custGeom>
            <a:avLst/>
            <a:gdLst>
              <a:gd name="T0" fmla="*/ 0 w 266"/>
              <a:gd name="T1" fmla="*/ 82 h 158"/>
              <a:gd name="T2" fmla="*/ 0 w 266"/>
              <a:gd name="T3" fmla="*/ 8 h 158"/>
              <a:gd name="T4" fmla="*/ 18 w 266"/>
              <a:gd name="T5" fmla="*/ 4 h 158"/>
              <a:gd name="T6" fmla="*/ 46 w 266"/>
              <a:gd name="T7" fmla="*/ 0 h 158"/>
              <a:gd name="T8" fmla="*/ 54 w 266"/>
              <a:gd name="T9" fmla="*/ 6 h 158"/>
              <a:gd name="T10" fmla="*/ 70 w 266"/>
              <a:gd name="T11" fmla="*/ 16 h 158"/>
              <a:gd name="T12" fmla="*/ 80 w 266"/>
              <a:gd name="T13" fmla="*/ 20 h 158"/>
              <a:gd name="T14" fmla="*/ 94 w 266"/>
              <a:gd name="T15" fmla="*/ 38 h 158"/>
              <a:gd name="T16" fmla="*/ 132 w 266"/>
              <a:gd name="T17" fmla="*/ 36 h 158"/>
              <a:gd name="T18" fmla="*/ 140 w 266"/>
              <a:gd name="T19" fmla="*/ 34 h 158"/>
              <a:gd name="T20" fmla="*/ 158 w 266"/>
              <a:gd name="T21" fmla="*/ 52 h 158"/>
              <a:gd name="T22" fmla="*/ 158 w 266"/>
              <a:gd name="T23" fmla="*/ 60 h 158"/>
              <a:gd name="T24" fmla="*/ 168 w 266"/>
              <a:gd name="T25" fmla="*/ 68 h 158"/>
              <a:gd name="T26" fmla="*/ 170 w 266"/>
              <a:gd name="T27" fmla="*/ 84 h 158"/>
              <a:gd name="T28" fmla="*/ 188 w 266"/>
              <a:gd name="T29" fmla="*/ 82 h 158"/>
              <a:gd name="T30" fmla="*/ 192 w 266"/>
              <a:gd name="T31" fmla="*/ 84 h 158"/>
              <a:gd name="T32" fmla="*/ 192 w 266"/>
              <a:gd name="T33" fmla="*/ 94 h 158"/>
              <a:gd name="T34" fmla="*/ 200 w 266"/>
              <a:gd name="T35" fmla="*/ 94 h 158"/>
              <a:gd name="T36" fmla="*/ 202 w 266"/>
              <a:gd name="T37" fmla="*/ 84 h 158"/>
              <a:gd name="T38" fmla="*/ 214 w 266"/>
              <a:gd name="T39" fmla="*/ 74 h 158"/>
              <a:gd name="T40" fmla="*/ 234 w 266"/>
              <a:gd name="T41" fmla="*/ 62 h 158"/>
              <a:gd name="T42" fmla="*/ 230 w 266"/>
              <a:gd name="T43" fmla="*/ 72 h 158"/>
              <a:gd name="T44" fmla="*/ 228 w 266"/>
              <a:gd name="T45" fmla="*/ 76 h 158"/>
              <a:gd name="T46" fmla="*/ 236 w 266"/>
              <a:gd name="T47" fmla="*/ 80 h 158"/>
              <a:gd name="T48" fmla="*/ 248 w 266"/>
              <a:gd name="T49" fmla="*/ 76 h 158"/>
              <a:gd name="T50" fmla="*/ 258 w 266"/>
              <a:gd name="T51" fmla="*/ 82 h 158"/>
              <a:gd name="T52" fmla="*/ 266 w 266"/>
              <a:gd name="T53" fmla="*/ 90 h 158"/>
              <a:gd name="T54" fmla="*/ 258 w 266"/>
              <a:gd name="T55" fmla="*/ 98 h 158"/>
              <a:gd name="T56" fmla="*/ 248 w 266"/>
              <a:gd name="T57" fmla="*/ 102 h 158"/>
              <a:gd name="T58" fmla="*/ 236 w 266"/>
              <a:gd name="T59" fmla="*/ 102 h 158"/>
              <a:gd name="T60" fmla="*/ 232 w 266"/>
              <a:gd name="T61" fmla="*/ 98 h 158"/>
              <a:gd name="T62" fmla="*/ 234 w 266"/>
              <a:gd name="T63" fmla="*/ 90 h 158"/>
              <a:gd name="T64" fmla="*/ 228 w 266"/>
              <a:gd name="T65" fmla="*/ 88 h 158"/>
              <a:gd name="T66" fmla="*/ 216 w 266"/>
              <a:gd name="T67" fmla="*/ 90 h 158"/>
              <a:gd name="T68" fmla="*/ 212 w 266"/>
              <a:gd name="T69" fmla="*/ 98 h 158"/>
              <a:gd name="T70" fmla="*/ 204 w 266"/>
              <a:gd name="T71" fmla="*/ 102 h 158"/>
              <a:gd name="T72" fmla="*/ 198 w 266"/>
              <a:gd name="T73" fmla="*/ 100 h 158"/>
              <a:gd name="T74" fmla="*/ 200 w 266"/>
              <a:gd name="T75" fmla="*/ 114 h 158"/>
              <a:gd name="T76" fmla="*/ 180 w 266"/>
              <a:gd name="T77" fmla="*/ 114 h 158"/>
              <a:gd name="T78" fmla="*/ 180 w 266"/>
              <a:gd name="T79" fmla="*/ 124 h 158"/>
              <a:gd name="T80" fmla="*/ 192 w 266"/>
              <a:gd name="T81" fmla="*/ 124 h 158"/>
              <a:gd name="T82" fmla="*/ 190 w 266"/>
              <a:gd name="T83" fmla="*/ 138 h 158"/>
              <a:gd name="T84" fmla="*/ 196 w 266"/>
              <a:gd name="T85" fmla="*/ 140 h 158"/>
              <a:gd name="T86" fmla="*/ 188 w 266"/>
              <a:gd name="T87" fmla="*/ 150 h 158"/>
              <a:gd name="T88" fmla="*/ 188 w 266"/>
              <a:gd name="T89" fmla="*/ 158 h 158"/>
              <a:gd name="T90" fmla="*/ 168 w 266"/>
              <a:gd name="T91" fmla="*/ 152 h 158"/>
              <a:gd name="T92" fmla="*/ 168 w 266"/>
              <a:gd name="T93" fmla="*/ 144 h 158"/>
              <a:gd name="T94" fmla="*/ 158 w 266"/>
              <a:gd name="T95" fmla="*/ 138 h 158"/>
              <a:gd name="T96" fmla="*/ 146 w 266"/>
              <a:gd name="T97" fmla="*/ 136 h 158"/>
              <a:gd name="T98" fmla="*/ 104 w 266"/>
              <a:gd name="T99" fmla="*/ 108 h 158"/>
              <a:gd name="T100" fmla="*/ 90 w 266"/>
              <a:gd name="T101" fmla="*/ 82 h 158"/>
              <a:gd name="T102" fmla="*/ 64 w 266"/>
              <a:gd name="T103" fmla="*/ 82 h 158"/>
              <a:gd name="T104" fmla="*/ 64 w 266"/>
              <a:gd name="T105" fmla="*/ 66 h 158"/>
              <a:gd name="T106" fmla="*/ 62 w 266"/>
              <a:gd name="T107" fmla="*/ 62 h 158"/>
              <a:gd name="T108" fmla="*/ 48 w 266"/>
              <a:gd name="T109" fmla="*/ 60 h 158"/>
              <a:gd name="T110" fmla="*/ 42 w 266"/>
              <a:gd name="T111" fmla="*/ 54 h 158"/>
              <a:gd name="T112" fmla="*/ 14 w 266"/>
              <a:gd name="T113" fmla="*/ 68 h 158"/>
              <a:gd name="T114" fmla="*/ 14 w 266"/>
              <a:gd name="T115" fmla="*/ 80 h 158"/>
              <a:gd name="T116" fmla="*/ 0 w 266"/>
              <a:gd name="T117" fmla="*/ 82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66" h="158">
                <a:moveTo>
                  <a:pt x="0" y="82"/>
                </a:moveTo>
                <a:lnTo>
                  <a:pt x="0" y="8"/>
                </a:lnTo>
                <a:lnTo>
                  <a:pt x="18" y="4"/>
                </a:lnTo>
                <a:lnTo>
                  <a:pt x="46" y="0"/>
                </a:lnTo>
                <a:lnTo>
                  <a:pt x="54" y="6"/>
                </a:lnTo>
                <a:lnTo>
                  <a:pt x="70" y="16"/>
                </a:lnTo>
                <a:lnTo>
                  <a:pt x="80" y="20"/>
                </a:lnTo>
                <a:lnTo>
                  <a:pt x="94" y="38"/>
                </a:lnTo>
                <a:lnTo>
                  <a:pt x="132" y="36"/>
                </a:lnTo>
                <a:lnTo>
                  <a:pt x="140" y="34"/>
                </a:lnTo>
                <a:lnTo>
                  <a:pt x="158" y="52"/>
                </a:lnTo>
                <a:lnTo>
                  <a:pt x="158" y="60"/>
                </a:lnTo>
                <a:lnTo>
                  <a:pt x="168" y="68"/>
                </a:lnTo>
                <a:lnTo>
                  <a:pt x="170" y="84"/>
                </a:lnTo>
                <a:lnTo>
                  <a:pt x="188" y="82"/>
                </a:lnTo>
                <a:lnTo>
                  <a:pt x="192" y="84"/>
                </a:lnTo>
                <a:lnTo>
                  <a:pt x="192" y="94"/>
                </a:lnTo>
                <a:lnTo>
                  <a:pt x="200" y="94"/>
                </a:lnTo>
                <a:lnTo>
                  <a:pt x="202" y="84"/>
                </a:lnTo>
                <a:lnTo>
                  <a:pt x="214" y="74"/>
                </a:lnTo>
                <a:lnTo>
                  <a:pt x="234" y="62"/>
                </a:lnTo>
                <a:lnTo>
                  <a:pt x="230" y="72"/>
                </a:lnTo>
                <a:lnTo>
                  <a:pt x="228" y="76"/>
                </a:lnTo>
                <a:lnTo>
                  <a:pt x="236" y="80"/>
                </a:lnTo>
                <a:lnTo>
                  <a:pt x="248" y="76"/>
                </a:lnTo>
                <a:lnTo>
                  <a:pt x="258" y="82"/>
                </a:lnTo>
                <a:lnTo>
                  <a:pt x="266" y="90"/>
                </a:lnTo>
                <a:lnTo>
                  <a:pt x="258" y="98"/>
                </a:lnTo>
                <a:lnTo>
                  <a:pt x="248" y="102"/>
                </a:lnTo>
                <a:lnTo>
                  <a:pt x="236" y="102"/>
                </a:lnTo>
                <a:lnTo>
                  <a:pt x="232" y="98"/>
                </a:lnTo>
                <a:lnTo>
                  <a:pt x="234" y="90"/>
                </a:lnTo>
                <a:lnTo>
                  <a:pt x="228" y="88"/>
                </a:lnTo>
                <a:lnTo>
                  <a:pt x="216" y="90"/>
                </a:lnTo>
                <a:lnTo>
                  <a:pt x="212" y="98"/>
                </a:lnTo>
                <a:lnTo>
                  <a:pt x="204" y="102"/>
                </a:lnTo>
                <a:lnTo>
                  <a:pt x="198" y="100"/>
                </a:lnTo>
                <a:lnTo>
                  <a:pt x="200" y="114"/>
                </a:lnTo>
                <a:lnTo>
                  <a:pt x="180" y="114"/>
                </a:lnTo>
                <a:lnTo>
                  <a:pt x="180" y="124"/>
                </a:lnTo>
                <a:lnTo>
                  <a:pt x="192" y="124"/>
                </a:lnTo>
                <a:lnTo>
                  <a:pt x="190" y="138"/>
                </a:lnTo>
                <a:lnTo>
                  <a:pt x="196" y="140"/>
                </a:lnTo>
                <a:lnTo>
                  <a:pt x="188" y="150"/>
                </a:lnTo>
                <a:lnTo>
                  <a:pt x="188" y="158"/>
                </a:lnTo>
                <a:lnTo>
                  <a:pt x="168" y="152"/>
                </a:lnTo>
                <a:lnTo>
                  <a:pt x="168" y="144"/>
                </a:lnTo>
                <a:lnTo>
                  <a:pt x="158" y="138"/>
                </a:lnTo>
                <a:lnTo>
                  <a:pt x="146" y="136"/>
                </a:lnTo>
                <a:lnTo>
                  <a:pt x="104" y="108"/>
                </a:lnTo>
                <a:lnTo>
                  <a:pt x="90" y="82"/>
                </a:lnTo>
                <a:lnTo>
                  <a:pt x="64" y="82"/>
                </a:lnTo>
                <a:lnTo>
                  <a:pt x="64" y="66"/>
                </a:lnTo>
                <a:lnTo>
                  <a:pt x="62" y="62"/>
                </a:lnTo>
                <a:lnTo>
                  <a:pt x="48" y="60"/>
                </a:lnTo>
                <a:lnTo>
                  <a:pt x="42" y="54"/>
                </a:lnTo>
                <a:lnTo>
                  <a:pt x="14" y="68"/>
                </a:lnTo>
                <a:lnTo>
                  <a:pt x="14" y="80"/>
                </a:lnTo>
                <a:lnTo>
                  <a:pt x="0" y="8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63" name="Freeform 100">
            <a:extLst>
              <a:ext uri="{FF2B5EF4-FFF2-40B4-BE49-F238E27FC236}">
                <a16:creationId xmlns:a16="http://schemas.microsoft.com/office/drawing/2014/main" id="{7C2DA3F9-3AF9-4C2F-91DC-464CC80C599F}"/>
              </a:ext>
            </a:extLst>
          </p:cNvPr>
          <p:cNvSpPr>
            <a:spLocks/>
          </p:cNvSpPr>
          <p:nvPr/>
        </p:nvSpPr>
        <p:spPr bwMode="gray">
          <a:xfrm>
            <a:off x="3424245" y="1911431"/>
            <a:ext cx="114746" cy="50738"/>
          </a:xfrm>
          <a:custGeom>
            <a:avLst/>
            <a:gdLst>
              <a:gd name="T0" fmla="*/ 6 w 158"/>
              <a:gd name="T1" fmla="*/ 20 h 76"/>
              <a:gd name="T2" fmla="*/ 16 w 158"/>
              <a:gd name="T3" fmla="*/ 8 h 76"/>
              <a:gd name="T4" fmla="*/ 28 w 158"/>
              <a:gd name="T5" fmla="*/ 8 h 76"/>
              <a:gd name="T6" fmla="*/ 32 w 158"/>
              <a:gd name="T7" fmla="*/ 12 h 76"/>
              <a:gd name="T8" fmla="*/ 50 w 158"/>
              <a:gd name="T9" fmla="*/ 10 h 76"/>
              <a:gd name="T10" fmla="*/ 52 w 158"/>
              <a:gd name="T11" fmla="*/ 4 h 76"/>
              <a:gd name="T12" fmla="*/ 60 w 158"/>
              <a:gd name="T13" fmla="*/ 0 h 76"/>
              <a:gd name="T14" fmla="*/ 72 w 158"/>
              <a:gd name="T15" fmla="*/ 2 h 76"/>
              <a:gd name="T16" fmla="*/ 74 w 158"/>
              <a:gd name="T17" fmla="*/ 10 h 76"/>
              <a:gd name="T18" fmla="*/ 134 w 158"/>
              <a:gd name="T19" fmla="*/ 8 h 76"/>
              <a:gd name="T20" fmla="*/ 140 w 158"/>
              <a:gd name="T21" fmla="*/ 14 h 76"/>
              <a:gd name="T22" fmla="*/ 148 w 158"/>
              <a:gd name="T23" fmla="*/ 16 h 76"/>
              <a:gd name="T24" fmla="*/ 158 w 158"/>
              <a:gd name="T25" fmla="*/ 20 h 76"/>
              <a:gd name="T26" fmla="*/ 152 w 158"/>
              <a:gd name="T27" fmla="*/ 24 h 76"/>
              <a:gd name="T28" fmla="*/ 138 w 158"/>
              <a:gd name="T29" fmla="*/ 32 h 76"/>
              <a:gd name="T30" fmla="*/ 126 w 158"/>
              <a:gd name="T31" fmla="*/ 36 h 76"/>
              <a:gd name="T32" fmla="*/ 122 w 158"/>
              <a:gd name="T33" fmla="*/ 44 h 76"/>
              <a:gd name="T34" fmla="*/ 102 w 158"/>
              <a:gd name="T35" fmla="*/ 44 h 76"/>
              <a:gd name="T36" fmla="*/ 98 w 158"/>
              <a:gd name="T37" fmla="*/ 54 h 76"/>
              <a:gd name="T38" fmla="*/ 82 w 158"/>
              <a:gd name="T39" fmla="*/ 58 h 76"/>
              <a:gd name="T40" fmla="*/ 82 w 158"/>
              <a:gd name="T41" fmla="*/ 52 h 76"/>
              <a:gd name="T42" fmla="*/ 68 w 158"/>
              <a:gd name="T43" fmla="*/ 52 h 76"/>
              <a:gd name="T44" fmla="*/ 66 w 158"/>
              <a:gd name="T45" fmla="*/ 58 h 76"/>
              <a:gd name="T46" fmla="*/ 58 w 158"/>
              <a:gd name="T47" fmla="*/ 62 h 76"/>
              <a:gd name="T48" fmla="*/ 54 w 158"/>
              <a:gd name="T49" fmla="*/ 66 h 76"/>
              <a:gd name="T50" fmla="*/ 52 w 158"/>
              <a:gd name="T51" fmla="*/ 76 h 76"/>
              <a:gd name="T52" fmla="*/ 32 w 158"/>
              <a:gd name="T53" fmla="*/ 76 h 76"/>
              <a:gd name="T54" fmla="*/ 18 w 158"/>
              <a:gd name="T55" fmla="*/ 74 h 76"/>
              <a:gd name="T56" fmla="*/ 6 w 158"/>
              <a:gd name="T57" fmla="*/ 74 h 76"/>
              <a:gd name="T58" fmla="*/ 4 w 158"/>
              <a:gd name="T59" fmla="*/ 66 h 76"/>
              <a:gd name="T60" fmla="*/ 2 w 158"/>
              <a:gd name="T61" fmla="*/ 60 h 76"/>
              <a:gd name="T62" fmla="*/ 4 w 158"/>
              <a:gd name="T63" fmla="*/ 56 h 76"/>
              <a:gd name="T64" fmla="*/ 8 w 158"/>
              <a:gd name="T65" fmla="*/ 60 h 76"/>
              <a:gd name="T66" fmla="*/ 20 w 158"/>
              <a:gd name="T67" fmla="*/ 60 h 76"/>
              <a:gd name="T68" fmla="*/ 30 w 158"/>
              <a:gd name="T69" fmla="*/ 56 h 76"/>
              <a:gd name="T70" fmla="*/ 38 w 158"/>
              <a:gd name="T71" fmla="*/ 48 h 76"/>
              <a:gd name="T72" fmla="*/ 30 w 158"/>
              <a:gd name="T73" fmla="*/ 40 h 76"/>
              <a:gd name="T74" fmla="*/ 20 w 158"/>
              <a:gd name="T75" fmla="*/ 34 h 76"/>
              <a:gd name="T76" fmla="*/ 8 w 158"/>
              <a:gd name="T77" fmla="*/ 38 h 76"/>
              <a:gd name="T78" fmla="*/ 0 w 158"/>
              <a:gd name="T79" fmla="*/ 34 h 76"/>
              <a:gd name="T80" fmla="*/ 2 w 158"/>
              <a:gd name="T81" fmla="*/ 30 h 76"/>
              <a:gd name="T82" fmla="*/ 6 w 158"/>
              <a:gd name="T83" fmla="*/ 20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58" h="76">
                <a:moveTo>
                  <a:pt x="6" y="20"/>
                </a:moveTo>
                <a:lnTo>
                  <a:pt x="16" y="8"/>
                </a:lnTo>
                <a:lnTo>
                  <a:pt x="28" y="8"/>
                </a:lnTo>
                <a:lnTo>
                  <a:pt x="32" y="12"/>
                </a:lnTo>
                <a:lnTo>
                  <a:pt x="50" y="10"/>
                </a:lnTo>
                <a:lnTo>
                  <a:pt x="52" y="4"/>
                </a:lnTo>
                <a:lnTo>
                  <a:pt x="60" y="0"/>
                </a:lnTo>
                <a:lnTo>
                  <a:pt x="72" y="2"/>
                </a:lnTo>
                <a:lnTo>
                  <a:pt x="74" y="10"/>
                </a:lnTo>
                <a:lnTo>
                  <a:pt x="134" y="8"/>
                </a:lnTo>
                <a:lnTo>
                  <a:pt x="140" y="14"/>
                </a:lnTo>
                <a:lnTo>
                  <a:pt x="148" y="16"/>
                </a:lnTo>
                <a:lnTo>
                  <a:pt x="158" y="20"/>
                </a:lnTo>
                <a:lnTo>
                  <a:pt x="152" y="24"/>
                </a:lnTo>
                <a:lnTo>
                  <a:pt x="138" y="32"/>
                </a:lnTo>
                <a:lnTo>
                  <a:pt x="126" y="36"/>
                </a:lnTo>
                <a:lnTo>
                  <a:pt x="122" y="44"/>
                </a:lnTo>
                <a:lnTo>
                  <a:pt x="102" y="44"/>
                </a:lnTo>
                <a:lnTo>
                  <a:pt x="98" y="54"/>
                </a:lnTo>
                <a:lnTo>
                  <a:pt x="82" y="58"/>
                </a:lnTo>
                <a:lnTo>
                  <a:pt x="82" y="52"/>
                </a:lnTo>
                <a:lnTo>
                  <a:pt x="68" y="52"/>
                </a:lnTo>
                <a:lnTo>
                  <a:pt x="66" y="58"/>
                </a:lnTo>
                <a:lnTo>
                  <a:pt x="58" y="62"/>
                </a:lnTo>
                <a:lnTo>
                  <a:pt x="54" y="66"/>
                </a:lnTo>
                <a:lnTo>
                  <a:pt x="52" y="76"/>
                </a:lnTo>
                <a:lnTo>
                  <a:pt x="32" y="76"/>
                </a:lnTo>
                <a:lnTo>
                  <a:pt x="18" y="74"/>
                </a:lnTo>
                <a:lnTo>
                  <a:pt x="6" y="74"/>
                </a:lnTo>
                <a:lnTo>
                  <a:pt x="4" y="66"/>
                </a:lnTo>
                <a:lnTo>
                  <a:pt x="2" y="60"/>
                </a:lnTo>
                <a:lnTo>
                  <a:pt x="4" y="56"/>
                </a:lnTo>
                <a:lnTo>
                  <a:pt x="8" y="60"/>
                </a:lnTo>
                <a:lnTo>
                  <a:pt x="20" y="60"/>
                </a:lnTo>
                <a:lnTo>
                  <a:pt x="30" y="56"/>
                </a:lnTo>
                <a:lnTo>
                  <a:pt x="38" y="48"/>
                </a:lnTo>
                <a:lnTo>
                  <a:pt x="30" y="40"/>
                </a:lnTo>
                <a:lnTo>
                  <a:pt x="20" y="34"/>
                </a:lnTo>
                <a:lnTo>
                  <a:pt x="8" y="38"/>
                </a:lnTo>
                <a:lnTo>
                  <a:pt x="0" y="34"/>
                </a:lnTo>
                <a:lnTo>
                  <a:pt x="2" y="30"/>
                </a:lnTo>
                <a:lnTo>
                  <a:pt x="6" y="2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64" name="Freeform 101">
            <a:extLst>
              <a:ext uri="{FF2B5EF4-FFF2-40B4-BE49-F238E27FC236}">
                <a16:creationId xmlns:a16="http://schemas.microsoft.com/office/drawing/2014/main" id="{3154AA43-761C-4D94-9832-19FC1BD2A643}"/>
              </a:ext>
            </a:extLst>
          </p:cNvPr>
          <p:cNvSpPr>
            <a:spLocks/>
          </p:cNvSpPr>
          <p:nvPr/>
        </p:nvSpPr>
        <p:spPr bwMode="gray">
          <a:xfrm>
            <a:off x="3149727" y="1747199"/>
            <a:ext cx="464794" cy="198948"/>
          </a:xfrm>
          <a:custGeom>
            <a:avLst/>
            <a:gdLst>
              <a:gd name="T0" fmla="*/ 94 w 640"/>
              <a:gd name="T1" fmla="*/ 260 h 298"/>
              <a:gd name="T2" fmla="*/ 66 w 640"/>
              <a:gd name="T3" fmla="*/ 234 h 298"/>
              <a:gd name="T4" fmla="*/ 64 w 640"/>
              <a:gd name="T5" fmla="*/ 220 h 298"/>
              <a:gd name="T6" fmla="*/ 76 w 640"/>
              <a:gd name="T7" fmla="*/ 210 h 298"/>
              <a:gd name="T8" fmla="*/ 94 w 640"/>
              <a:gd name="T9" fmla="*/ 208 h 298"/>
              <a:gd name="T10" fmla="*/ 108 w 640"/>
              <a:gd name="T11" fmla="*/ 196 h 298"/>
              <a:gd name="T12" fmla="*/ 82 w 640"/>
              <a:gd name="T13" fmla="*/ 176 h 298"/>
              <a:gd name="T14" fmla="*/ 40 w 640"/>
              <a:gd name="T15" fmla="*/ 188 h 298"/>
              <a:gd name="T16" fmla="*/ 24 w 640"/>
              <a:gd name="T17" fmla="*/ 158 h 298"/>
              <a:gd name="T18" fmla="*/ 0 w 640"/>
              <a:gd name="T19" fmla="*/ 140 h 298"/>
              <a:gd name="T20" fmla="*/ 18 w 640"/>
              <a:gd name="T21" fmla="*/ 102 h 298"/>
              <a:gd name="T22" fmla="*/ 34 w 640"/>
              <a:gd name="T23" fmla="*/ 114 h 298"/>
              <a:gd name="T24" fmla="*/ 60 w 640"/>
              <a:gd name="T25" fmla="*/ 84 h 298"/>
              <a:gd name="T26" fmla="*/ 112 w 640"/>
              <a:gd name="T27" fmla="*/ 84 h 298"/>
              <a:gd name="T28" fmla="*/ 150 w 640"/>
              <a:gd name="T29" fmla="*/ 100 h 298"/>
              <a:gd name="T30" fmla="*/ 190 w 640"/>
              <a:gd name="T31" fmla="*/ 90 h 298"/>
              <a:gd name="T32" fmla="*/ 226 w 640"/>
              <a:gd name="T33" fmla="*/ 98 h 298"/>
              <a:gd name="T34" fmla="*/ 228 w 640"/>
              <a:gd name="T35" fmla="*/ 80 h 298"/>
              <a:gd name="T36" fmla="*/ 220 w 640"/>
              <a:gd name="T37" fmla="*/ 68 h 298"/>
              <a:gd name="T38" fmla="*/ 228 w 640"/>
              <a:gd name="T39" fmla="*/ 52 h 298"/>
              <a:gd name="T40" fmla="*/ 236 w 640"/>
              <a:gd name="T41" fmla="*/ 40 h 298"/>
              <a:gd name="T42" fmla="*/ 254 w 640"/>
              <a:gd name="T43" fmla="*/ 28 h 298"/>
              <a:gd name="T44" fmla="*/ 316 w 640"/>
              <a:gd name="T45" fmla="*/ 10 h 298"/>
              <a:gd name="T46" fmla="*/ 364 w 640"/>
              <a:gd name="T47" fmla="*/ 0 h 298"/>
              <a:gd name="T48" fmla="*/ 388 w 640"/>
              <a:gd name="T49" fmla="*/ 16 h 298"/>
              <a:gd name="T50" fmla="*/ 418 w 640"/>
              <a:gd name="T51" fmla="*/ 28 h 298"/>
              <a:gd name="T52" fmla="*/ 456 w 640"/>
              <a:gd name="T53" fmla="*/ 28 h 298"/>
              <a:gd name="T54" fmla="*/ 480 w 640"/>
              <a:gd name="T55" fmla="*/ 32 h 298"/>
              <a:gd name="T56" fmla="*/ 510 w 640"/>
              <a:gd name="T57" fmla="*/ 60 h 298"/>
              <a:gd name="T58" fmla="*/ 528 w 640"/>
              <a:gd name="T59" fmla="*/ 92 h 298"/>
              <a:gd name="T60" fmla="*/ 540 w 640"/>
              <a:gd name="T61" fmla="*/ 84 h 298"/>
              <a:gd name="T62" fmla="*/ 562 w 640"/>
              <a:gd name="T63" fmla="*/ 96 h 298"/>
              <a:gd name="T64" fmla="*/ 590 w 640"/>
              <a:gd name="T65" fmla="*/ 92 h 298"/>
              <a:gd name="T66" fmla="*/ 614 w 640"/>
              <a:gd name="T67" fmla="*/ 116 h 298"/>
              <a:gd name="T68" fmla="*/ 640 w 640"/>
              <a:gd name="T69" fmla="*/ 132 h 298"/>
              <a:gd name="T70" fmla="*/ 626 w 640"/>
              <a:gd name="T71" fmla="*/ 142 h 298"/>
              <a:gd name="T72" fmla="*/ 622 w 640"/>
              <a:gd name="T73" fmla="*/ 170 h 298"/>
              <a:gd name="T74" fmla="*/ 596 w 640"/>
              <a:gd name="T75" fmla="*/ 172 h 298"/>
              <a:gd name="T76" fmla="*/ 570 w 640"/>
              <a:gd name="T77" fmla="*/ 194 h 298"/>
              <a:gd name="T78" fmla="*/ 548 w 640"/>
              <a:gd name="T79" fmla="*/ 208 h 298"/>
              <a:gd name="T80" fmla="*/ 538 w 640"/>
              <a:gd name="T81" fmla="*/ 232 h 298"/>
              <a:gd name="T82" fmla="*/ 536 w 640"/>
              <a:gd name="T83" fmla="*/ 256 h 298"/>
              <a:gd name="T84" fmla="*/ 526 w 640"/>
              <a:gd name="T85" fmla="*/ 262 h 298"/>
              <a:gd name="T86" fmla="*/ 512 w 640"/>
              <a:gd name="T87" fmla="*/ 254 h 298"/>
              <a:gd name="T88" fmla="*/ 450 w 640"/>
              <a:gd name="T89" fmla="*/ 248 h 298"/>
              <a:gd name="T90" fmla="*/ 430 w 640"/>
              <a:gd name="T91" fmla="*/ 250 h 298"/>
              <a:gd name="T92" fmla="*/ 410 w 640"/>
              <a:gd name="T93" fmla="*/ 258 h 298"/>
              <a:gd name="T94" fmla="*/ 394 w 640"/>
              <a:gd name="T95" fmla="*/ 254 h 298"/>
              <a:gd name="T96" fmla="*/ 376 w 640"/>
              <a:gd name="T97" fmla="*/ 270 h 298"/>
              <a:gd name="T98" fmla="*/ 350 w 640"/>
              <a:gd name="T99" fmla="*/ 298 h 298"/>
              <a:gd name="T100" fmla="*/ 342 w 640"/>
              <a:gd name="T101" fmla="*/ 288 h 298"/>
              <a:gd name="T102" fmla="*/ 320 w 640"/>
              <a:gd name="T103" fmla="*/ 288 h 298"/>
              <a:gd name="T104" fmla="*/ 308 w 640"/>
              <a:gd name="T105" fmla="*/ 264 h 298"/>
              <a:gd name="T106" fmla="*/ 290 w 640"/>
              <a:gd name="T107" fmla="*/ 238 h 298"/>
              <a:gd name="T108" fmla="*/ 244 w 640"/>
              <a:gd name="T109" fmla="*/ 242 h 298"/>
              <a:gd name="T110" fmla="*/ 204 w 640"/>
              <a:gd name="T111" fmla="*/ 210 h 298"/>
              <a:gd name="T112" fmla="*/ 168 w 640"/>
              <a:gd name="T113" fmla="*/ 208 h 298"/>
              <a:gd name="T114" fmla="*/ 150 w 640"/>
              <a:gd name="T115" fmla="*/ 286 h 298"/>
              <a:gd name="T116" fmla="*/ 132 w 640"/>
              <a:gd name="T117" fmla="*/ 270 h 298"/>
              <a:gd name="T118" fmla="*/ 114 w 640"/>
              <a:gd name="T119" fmla="*/ 264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640" h="298">
                <a:moveTo>
                  <a:pt x="108" y="262"/>
                </a:moveTo>
                <a:lnTo>
                  <a:pt x="94" y="260"/>
                </a:lnTo>
                <a:lnTo>
                  <a:pt x="78" y="248"/>
                </a:lnTo>
                <a:lnTo>
                  <a:pt x="66" y="234"/>
                </a:lnTo>
                <a:lnTo>
                  <a:pt x="58" y="224"/>
                </a:lnTo>
                <a:lnTo>
                  <a:pt x="64" y="220"/>
                </a:lnTo>
                <a:lnTo>
                  <a:pt x="78" y="222"/>
                </a:lnTo>
                <a:lnTo>
                  <a:pt x="76" y="210"/>
                </a:lnTo>
                <a:lnTo>
                  <a:pt x="82" y="206"/>
                </a:lnTo>
                <a:lnTo>
                  <a:pt x="94" y="208"/>
                </a:lnTo>
                <a:lnTo>
                  <a:pt x="104" y="210"/>
                </a:lnTo>
                <a:lnTo>
                  <a:pt x="108" y="196"/>
                </a:lnTo>
                <a:lnTo>
                  <a:pt x="100" y="176"/>
                </a:lnTo>
                <a:lnTo>
                  <a:pt x="82" y="176"/>
                </a:lnTo>
                <a:lnTo>
                  <a:pt x="64" y="178"/>
                </a:lnTo>
                <a:lnTo>
                  <a:pt x="40" y="188"/>
                </a:lnTo>
                <a:lnTo>
                  <a:pt x="36" y="174"/>
                </a:lnTo>
                <a:lnTo>
                  <a:pt x="24" y="158"/>
                </a:lnTo>
                <a:lnTo>
                  <a:pt x="10" y="154"/>
                </a:lnTo>
                <a:lnTo>
                  <a:pt x="0" y="140"/>
                </a:lnTo>
                <a:lnTo>
                  <a:pt x="6" y="116"/>
                </a:lnTo>
                <a:lnTo>
                  <a:pt x="18" y="102"/>
                </a:lnTo>
                <a:lnTo>
                  <a:pt x="26" y="118"/>
                </a:lnTo>
                <a:lnTo>
                  <a:pt x="34" y="114"/>
                </a:lnTo>
                <a:lnTo>
                  <a:pt x="36" y="102"/>
                </a:lnTo>
                <a:lnTo>
                  <a:pt x="60" y="84"/>
                </a:lnTo>
                <a:lnTo>
                  <a:pt x="76" y="78"/>
                </a:lnTo>
                <a:lnTo>
                  <a:pt x="112" y="84"/>
                </a:lnTo>
                <a:lnTo>
                  <a:pt x="136" y="98"/>
                </a:lnTo>
                <a:lnTo>
                  <a:pt x="150" y="100"/>
                </a:lnTo>
                <a:lnTo>
                  <a:pt x="172" y="90"/>
                </a:lnTo>
                <a:lnTo>
                  <a:pt x="190" y="90"/>
                </a:lnTo>
                <a:lnTo>
                  <a:pt x="200" y="100"/>
                </a:lnTo>
                <a:lnTo>
                  <a:pt x="226" y="98"/>
                </a:lnTo>
                <a:lnTo>
                  <a:pt x="238" y="88"/>
                </a:lnTo>
                <a:lnTo>
                  <a:pt x="228" y="80"/>
                </a:lnTo>
                <a:lnTo>
                  <a:pt x="214" y="76"/>
                </a:lnTo>
                <a:lnTo>
                  <a:pt x="220" y="68"/>
                </a:lnTo>
                <a:lnTo>
                  <a:pt x="226" y="62"/>
                </a:lnTo>
                <a:lnTo>
                  <a:pt x="228" y="52"/>
                </a:lnTo>
                <a:lnTo>
                  <a:pt x="240" y="48"/>
                </a:lnTo>
                <a:lnTo>
                  <a:pt x="236" y="40"/>
                </a:lnTo>
                <a:lnTo>
                  <a:pt x="232" y="30"/>
                </a:lnTo>
                <a:lnTo>
                  <a:pt x="254" y="28"/>
                </a:lnTo>
                <a:lnTo>
                  <a:pt x="280" y="20"/>
                </a:lnTo>
                <a:lnTo>
                  <a:pt x="316" y="10"/>
                </a:lnTo>
                <a:lnTo>
                  <a:pt x="346" y="4"/>
                </a:lnTo>
                <a:lnTo>
                  <a:pt x="364" y="0"/>
                </a:lnTo>
                <a:lnTo>
                  <a:pt x="384" y="2"/>
                </a:lnTo>
                <a:lnTo>
                  <a:pt x="388" y="16"/>
                </a:lnTo>
                <a:lnTo>
                  <a:pt x="398" y="22"/>
                </a:lnTo>
                <a:lnTo>
                  <a:pt x="418" y="28"/>
                </a:lnTo>
                <a:lnTo>
                  <a:pt x="438" y="38"/>
                </a:lnTo>
                <a:lnTo>
                  <a:pt x="456" y="28"/>
                </a:lnTo>
                <a:lnTo>
                  <a:pt x="478" y="22"/>
                </a:lnTo>
                <a:lnTo>
                  <a:pt x="480" y="32"/>
                </a:lnTo>
                <a:lnTo>
                  <a:pt x="498" y="44"/>
                </a:lnTo>
                <a:lnTo>
                  <a:pt x="510" y="60"/>
                </a:lnTo>
                <a:lnTo>
                  <a:pt x="524" y="84"/>
                </a:lnTo>
                <a:lnTo>
                  <a:pt x="528" y="92"/>
                </a:lnTo>
                <a:lnTo>
                  <a:pt x="536" y="92"/>
                </a:lnTo>
                <a:lnTo>
                  <a:pt x="540" y="84"/>
                </a:lnTo>
                <a:lnTo>
                  <a:pt x="550" y="90"/>
                </a:lnTo>
                <a:lnTo>
                  <a:pt x="562" y="96"/>
                </a:lnTo>
                <a:lnTo>
                  <a:pt x="572" y="94"/>
                </a:lnTo>
                <a:lnTo>
                  <a:pt x="590" y="92"/>
                </a:lnTo>
                <a:lnTo>
                  <a:pt x="600" y="106"/>
                </a:lnTo>
                <a:lnTo>
                  <a:pt x="614" y="116"/>
                </a:lnTo>
                <a:lnTo>
                  <a:pt x="636" y="118"/>
                </a:lnTo>
                <a:lnTo>
                  <a:pt x="640" y="132"/>
                </a:lnTo>
                <a:lnTo>
                  <a:pt x="638" y="142"/>
                </a:lnTo>
                <a:lnTo>
                  <a:pt x="626" y="142"/>
                </a:lnTo>
                <a:lnTo>
                  <a:pt x="622" y="156"/>
                </a:lnTo>
                <a:lnTo>
                  <a:pt x="622" y="170"/>
                </a:lnTo>
                <a:lnTo>
                  <a:pt x="612" y="172"/>
                </a:lnTo>
                <a:lnTo>
                  <a:pt x="596" y="172"/>
                </a:lnTo>
                <a:lnTo>
                  <a:pt x="580" y="170"/>
                </a:lnTo>
                <a:lnTo>
                  <a:pt x="570" y="194"/>
                </a:lnTo>
                <a:lnTo>
                  <a:pt x="566" y="208"/>
                </a:lnTo>
                <a:lnTo>
                  <a:pt x="548" y="208"/>
                </a:lnTo>
                <a:lnTo>
                  <a:pt x="536" y="214"/>
                </a:lnTo>
                <a:lnTo>
                  <a:pt x="538" y="232"/>
                </a:lnTo>
                <a:lnTo>
                  <a:pt x="544" y="248"/>
                </a:lnTo>
                <a:lnTo>
                  <a:pt x="536" y="256"/>
                </a:lnTo>
                <a:lnTo>
                  <a:pt x="536" y="266"/>
                </a:lnTo>
                <a:lnTo>
                  <a:pt x="526" y="262"/>
                </a:lnTo>
                <a:lnTo>
                  <a:pt x="518" y="260"/>
                </a:lnTo>
                <a:lnTo>
                  <a:pt x="512" y="254"/>
                </a:lnTo>
                <a:lnTo>
                  <a:pt x="452" y="256"/>
                </a:lnTo>
                <a:lnTo>
                  <a:pt x="450" y="248"/>
                </a:lnTo>
                <a:lnTo>
                  <a:pt x="438" y="246"/>
                </a:lnTo>
                <a:lnTo>
                  <a:pt x="430" y="250"/>
                </a:lnTo>
                <a:lnTo>
                  <a:pt x="428" y="256"/>
                </a:lnTo>
                <a:lnTo>
                  <a:pt x="410" y="258"/>
                </a:lnTo>
                <a:lnTo>
                  <a:pt x="406" y="254"/>
                </a:lnTo>
                <a:lnTo>
                  <a:pt x="394" y="254"/>
                </a:lnTo>
                <a:lnTo>
                  <a:pt x="384" y="266"/>
                </a:lnTo>
                <a:lnTo>
                  <a:pt x="376" y="270"/>
                </a:lnTo>
                <a:lnTo>
                  <a:pt x="352" y="288"/>
                </a:lnTo>
                <a:lnTo>
                  <a:pt x="350" y="298"/>
                </a:lnTo>
                <a:lnTo>
                  <a:pt x="342" y="298"/>
                </a:lnTo>
                <a:lnTo>
                  <a:pt x="342" y="288"/>
                </a:lnTo>
                <a:lnTo>
                  <a:pt x="338" y="286"/>
                </a:lnTo>
                <a:lnTo>
                  <a:pt x="320" y="288"/>
                </a:lnTo>
                <a:lnTo>
                  <a:pt x="318" y="272"/>
                </a:lnTo>
                <a:lnTo>
                  <a:pt x="308" y="264"/>
                </a:lnTo>
                <a:lnTo>
                  <a:pt x="308" y="256"/>
                </a:lnTo>
                <a:lnTo>
                  <a:pt x="290" y="238"/>
                </a:lnTo>
                <a:lnTo>
                  <a:pt x="282" y="240"/>
                </a:lnTo>
                <a:lnTo>
                  <a:pt x="244" y="242"/>
                </a:lnTo>
                <a:lnTo>
                  <a:pt x="230" y="224"/>
                </a:lnTo>
                <a:lnTo>
                  <a:pt x="204" y="210"/>
                </a:lnTo>
                <a:lnTo>
                  <a:pt x="196" y="204"/>
                </a:lnTo>
                <a:lnTo>
                  <a:pt x="168" y="208"/>
                </a:lnTo>
                <a:lnTo>
                  <a:pt x="150" y="212"/>
                </a:lnTo>
                <a:lnTo>
                  <a:pt x="150" y="286"/>
                </a:lnTo>
                <a:lnTo>
                  <a:pt x="140" y="284"/>
                </a:lnTo>
                <a:lnTo>
                  <a:pt x="132" y="270"/>
                </a:lnTo>
                <a:lnTo>
                  <a:pt x="120" y="262"/>
                </a:lnTo>
                <a:lnTo>
                  <a:pt x="114" y="264"/>
                </a:lnTo>
                <a:lnTo>
                  <a:pt x="108" y="26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65" name="Freeform 102">
            <a:extLst>
              <a:ext uri="{FF2B5EF4-FFF2-40B4-BE49-F238E27FC236}">
                <a16:creationId xmlns:a16="http://schemas.microsoft.com/office/drawing/2014/main" id="{7B878602-9F4B-486B-8288-02CEBEF38C98}"/>
              </a:ext>
            </a:extLst>
          </p:cNvPr>
          <p:cNvSpPr>
            <a:spLocks/>
          </p:cNvSpPr>
          <p:nvPr/>
        </p:nvSpPr>
        <p:spPr bwMode="gray">
          <a:xfrm>
            <a:off x="2928950" y="1343962"/>
            <a:ext cx="1873699" cy="594174"/>
          </a:xfrm>
          <a:custGeom>
            <a:avLst/>
            <a:gdLst>
              <a:gd name="T0" fmla="*/ 336 w 2580"/>
              <a:gd name="T1" fmla="*/ 878 h 890"/>
              <a:gd name="T2" fmla="*/ 254 w 2580"/>
              <a:gd name="T3" fmla="*/ 858 h 890"/>
              <a:gd name="T4" fmla="*/ 174 w 2580"/>
              <a:gd name="T5" fmla="*/ 796 h 890"/>
              <a:gd name="T6" fmla="*/ 164 w 2580"/>
              <a:gd name="T7" fmla="*/ 716 h 890"/>
              <a:gd name="T8" fmla="*/ 72 w 2580"/>
              <a:gd name="T9" fmla="*/ 674 h 890"/>
              <a:gd name="T10" fmla="*/ 14 w 2580"/>
              <a:gd name="T11" fmla="*/ 584 h 890"/>
              <a:gd name="T12" fmla="*/ 22 w 2580"/>
              <a:gd name="T13" fmla="*/ 486 h 890"/>
              <a:gd name="T14" fmla="*/ 34 w 2580"/>
              <a:gd name="T15" fmla="*/ 336 h 890"/>
              <a:gd name="T16" fmla="*/ 80 w 2580"/>
              <a:gd name="T17" fmla="*/ 244 h 890"/>
              <a:gd name="T18" fmla="*/ 172 w 2580"/>
              <a:gd name="T19" fmla="*/ 348 h 890"/>
              <a:gd name="T20" fmla="*/ 122 w 2580"/>
              <a:gd name="T21" fmla="*/ 386 h 890"/>
              <a:gd name="T22" fmla="*/ 180 w 2580"/>
              <a:gd name="T23" fmla="*/ 380 h 890"/>
              <a:gd name="T24" fmla="*/ 262 w 2580"/>
              <a:gd name="T25" fmla="*/ 310 h 890"/>
              <a:gd name="T26" fmla="*/ 318 w 2580"/>
              <a:gd name="T27" fmla="*/ 326 h 890"/>
              <a:gd name="T28" fmla="*/ 476 w 2580"/>
              <a:gd name="T29" fmla="*/ 278 h 890"/>
              <a:gd name="T30" fmla="*/ 498 w 2580"/>
              <a:gd name="T31" fmla="*/ 226 h 890"/>
              <a:gd name="T32" fmla="*/ 626 w 2580"/>
              <a:gd name="T33" fmla="*/ 246 h 890"/>
              <a:gd name="T34" fmla="*/ 716 w 2580"/>
              <a:gd name="T35" fmla="*/ 182 h 890"/>
              <a:gd name="T36" fmla="*/ 666 w 2580"/>
              <a:gd name="T37" fmla="*/ 324 h 890"/>
              <a:gd name="T38" fmla="*/ 778 w 2580"/>
              <a:gd name="T39" fmla="*/ 270 h 890"/>
              <a:gd name="T40" fmla="*/ 734 w 2580"/>
              <a:gd name="T41" fmla="*/ 204 h 890"/>
              <a:gd name="T42" fmla="*/ 780 w 2580"/>
              <a:gd name="T43" fmla="*/ 204 h 890"/>
              <a:gd name="T44" fmla="*/ 798 w 2580"/>
              <a:gd name="T45" fmla="*/ 162 h 890"/>
              <a:gd name="T46" fmla="*/ 946 w 2580"/>
              <a:gd name="T47" fmla="*/ 120 h 890"/>
              <a:gd name="T48" fmla="*/ 1230 w 2580"/>
              <a:gd name="T49" fmla="*/ 2 h 890"/>
              <a:gd name="T50" fmla="*/ 1326 w 2580"/>
              <a:gd name="T51" fmla="*/ 102 h 890"/>
              <a:gd name="T52" fmla="*/ 1336 w 2580"/>
              <a:gd name="T53" fmla="*/ 122 h 890"/>
              <a:gd name="T54" fmla="*/ 1564 w 2580"/>
              <a:gd name="T55" fmla="*/ 138 h 890"/>
              <a:gd name="T56" fmla="*/ 1720 w 2580"/>
              <a:gd name="T57" fmla="*/ 190 h 890"/>
              <a:gd name="T58" fmla="*/ 1926 w 2580"/>
              <a:gd name="T59" fmla="*/ 172 h 890"/>
              <a:gd name="T60" fmla="*/ 2108 w 2580"/>
              <a:gd name="T61" fmla="*/ 246 h 890"/>
              <a:gd name="T62" fmla="*/ 2274 w 2580"/>
              <a:gd name="T63" fmla="*/ 272 h 890"/>
              <a:gd name="T64" fmla="*/ 2442 w 2580"/>
              <a:gd name="T65" fmla="*/ 276 h 890"/>
              <a:gd name="T66" fmla="*/ 2568 w 2580"/>
              <a:gd name="T67" fmla="*/ 332 h 890"/>
              <a:gd name="T68" fmla="*/ 2446 w 2580"/>
              <a:gd name="T69" fmla="*/ 360 h 890"/>
              <a:gd name="T70" fmla="*/ 2368 w 2580"/>
              <a:gd name="T71" fmla="*/ 380 h 890"/>
              <a:gd name="T72" fmla="*/ 2306 w 2580"/>
              <a:gd name="T73" fmla="*/ 464 h 890"/>
              <a:gd name="T74" fmla="*/ 2136 w 2580"/>
              <a:gd name="T75" fmla="*/ 534 h 890"/>
              <a:gd name="T76" fmla="*/ 2104 w 2580"/>
              <a:gd name="T77" fmla="*/ 634 h 890"/>
              <a:gd name="T78" fmla="*/ 2034 w 2580"/>
              <a:gd name="T79" fmla="*/ 582 h 890"/>
              <a:gd name="T80" fmla="*/ 2166 w 2580"/>
              <a:gd name="T81" fmla="*/ 430 h 890"/>
              <a:gd name="T82" fmla="*/ 2058 w 2580"/>
              <a:gd name="T83" fmla="*/ 456 h 890"/>
              <a:gd name="T84" fmla="*/ 1966 w 2580"/>
              <a:gd name="T85" fmla="*/ 504 h 890"/>
              <a:gd name="T86" fmla="*/ 1734 w 2580"/>
              <a:gd name="T87" fmla="*/ 620 h 890"/>
              <a:gd name="T88" fmla="*/ 1794 w 2580"/>
              <a:gd name="T89" fmla="*/ 728 h 890"/>
              <a:gd name="T90" fmla="*/ 1660 w 2580"/>
              <a:gd name="T91" fmla="*/ 810 h 890"/>
              <a:gd name="T92" fmla="*/ 1666 w 2580"/>
              <a:gd name="T93" fmla="*/ 764 h 890"/>
              <a:gd name="T94" fmla="*/ 1472 w 2580"/>
              <a:gd name="T95" fmla="*/ 652 h 890"/>
              <a:gd name="T96" fmla="*/ 1418 w 2580"/>
              <a:gd name="T97" fmla="*/ 718 h 890"/>
              <a:gd name="T98" fmla="*/ 1276 w 2580"/>
              <a:gd name="T99" fmla="*/ 718 h 890"/>
              <a:gd name="T100" fmla="*/ 1132 w 2580"/>
              <a:gd name="T101" fmla="*/ 674 h 890"/>
              <a:gd name="T102" fmla="*/ 1024 w 2580"/>
              <a:gd name="T103" fmla="*/ 700 h 890"/>
              <a:gd name="T104" fmla="*/ 894 w 2580"/>
              <a:gd name="T105" fmla="*/ 696 h 890"/>
              <a:gd name="T106" fmla="*/ 760 w 2580"/>
              <a:gd name="T107" fmla="*/ 632 h 890"/>
              <a:gd name="T108" fmla="*/ 536 w 2580"/>
              <a:gd name="T109" fmla="*/ 634 h 890"/>
              <a:gd name="T110" fmla="*/ 530 w 2580"/>
              <a:gd name="T111" fmla="*/ 702 h 890"/>
              <a:gd name="T112" fmla="*/ 340 w 2580"/>
              <a:gd name="T113" fmla="*/ 706 h 890"/>
              <a:gd name="T114" fmla="*/ 344 w 2580"/>
              <a:gd name="T115" fmla="*/ 792 h 8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580" h="890">
                <a:moveTo>
                  <a:pt x="344" y="792"/>
                </a:moveTo>
                <a:lnTo>
                  <a:pt x="328" y="804"/>
                </a:lnTo>
                <a:lnTo>
                  <a:pt x="318" y="810"/>
                </a:lnTo>
                <a:lnTo>
                  <a:pt x="314" y="818"/>
                </a:lnTo>
                <a:lnTo>
                  <a:pt x="306" y="828"/>
                </a:lnTo>
                <a:lnTo>
                  <a:pt x="314" y="834"/>
                </a:lnTo>
                <a:lnTo>
                  <a:pt x="320" y="844"/>
                </a:lnTo>
                <a:lnTo>
                  <a:pt x="322" y="862"/>
                </a:lnTo>
                <a:lnTo>
                  <a:pt x="336" y="878"/>
                </a:lnTo>
                <a:lnTo>
                  <a:pt x="326" y="888"/>
                </a:lnTo>
                <a:lnTo>
                  <a:pt x="322" y="890"/>
                </a:lnTo>
                <a:lnTo>
                  <a:pt x="306" y="878"/>
                </a:lnTo>
                <a:lnTo>
                  <a:pt x="300" y="876"/>
                </a:lnTo>
                <a:lnTo>
                  <a:pt x="290" y="866"/>
                </a:lnTo>
                <a:lnTo>
                  <a:pt x="280" y="860"/>
                </a:lnTo>
                <a:lnTo>
                  <a:pt x="270" y="862"/>
                </a:lnTo>
                <a:lnTo>
                  <a:pt x="264" y="862"/>
                </a:lnTo>
                <a:lnTo>
                  <a:pt x="254" y="858"/>
                </a:lnTo>
                <a:lnTo>
                  <a:pt x="240" y="850"/>
                </a:lnTo>
                <a:lnTo>
                  <a:pt x="232" y="850"/>
                </a:lnTo>
                <a:lnTo>
                  <a:pt x="222" y="852"/>
                </a:lnTo>
                <a:lnTo>
                  <a:pt x="210" y="844"/>
                </a:lnTo>
                <a:lnTo>
                  <a:pt x="198" y="846"/>
                </a:lnTo>
                <a:lnTo>
                  <a:pt x="172" y="828"/>
                </a:lnTo>
                <a:lnTo>
                  <a:pt x="158" y="822"/>
                </a:lnTo>
                <a:lnTo>
                  <a:pt x="162" y="808"/>
                </a:lnTo>
                <a:lnTo>
                  <a:pt x="174" y="796"/>
                </a:lnTo>
                <a:lnTo>
                  <a:pt x="172" y="786"/>
                </a:lnTo>
                <a:lnTo>
                  <a:pt x="188" y="776"/>
                </a:lnTo>
                <a:lnTo>
                  <a:pt x="170" y="774"/>
                </a:lnTo>
                <a:lnTo>
                  <a:pt x="172" y="766"/>
                </a:lnTo>
                <a:lnTo>
                  <a:pt x="182" y="762"/>
                </a:lnTo>
                <a:lnTo>
                  <a:pt x="198" y="758"/>
                </a:lnTo>
                <a:lnTo>
                  <a:pt x="200" y="726"/>
                </a:lnTo>
                <a:lnTo>
                  <a:pt x="184" y="716"/>
                </a:lnTo>
                <a:lnTo>
                  <a:pt x="164" y="716"/>
                </a:lnTo>
                <a:lnTo>
                  <a:pt x="162" y="710"/>
                </a:lnTo>
                <a:lnTo>
                  <a:pt x="130" y="708"/>
                </a:lnTo>
                <a:lnTo>
                  <a:pt x="126" y="694"/>
                </a:lnTo>
                <a:lnTo>
                  <a:pt x="108" y="690"/>
                </a:lnTo>
                <a:lnTo>
                  <a:pt x="110" y="678"/>
                </a:lnTo>
                <a:lnTo>
                  <a:pt x="106" y="668"/>
                </a:lnTo>
                <a:lnTo>
                  <a:pt x="82" y="668"/>
                </a:lnTo>
                <a:lnTo>
                  <a:pt x="78" y="672"/>
                </a:lnTo>
                <a:lnTo>
                  <a:pt x="72" y="674"/>
                </a:lnTo>
                <a:lnTo>
                  <a:pt x="64" y="670"/>
                </a:lnTo>
                <a:lnTo>
                  <a:pt x="64" y="650"/>
                </a:lnTo>
                <a:lnTo>
                  <a:pt x="82" y="650"/>
                </a:lnTo>
                <a:lnTo>
                  <a:pt x="84" y="648"/>
                </a:lnTo>
                <a:lnTo>
                  <a:pt x="56" y="618"/>
                </a:lnTo>
                <a:lnTo>
                  <a:pt x="52" y="596"/>
                </a:lnTo>
                <a:lnTo>
                  <a:pt x="32" y="594"/>
                </a:lnTo>
                <a:lnTo>
                  <a:pt x="32" y="588"/>
                </a:lnTo>
                <a:lnTo>
                  <a:pt x="14" y="584"/>
                </a:lnTo>
                <a:lnTo>
                  <a:pt x="10" y="578"/>
                </a:lnTo>
                <a:lnTo>
                  <a:pt x="6" y="562"/>
                </a:lnTo>
                <a:lnTo>
                  <a:pt x="0" y="550"/>
                </a:lnTo>
                <a:lnTo>
                  <a:pt x="2" y="538"/>
                </a:lnTo>
                <a:lnTo>
                  <a:pt x="2" y="522"/>
                </a:lnTo>
                <a:lnTo>
                  <a:pt x="8" y="510"/>
                </a:lnTo>
                <a:lnTo>
                  <a:pt x="26" y="496"/>
                </a:lnTo>
                <a:lnTo>
                  <a:pt x="40" y="494"/>
                </a:lnTo>
                <a:lnTo>
                  <a:pt x="22" y="486"/>
                </a:lnTo>
                <a:lnTo>
                  <a:pt x="12" y="474"/>
                </a:lnTo>
                <a:lnTo>
                  <a:pt x="56" y="438"/>
                </a:lnTo>
                <a:lnTo>
                  <a:pt x="64" y="424"/>
                </a:lnTo>
                <a:lnTo>
                  <a:pt x="40" y="406"/>
                </a:lnTo>
                <a:lnTo>
                  <a:pt x="50" y="396"/>
                </a:lnTo>
                <a:lnTo>
                  <a:pt x="42" y="382"/>
                </a:lnTo>
                <a:lnTo>
                  <a:pt x="32" y="372"/>
                </a:lnTo>
                <a:lnTo>
                  <a:pt x="40" y="352"/>
                </a:lnTo>
                <a:lnTo>
                  <a:pt x="34" y="336"/>
                </a:lnTo>
                <a:lnTo>
                  <a:pt x="24" y="318"/>
                </a:lnTo>
                <a:lnTo>
                  <a:pt x="40" y="302"/>
                </a:lnTo>
                <a:lnTo>
                  <a:pt x="16" y="288"/>
                </a:lnTo>
                <a:lnTo>
                  <a:pt x="20" y="266"/>
                </a:lnTo>
                <a:lnTo>
                  <a:pt x="30" y="256"/>
                </a:lnTo>
                <a:lnTo>
                  <a:pt x="40" y="254"/>
                </a:lnTo>
                <a:lnTo>
                  <a:pt x="40" y="248"/>
                </a:lnTo>
                <a:lnTo>
                  <a:pt x="62" y="244"/>
                </a:lnTo>
                <a:lnTo>
                  <a:pt x="80" y="244"/>
                </a:lnTo>
                <a:lnTo>
                  <a:pt x="86" y="254"/>
                </a:lnTo>
                <a:lnTo>
                  <a:pt x="96" y="258"/>
                </a:lnTo>
                <a:lnTo>
                  <a:pt x="134" y="260"/>
                </a:lnTo>
                <a:lnTo>
                  <a:pt x="162" y="274"/>
                </a:lnTo>
                <a:lnTo>
                  <a:pt x="188" y="290"/>
                </a:lnTo>
                <a:lnTo>
                  <a:pt x="218" y="306"/>
                </a:lnTo>
                <a:lnTo>
                  <a:pt x="220" y="324"/>
                </a:lnTo>
                <a:lnTo>
                  <a:pt x="202" y="340"/>
                </a:lnTo>
                <a:lnTo>
                  <a:pt x="172" y="348"/>
                </a:lnTo>
                <a:lnTo>
                  <a:pt x="146" y="338"/>
                </a:lnTo>
                <a:lnTo>
                  <a:pt x="116" y="332"/>
                </a:lnTo>
                <a:lnTo>
                  <a:pt x="94" y="324"/>
                </a:lnTo>
                <a:lnTo>
                  <a:pt x="76" y="316"/>
                </a:lnTo>
                <a:lnTo>
                  <a:pt x="90" y="334"/>
                </a:lnTo>
                <a:lnTo>
                  <a:pt x="106" y="342"/>
                </a:lnTo>
                <a:lnTo>
                  <a:pt x="114" y="348"/>
                </a:lnTo>
                <a:lnTo>
                  <a:pt x="116" y="360"/>
                </a:lnTo>
                <a:lnTo>
                  <a:pt x="122" y="386"/>
                </a:lnTo>
                <a:lnTo>
                  <a:pt x="132" y="388"/>
                </a:lnTo>
                <a:lnTo>
                  <a:pt x="148" y="402"/>
                </a:lnTo>
                <a:lnTo>
                  <a:pt x="168" y="402"/>
                </a:lnTo>
                <a:lnTo>
                  <a:pt x="170" y="392"/>
                </a:lnTo>
                <a:lnTo>
                  <a:pt x="158" y="388"/>
                </a:lnTo>
                <a:lnTo>
                  <a:pt x="148" y="376"/>
                </a:lnTo>
                <a:lnTo>
                  <a:pt x="156" y="366"/>
                </a:lnTo>
                <a:lnTo>
                  <a:pt x="168" y="376"/>
                </a:lnTo>
                <a:lnTo>
                  <a:pt x="180" y="380"/>
                </a:lnTo>
                <a:lnTo>
                  <a:pt x="206" y="386"/>
                </a:lnTo>
                <a:lnTo>
                  <a:pt x="206" y="376"/>
                </a:lnTo>
                <a:lnTo>
                  <a:pt x="196" y="364"/>
                </a:lnTo>
                <a:lnTo>
                  <a:pt x="208" y="352"/>
                </a:lnTo>
                <a:lnTo>
                  <a:pt x="226" y="342"/>
                </a:lnTo>
                <a:lnTo>
                  <a:pt x="236" y="334"/>
                </a:lnTo>
                <a:lnTo>
                  <a:pt x="264" y="342"/>
                </a:lnTo>
                <a:lnTo>
                  <a:pt x="270" y="318"/>
                </a:lnTo>
                <a:lnTo>
                  <a:pt x="262" y="310"/>
                </a:lnTo>
                <a:lnTo>
                  <a:pt x="266" y="288"/>
                </a:lnTo>
                <a:lnTo>
                  <a:pt x="258" y="280"/>
                </a:lnTo>
                <a:lnTo>
                  <a:pt x="292" y="278"/>
                </a:lnTo>
                <a:lnTo>
                  <a:pt x="304" y="292"/>
                </a:lnTo>
                <a:lnTo>
                  <a:pt x="304" y="300"/>
                </a:lnTo>
                <a:lnTo>
                  <a:pt x="288" y="300"/>
                </a:lnTo>
                <a:lnTo>
                  <a:pt x="278" y="310"/>
                </a:lnTo>
                <a:lnTo>
                  <a:pt x="294" y="324"/>
                </a:lnTo>
                <a:lnTo>
                  <a:pt x="318" y="326"/>
                </a:lnTo>
                <a:lnTo>
                  <a:pt x="328" y="302"/>
                </a:lnTo>
                <a:lnTo>
                  <a:pt x="386" y="280"/>
                </a:lnTo>
                <a:lnTo>
                  <a:pt x="396" y="282"/>
                </a:lnTo>
                <a:lnTo>
                  <a:pt x="408" y="270"/>
                </a:lnTo>
                <a:lnTo>
                  <a:pt x="420" y="266"/>
                </a:lnTo>
                <a:lnTo>
                  <a:pt x="416" y="284"/>
                </a:lnTo>
                <a:lnTo>
                  <a:pt x="436" y="284"/>
                </a:lnTo>
                <a:lnTo>
                  <a:pt x="440" y="276"/>
                </a:lnTo>
                <a:lnTo>
                  <a:pt x="476" y="278"/>
                </a:lnTo>
                <a:lnTo>
                  <a:pt x="500" y="264"/>
                </a:lnTo>
                <a:lnTo>
                  <a:pt x="504" y="274"/>
                </a:lnTo>
                <a:lnTo>
                  <a:pt x="502" y="282"/>
                </a:lnTo>
                <a:lnTo>
                  <a:pt x="512" y="282"/>
                </a:lnTo>
                <a:lnTo>
                  <a:pt x="516" y="274"/>
                </a:lnTo>
                <a:lnTo>
                  <a:pt x="532" y="264"/>
                </a:lnTo>
                <a:lnTo>
                  <a:pt x="520" y="248"/>
                </a:lnTo>
                <a:lnTo>
                  <a:pt x="498" y="240"/>
                </a:lnTo>
                <a:lnTo>
                  <a:pt x="498" y="226"/>
                </a:lnTo>
                <a:lnTo>
                  <a:pt x="506" y="224"/>
                </a:lnTo>
                <a:lnTo>
                  <a:pt x="526" y="242"/>
                </a:lnTo>
                <a:lnTo>
                  <a:pt x="558" y="244"/>
                </a:lnTo>
                <a:lnTo>
                  <a:pt x="592" y="256"/>
                </a:lnTo>
                <a:lnTo>
                  <a:pt x="620" y="268"/>
                </a:lnTo>
                <a:lnTo>
                  <a:pt x="650" y="284"/>
                </a:lnTo>
                <a:lnTo>
                  <a:pt x="658" y="270"/>
                </a:lnTo>
                <a:lnTo>
                  <a:pt x="644" y="256"/>
                </a:lnTo>
                <a:lnTo>
                  <a:pt x="626" y="246"/>
                </a:lnTo>
                <a:lnTo>
                  <a:pt x="626" y="236"/>
                </a:lnTo>
                <a:lnTo>
                  <a:pt x="634" y="216"/>
                </a:lnTo>
                <a:lnTo>
                  <a:pt x="624" y="210"/>
                </a:lnTo>
                <a:lnTo>
                  <a:pt x="626" y="204"/>
                </a:lnTo>
                <a:lnTo>
                  <a:pt x="650" y="186"/>
                </a:lnTo>
                <a:lnTo>
                  <a:pt x="666" y="154"/>
                </a:lnTo>
                <a:lnTo>
                  <a:pt x="716" y="158"/>
                </a:lnTo>
                <a:lnTo>
                  <a:pt x="720" y="164"/>
                </a:lnTo>
                <a:lnTo>
                  <a:pt x="716" y="182"/>
                </a:lnTo>
                <a:lnTo>
                  <a:pt x="706" y="198"/>
                </a:lnTo>
                <a:lnTo>
                  <a:pt x="716" y="206"/>
                </a:lnTo>
                <a:lnTo>
                  <a:pt x="720" y="224"/>
                </a:lnTo>
                <a:lnTo>
                  <a:pt x="716" y="268"/>
                </a:lnTo>
                <a:lnTo>
                  <a:pt x="732" y="280"/>
                </a:lnTo>
                <a:lnTo>
                  <a:pt x="724" y="298"/>
                </a:lnTo>
                <a:lnTo>
                  <a:pt x="696" y="322"/>
                </a:lnTo>
                <a:lnTo>
                  <a:pt x="682" y="328"/>
                </a:lnTo>
                <a:lnTo>
                  <a:pt x="666" y="324"/>
                </a:lnTo>
                <a:lnTo>
                  <a:pt x="658" y="328"/>
                </a:lnTo>
                <a:lnTo>
                  <a:pt x="670" y="336"/>
                </a:lnTo>
                <a:lnTo>
                  <a:pt x="688" y="340"/>
                </a:lnTo>
                <a:lnTo>
                  <a:pt x="706" y="342"/>
                </a:lnTo>
                <a:lnTo>
                  <a:pt x="726" y="326"/>
                </a:lnTo>
                <a:lnTo>
                  <a:pt x="754" y="298"/>
                </a:lnTo>
                <a:lnTo>
                  <a:pt x="746" y="282"/>
                </a:lnTo>
                <a:lnTo>
                  <a:pt x="756" y="266"/>
                </a:lnTo>
                <a:lnTo>
                  <a:pt x="778" y="270"/>
                </a:lnTo>
                <a:lnTo>
                  <a:pt x="788" y="280"/>
                </a:lnTo>
                <a:lnTo>
                  <a:pt x="792" y="296"/>
                </a:lnTo>
                <a:lnTo>
                  <a:pt x="806" y="284"/>
                </a:lnTo>
                <a:lnTo>
                  <a:pt x="798" y="268"/>
                </a:lnTo>
                <a:lnTo>
                  <a:pt x="778" y="262"/>
                </a:lnTo>
                <a:lnTo>
                  <a:pt x="736" y="260"/>
                </a:lnTo>
                <a:lnTo>
                  <a:pt x="736" y="240"/>
                </a:lnTo>
                <a:lnTo>
                  <a:pt x="744" y="220"/>
                </a:lnTo>
                <a:lnTo>
                  <a:pt x="734" y="204"/>
                </a:lnTo>
                <a:lnTo>
                  <a:pt x="728" y="192"/>
                </a:lnTo>
                <a:lnTo>
                  <a:pt x="740" y="180"/>
                </a:lnTo>
                <a:lnTo>
                  <a:pt x="754" y="174"/>
                </a:lnTo>
                <a:lnTo>
                  <a:pt x="756" y="158"/>
                </a:lnTo>
                <a:lnTo>
                  <a:pt x="764" y="158"/>
                </a:lnTo>
                <a:lnTo>
                  <a:pt x="766" y="176"/>
                </a:lnTo>
                <a:lnTo>
                  <a:pt x="760" y="190"/>
                </a:lnTo>
                <a:lnTo>
                  <a:pt x="764" y="200"/>
                </a:lnTo>
                <a:lnTo>
                  <a:pt x="780" y="204"/>
                </a:lnTo>
                <a:lnTo>
                  <a:pt x="804" y="210"/>
                </a:lnTo>
                <a:lnTo>
                  <a:pt x="816" y="210"/>
                </a:lnTo>
                <a:lnTo>
                  <a:pt x="802" y="200"/>
                </a:lnTo>
                <a:lnTo>
                  <a:pt x="782" y="194"/>
                </a:lnTo>
                <a:lnTo>
                  <a:pt x="774" y="182"/>
                </a:lnTo>
                <a:lnTo>
                  <a:pt x="786" y="178"/>
                </a:lnTo>
                <a:lnTo>
                  <a:pt x="806" y="182"/>
                </a:lnTo>
                <a:lnTo>
                  <a:pt x="792" y="166"/>
                </a:lnTo>
                <a:lnTo>
                  <a:pt x="798" y="162"/>
                </a:lnTo>
                <a:lnTo>
                  <a:pt x="832" y="172"/>
                </a:lnTo>
                <a:lnTo>
                  <a:pt x="852" y="188"/>
                </a:lnTo>
                <a:lnTo>
                  <a:pt x="880" y="188"/>
                </a:lnTo>
                <a:lnTo>
                  <a:pt x="866" y="174"/>
                </a:lnTo>
                <a:lnTo>
                  <a:pt x="848" y="160"/>
                </a:lnTo>
                <a:lnTo>
                  <a:pt x="842" y="138"/>
                </a:lnTo>
                <a:lnTo>
                  <a:pt x="854" y="130"/>
                </a:lnTo>
                <a:lnTo>
                  <a:pt x="900" y="128"/>
                </a:lnTo>
                <a:lnTo>
                  <a:pt x="946" y="120"/>
                </a:lnTo>
                <a:lnTo>
                  <a:pt x="934" y="98"/>
                </a:lnTo>
                <a:lnTo>
                  <a:pt x="972" y="80"/>
                </a:lnTo>
                <a:lnTo>
                  <a:pt x="1056" y="52"/>
                </a:lnTo>
                <a:lnTo>
                  <a:pt x="1092" y="48"/>
                </a:lnTo>
                <a:lnTo>
                  <a:pt x="1126" y="52"/>
                </a:lnTo>
                <a:lnTo>
                  <a:pt x="1176" y="36"/>
                </a:lnTo>
                <a:lnTo>
                  <a:pt x="1172" y="20"/>
                </a:lnTo>
                <a:lnTo>
                  <a:pt x="1196" y="0"/>
                </a:lnTo>
                <a:lnTo>
                  <a:pt x="1230" y="2"/>
                </a:lnTo>
                <a:lnTo>
                  <a:pt x="1248" y="8"/>
                </a:lnTo>
                <a:lnTo>
                  <a:pt x="1226" y="20"/>
                </a:lnTo>
                <a:lnTo>
                  <a:pt x="1268" y="22"/>
                </a:lnTo>
                <a:lnTo>
                  <a:pt x="1260" y="36"/>
                </a:lnTo>
                <a:lnTo>
                  <a:pt x="1336" y="34"/>
                </a:lnTo>
                <a:lnTo>
                  <a:pt x="1364" y="52"/>
                </a:lnTo>
                <a:lnTo>
                  <a:pt x="1368" y="64"/>
                </a:lnTo>
                <a:lnTo>
                  <a:pt x="1360" y="84"/>
                </a:lnTo>
                <a:lnTo>
                  <a:pt x="1326" y="102"/>
                </a:lnTo>
                <a:lnTo>
                  <a:pt x="1290" y="122"/>
                </a:lnTo>
                <a:lnTo>
                  <a:pt x="1240" y="150"/>
                </a:lnTo>
                <a:lnTo>
                  <a:pt x="1244" y="154"/>
                </a:lnTo>
                <a:lnTo>
                  <a:pt x="1266" y="146"/>
                </a:lnTo>
                <a:lnTo>
                  <a:pt x="1308" y="134"/>
                </a:lnTo>
                <a:lnTo>
                  <a:pt x="1306" y="126"/>
                </a:lnTo>
                <a:lnTo>
                  <a:pt x="1316" y="116"/>
                </a:lnTo>
                <a:lnTo>
                  <a:pt x="1332" y="112"/>
                </a:lnTo>
                <a:lnTo>
                  <a:pt x="1336" y="122"/>
                </a:lnTo>
                <a:lnTo>
                  <a:pt x="1348" y="126"/>
                </a:lnTo>
                <a:lnTo>
                  <a:pt x="1366" y="138"/>
                </a:lnTo>
                <a:lnTo>
                  <a:pt x="1376" y="132"/>
                </a:lnTo>
                <a:lnTo>
                  <a:pt x="1450" y="134"/>
                </a:lnTo>
                <a:lnTo>
                  <a:pt x="1450" y="144"/>
                </a:lnTo>
                <a:lnTo>
                  <a:pt x="1522" y="152"/>
                </a:lnTo>
                <a:lnTo>
                  <a:pt x="1530" y="126"/>
                </a:lnTo>
                <a:lnTo>
                  <a:pt x="1544" y="128"/>
                </a:lnTo>
                <a:lnTo>
                  <a:pt x="1564" y="138"/>
                </a:lnTo>
                <a:lnTo>
                  <a:pt x="1596" y="136"/>
                </a:lnTo>
                <a:lnTo>
                  <a:pt x="1614" y="156"/>
                </a:lnTo>
                <a:lnTo>
                  <a:pt x="1618" y="174"/>
                </a:lnTo>
                <a:lnTo>
                  <a:pt x="1606" y="182"/>
                </a:lnTo>
                <a:lnTo>
                  <a:pt x="1628" y="208"/>
                </a:lnTo>
                <a:lnTo>
                  <a:pt x="1650" y="214"/>
                </a:lnTo>
                <a:lnTo>
                  <a:pt x="1670" y="184"/>
                </a:lnTo>
                <a:lnTo>
                  <a:pt x="1696" y="198"/>
                </a:lnTo>
                <a:lnTo>
                  <a:pt x="1720" y="190"/>
                </a:lnTo>
                <a:lnTo>
                  <a:pt x="1746" y="200"/>
                </a:lnTo>
                <a:lnTo>
                  <a:pt x="1768" y="192"/>
                </a:lnTo>
                <a:lnTo>
                  <a:pt x="1784" y="184"/>
                </a:lnTo>
                <a:lnTo>
                  <a:pt x="1782" y="166"/>
                </a:lnTo>
                <a:lnTo>
                  <a:pt x="1804" y="158"/>
                </a:lnTo>
                <a:lnTo>
                  <a:pt x="1872" y="162"/>
                </a:lnTo>
                <a:lnTo>
                  <a:pt x="1884" y="172"/>
                </a:lnTo>
                <a:lnTo>
                  <a:pt x="1890" y="176"/>
                </a:lnTo>
                <a:lnTo>
                  <a:pt x="1926" y="172"/>
                </a:lnTo>
                <a:lnTo>
                  <a:pt x="1942" y="180"/>
                </a:lnTo>
                <a:lnTo>
                  <a:pt x="1934" y="190"/>
                </a:lnTo>
                <a:lnTo>
                  <a:pt x="1948" y="196"/>
                </a:lnTo>
                <a:lnTo>
                  <a:pt x="1978" y="208"/>
                </a:lnTo>
                <a:lnTo>
                  <a:pt x="2030" y="210"/>
                </a:lnTo>
                <a:lnTo>
                  <a:pt x="2084" y="212"/>
                </a:lnTo>
                <a:lnTo>
                  <a:pt x="2106" y="224"/>
                </a:lnTo>
                <a:lnTo>
                  <a:pt x="2104" y="238"/>
                </a:lnTo>
                <a:lnTo>
                  <a:pt x="2108" y="246"/>
                </a:lnTo>
                <a:lnTo>
                  <a:pt x="2126" y="252"/>
                </a:lnTo>
                <a:lnTo>
                  <a:pt x="2140" y="246"/>
                </a:lnTo>
                <a:lnTo>
                  <a:pt x="2206" y="250"/>
                </a:lnTo>
                <a:lnTo>
                  <a:pt x="2214" y="250"/>
                </a:lnTo>
                <a:lnTo>
                  <a:pt x="2230" y="242"/>
                </a:lnTo>
                <a:lnTo>
                  <a:pt x="2236" y="244"/>
                </a:lnTo>
                <a:lnTo>
                  <a:pt x="2236" y="256"/>
                </a:lnTo>
                <a:lnTo>
                  <a:pt x="2254" y="270"/>
                </a:lnTo>
                <a:lnTo>
                  <a:pt x="2274" y="272"/>
                </a:lnTo>
                <a:lnTo>
                  <a:pt x="2280" y="264"/>
                </a:lnTo>
                <a:lnTo>
                  <a:pt x="2274" y="252"/>
                </a:lnTo>
                <a:lnTo>
                  <a:pt x="2272" y="234"/>
                </a:lnTo>
                <a:lnTo>
                  <a:pt x="2284" y="232"/>
                </a:lnTo>
                <a:lnTo>
                  <a:pt x="2302" y="240"/>
                </a:lnTo>
                <a:lnTo>
                  <a:pt x="2334" y="240"/>
                </a:lnTo>
                <a:lnTo>
                  <a:pt x="2372" y="246"/>
                </a:lnTo>
                <a:lnTo>
                  <a:pt x="2416" y="262"/>
                </a:lnTo>
                <a:lnTo>
                  <a:pt x="2442" y="276"/>
                </a:lnTo>
                <a:lnTo>
                  <a:pt x="2488" y="296"/>
                </a:lnTo>
                <a:lnTo>
                  <a:pt x="2496" y="308"/>
                </a:lnTo>
                <a:lnTo>
                  <a:pt x="2502" y="320"/>
                </a:lnTo>
                <a:lnTo>
                  <a:pt x="2512" y="336"/>
                </a:lnTo>
                <a:lnTo>
                  <a:pt x="2520" y="332"/>
                </a:lnTo>
                <a:lnTo>
                  <a:pt x="2514" y="314"/>
                </a:lnTo>
                <a:lnTo>
                  <a:pt x="2530" y="316"/>
                </a:lnTo>
                <a:lnTo>
                  <a:pt x="2550" y="320"/>
                </a:lnTo>
                <a:lnTo>
                  <a:pt x="2568" y="332"/>
                </a:lnTo>
                <a:lnTo>
                  <a:pt x="2580" y="344"/>
                </a:lnTo>
                <a:lnTo>
                  <a:pt x="2568" y="356"/>
                </a:lnTo>
                <a:lnTo>
                  <a:pt x="2542" y="362"/>
                </a:lnTo>
                <a:lnTo>
                  <a:pt x="2538" y="376"/>
                </a:lnTo>
                <a:lnTo>
                  <a:pt x="2530" y="394"/>
                </a:lnTo>
                <a:lnTo>
                  <a:pt x="2502" y="380"/>
                </a:lnTo>
                <a:lnTo>
                  <a:pt x="2486" y="374"/>
                </a:lnTo>
                <a:lnTo>
                  <a:pt x="2488" y="358"/>
                </a:lnTo>
                <a:lnTo>
                  <a:pt x="2446" y="360"/>
                </a:lnTo>
                <a:lnTo>
                  <a:pt x="2440" y="340"/>
                </a:lnTo>
                <a:lnTo>
                  <a:pt x="2426" y="342"/>
                </a:lnTo>
                <a:lnTo>
                  <a:pt x="2424" y="356"/>
                </a:lnTo>
                <a:lnTo>
                  <a:pt x="2430" y="362"/>
                </a:lnTo>
                <a:lnTo>
                  <a:pt x="2412" y="378"/>
                </a:lnTo>
                <a:lnTo>
                  <a:pt x="2392" y="380"/>
                </a:lnTo>
                <a:lnTo>
                  <a:pt x="2378" y="378"/>
                </a:lnTo>
                <a:lnTo>
                  <a:pt x="2370" y="372"/>
                </a:lnTo>
                <a:lnTo>
                  <a:pt x="2368" y="380"/>
                </a:lnTo>
                <a:lnTo>
                  <a:pt x="2382" y="386"/>
                </a:lnTo>
                <a:lnTo>
                  <a:pt x="2396" y="394"/>
                </a:lnTo>
                <a:lnTo>
                  <a:pt x="2402" y="412"/>
                </a:lnTo>
                <a:lnTo>
                  <a:pt x="2414" y="430"/>
                </a:lnTo>
                <a:lnTo>
                  <a:pt x="2400" y="438"/>
                </a:lnTo>
                <a:lnTo>
                  <a:pt x="2374" y="428"/>
                </a:lnTo>
                <a:lnTo>
                  <a:pt x="2362" y="438"/>
                </a:lnTo>
                <a:lnTo>
                  <a:pt x="2326" y="454"/>
                </a:lnTo>
                <a:lnTo>
                  <a:pt x="2306" y="464"/>
                </a:lnTo>
                <a:lnTo>
                  <a:pt x="2266" y="496"/>
                </a:lnTo>
                <a:lnTo>
                  <a:pt x="2252" y="484"/>
                </a:lnTo>
                <a:lnTo>
                  <a:pt x="2222" y="484"/>
                </a:lnTo>
                <a:lnTo>
                  <a:pt x="2206" y="500"/>
                </a:lnTo>
                <a:lnTo>
                  <a:pt x="2202" y="484"/>
                </a:lnTo>
                <a:lnTo>
                  <a:pt x="2192" y="484"/>
                </a:lnTo>
                <a:lnTo>
                  <a:pt x="2188" y="496"/>
                </a:lnTo>
                <a:lnTo>
                  <a:pt x="2160" y="496"/>
                </a:lnTo>
                <a:lnTo>
                  <a:pt x="2136" y="534"/>
                </a:lnTo>
                <a:lnTo>
                  <a:pt x="2136" y="546"/>
                </a:lnTo>
                <a:lnTo>
                  <a:pt x="2152" y="546"/>
                </a:lnTo>
                <a:lnTo>
                  <a:pt x="2148" y="564"/>
                </a:lnTo>
                <a:lnTo>
                  <a:pt x="2154" y="580"/>
                </a:lnTo>
                <a:lnTo>
                  <a:pt x="2136" y="586"/>
                </a:lnTo>
                <a:lnTo>
                  <a:pt x="2130" y="600"/>
                </a:lnTo>
                <a:lnTo>
                  <a:pt x="2136" y="618"/>
                </a:lnTo>
                <a:lnTo>
                  <a:pt x="2112" y="626"/>
                </a:lnTo>
                <a:lnTo>
                  <a:pt x="2104" y="634"/>
                </a:lnTo>
                <a:lnTo>
                  <a:pt x="2104" y="640"/>
                </a:lnTo>
                <a:lnTo>
                  <a:pt x="2106" y="644"/>
                </a:lnTo>
                <a:lnTo>
                  <a:pt x="2104" y="648"/>
                </a:lnTo>
                <a:lnTo>
                  <a:pt x="2080" y="656"/>
                </a:lnTo>
                <a:lnTo>
                  <a:pt x="2080" y="670"/>
                </a:lnTo>
                <a:lnTo>
                  <a:pt x="2050" y="700"/>
                </a:lnTo>
                <a:lnTo>
                  <a:pt x="2046" y="668"/>
                </a:lnTo>
                <a:lnTo>
                  <a:pt x="2034" y="618"/>
                </a:lnTo>
                <a:lnTo>
                  <a:pt x="2034" y="582"/>
                </a:lnTo>
                <a:lnTo>
                  <a:pt x="2046" y="568"/>
                </a:lnTo>
                <a:lnTo>
                  <a:pt x="2058" y="546"/>
                </a:lnTo>
                <a:lnTo>
                  <a:pt x="2074" y="542"/>
                </a:lnTo>
                <a:lnTo>
                  <a:pt x="2116" y="502"/>
                </a:lnTo>
                <a:lnTo>
                  <a:pt x="2148" y="480"/>
                </a:lnTo>
                <a:lnTo>
                  <a:pt x="2158" y="476"/>
                </a:lnTo>
                <a:lnTo>
                  <a:pt x="2174" y="440"/>
                </a:lnTo>
                <a:lnTo>
                  <a:pt x="2182" y="436"/>
                </a:lnTo>
                <a:lnTo>
                  <a:pt x="2166" y="430"/>
                </a:lnTo>
                <a:lnTo>
                  <a:pt x="2160" y="432"/>
                </a:lnTo>
                <a:lnTo>
                  <a:pt x="2154" y="438"/>
                </a:lnTo>
                <a:lnTo>
                  <a:pt x="2154" y="456"/>
                </a:lnTo>
                <a:lnTo>
                  <a:pt x="2140" y="456"/>
                </a:lnTo>
                <a:lnTo>
                  <a:pt x="2108" y="476"/>
                </a:lnTo>
                <a:lnTo>
                  <a:pt x="2100" y="468"/>
                </a:lnTo>
                <a:lnTo>
                  <a:pt x="2108" y="452"/>
                </a:lnTo>
                <a:lnTo>
                  <a:pt x="2098" y="456"/>
                </a:lnTo>
                <a:lnTo>
                  <a:pt x="2058" y="456"/>
                </a:lnTo>
                <a:lnTo>
                  <a:pt x="2020" y="486"/>
                </a:lnTo>
                <a:lnTo>
                  <a:pt x="2012" y="502"/>
                </a:lnTo>
                <a:lnTo>
                  <a:pt x="2016" y="506"/>
                </a:lnTo>
                <a:lnTo>
                  <a:pt x="2026" y="516"/>
                </a:lnTo>
                <a:lnTo>
                  <a:pt x="2010" y="516"/>
                </a:lnTo>
                <a:lnTo>
                  <a:pt x="1994" y="518"/>
                </a:lnTo>
                <a:lnTo>
                  <a:pt x="1964" y="520"/>
                </a:lnTo>
                <a:lnTo>
                  <a:pt x="1972" y="512"/>
                </a:lnTo>
                <a:lnTo>
                  <a:pt x="1966" y="504"/>
                </a:lnTo>
                <a:lnTo>
                  <a:pt x="1944" y="502"/>
                </a:lnTo>
                <a:lnTo>
                  <a:pt x="1930" y="504"/>
                </a:lnTo>
                <a:lnTo>
                  <a:pt x="1924" y="512"/>
                </a:lnTo>
                <a:lnTo>
                  <a:pt x="1894" y="510"/>
                </a:lnTo>
                <a:lnTo>
                  <a:pt x="1880" y="512"/>
                </a:lnTo>
                <a:lnTo>
                  <a:pt x="1828" y="512"/>
                </a:lnTo>
                <a:lnTo>
                  <a:pt x="1712" y="612"/>
                </a:lnTo>
                <a:lnTo>
                  <a:pt x="1714" y="622"/>
                </a:lnTo>
                <a:lnTo>
                  <a:pt x="1734" y="620"/>
                </a:lnTo>
                <a:lnTo>
                  <a:pt x="1736" y="636"/>
                </a:lnTo>
                <a:lnTo>
                  <a:pt x="1746" y="624"/>
                </a:lnTo>
                <a:lnTo>
                  <a:pt x="1756" y="640"/>
                </a:lnTo>
                <a:lnTo>
                  <a:pt x="1770" y="628"/>
                </a:lnTo>
                <a:lnTo>
                  <a:pt x="1792" y="632"/>
                </a:lnTo>
                <a:lnTo>
                  <a:pt x="1808" y="652"/>
                </a:lnTo>
                <a:lnTo>
                  <a:pt x="1804" y="674"/>
                </a:lnTo>
                <a:lnTo>
                  <a:pt x="1796" y="696"/>
                </a:lnTo>
                <a:lnTo>
                  <a:pt x="1794" y="728"/>
                </a:lnTo>
                <a:lnTo>
                  <a:pt x="1788" y="746"/>
                </a:lnTo>
                <a:lnTo>
                  <a:pt x="1728" y="820"/>
                </a:lnTo>
                <a:lnTo>
                  <a:pt x="1710" y="842"/>
                </a:lnTo>
                <a:lnTo>
                  <a:pt x="1696" y="852"/>
                </a:lnTo>
                <a:lnTo>
                  <a:pt x="1678" y="860"/>
                </a:lnTo>
                <a:lnTo>
                  <a:pt x="1664" y="852"/>
                </a:lnTo>
                <a:lnTo>
                  <a:pt x="1646" y="856"/>
                </a:lnTo>
                <a:lnTo>
                  <a:pt x="1646" y="820"/>
                </a:lnTo>
                <a:lnTo>
                  <a:pt x="1660" y="810"/>
                </a:lnTo>
                <a:lnTo>
                  <a:pt x="1666" y="816"/>
                </a:lnTo>
                <a:lnTo>
                  <a:pt x="1678" y="814"/>
                </a:lnTo>
                <a:lnTo>
                  <a:pt x="1690" y="792"/>
                </a:lnTo>
                <a:lnTo>
                  <a:pt x="1696" y="770"/>
                </a:lnTo>
                <a:lnTo>
                  <a:pt x="1704" y="766"/>
                </a:lnTo>
                <a:lnTo>
                  <a:pt x="1702" y="752"/>
                </a:lnTo>
                <a:lnTo>
                  <a:pt x="1686" y="754"/>
                </a:lnTo>
                <a:lnTo>
                  <a:pt x="1672" y="756"/>
                </a:lnTo>
                <a:lnTo>
                  <a:pt x="1666" y="764"/>
                </a:lnTo>
                <a:lnTo>
                  <a:pt x="1644" y="762"/>
                </a:lnTo>
                <a:lnTo>
                  <a:pt x="1640" y="742"/>
                </a:lnTo>
                <a:lnTo>
                  <a:pt x="1610" y="726"/>
                </a:lnTo>
                <a:lnTo>
                  <a:pt x="1594" y="726"/>
                </a:lnTo>
                <a:lnTo>
                  <a:pt x="1572" y="674"/>
                </a:lnTo>
                <a:lnTo>
                  <a:pt x="1560" y="654"/>
                </a:lnTo>
                <a:lnTo>
                  <a:pt x="1530" y="642"/>
                </a:lnTo>
                <a:lnTo>
                  <a:pt x="1486" y="646"/>
                </a:lnTo>
                <a:lnTo>
                  <a:pt x="1472" y="652"/>
                </a:lnTo>
                <a:lnTo>
                  <a:pt x="1470" y="660"/>
                </a:lnTo>
                <a:lnTo>
                  <a:pt x="1482" y="662"/>
                </a:lnTo>
                <a:lnTo>
                  <a:pt x="1482" y="676"/>
                </a:lnTo>
                <a:lnTo>
                  <a:pt x="1472" y="682"/>
                </a:lnTo>
                <a:lnTo>
                  <a:pt x="1462" y="700"/>
                </a:lnTo>
                <a:lnTo>
                  <a:pt x="1458" y="716"/>
                </a:lnTo>
                <a:lnTo>
                  <a:pt x="1446" y="718"/>
                </a:lnTo>
                <a:lnTo>
                  <a:pt x="1436" y="728"/>
                </a:lnTo>
                <a:lnTo>
                  <a:pt x="1418" y="718"/>
                </a:lnTo>
                <a:lnTo>
                  <a:pt x="1394" y="716"/>
                </a:lnTo>
                <a:lnTo>
                  <a:pt x="1386" y="710"/>
                </a:lnTo>
                <a:lnTo>
                  <a:pt x="1376" y="712"/>
                </a:lnTo>
                <a:lnTo>
                  <a:pt x="1358" y="726"/>
                </a:lnTo>
                <a:lnTo>
                  <a:pt x="1328" y="732"/>
                </a:lnTo>
                <a:lnTo>
                  <a:pt x="1310" y="734"/>
                </a:lnTo>
                <a:lnTo>
                  <a:pt x="1288" y="732"/>
                </a:lnTo>
                <a:lnTo>
                  <a:pt x="1282" y="726"/>
                </a:lnTo>
                <a:lnTo>
                  <a:pt x="1276" y="718"/>
                </a:lnTo>
                <a:lnTo>
                  <a:pt x="1266" y="716"/>
                </a:lnTo>
                <a:lnTo>
                  <a:pt x="1260" y="710"/>
                </a:lnTo>
                <a:lnTo>
                  <a:pt x="1236" y="706"/>
                </a:lnTo>
                <a:lnTo>
                  <a:pt x="1222" y="714"/>
                </a:lnTo>
                <a:lnTo>
                  <a:pt x="1196" y="710"/>
                </a:lnTo>
                <a:lnTo>
                  <a:pt x="1186" y="698"/>
                </a:lnTo>
                <a:lnTo>
                  <a:pt x="1184" y="688"/>
                </a:lnTo>
                <a:lnTo>
                  <a:pt x="1160" y="680"/>
                </a:lnTo>
                <a:lnTo>
                  <a:pt x="1132" y="674"/>
                </a:lnTo>
                <a:lnTo>
                  <a:pt x="1114" y="692"/>
                </a:lnTo>
                <a:lnTo>
                  <a:pt x="1126" y="706"/>
                </a:lnTo>
                <a:lnTo>
                  <a:pt x="1124" y="714"/>
                </a:lnTo>
                <a:lnTo>
                  <a:pt x="1112" y="724"/>
                </a:lnTo>
                <a:lnTo>
                  <a:pt x="1104" y="718"/>
                </a:lnTo>
                <a:lnTo>
                  <a:pt x="1072" y="718"/>
                </a:lnTo>
                <a:lnTo>
                  <a:pt x="1062" y="706"/>
                </a:lnTo>
                <a:lnTo>
                  <a:pt x="1042" y="702"/>
                </a:lnTo>
                <a:lnTo>
                  <a:pt x="1024" y="700"/>
                </a:lnTo>
                <a:lnTo>
                  <a:pt x="990" y="718"/>
                </a:lnTo>
                <a:lnTo>
                  <a:pt x="982" y="726"/>
                </a:lnTo>
                <a:lnTo>
                  <a:pt x="968" y="728"/>
                </a:lnTo>
                <a:lnTo>
                  <a:pt x="960" y="736"/>
                </a:lnTo>
                <a:lnTo>
                  <a:pt x="944" y="736"/>
                </a:lnTo>
                <a:lnTo>
                  <a:pt x="940" y="722"/>
                </a:lnTo>
                <a:lnTo>
                  <a:pt x="918" y="720"/>
                </a:lnTo>
                <a:lnTo>
                  <a:pt x="904" y="710"/>
                </a:lnTo>
                <a:lnTo>
                  <a:pt x="894" y="696"/>
                </a:lnTo>
                <a:lnTo>
                  <a:pt x="866" y="700"/>
                </a:lnTo>
                <a:lnTo>
                  <a:pt x="844" y="688"/>
                </a:lnTo>
                <a:lnTo>
                  <a:pt x="840" y="696"/>
                </a:lnTo>
                <a:lnTo>
                  <a:pt x="832" y="696"/>
                </a:lnTo>
                <a:lnTo>
                  <a:pt x="818" y="672"/>
                </a:lnTo>
                <a:lnTo>
                  <a:pt x="802" y="648"/>
                </a:lnTo>
                <a:lnTo>
                  <a:pt x="784" y="636"/>
                </a:lnTo>
                <a:lnTo>
                  <a:pt x="782" y="626"/>
                </a:lnTo>
                <a:lnTo>
                  <a:pt x="760" y="632"/>
                </a:lnTo>
                <a:lnTo>
                  <a:pt x="742" y="642"/>
                </a:lnTo>
                <a:lnTo>
                  <a:pt x="722" y="632"/>
                </a:lnTo>
                <a:lnTo>
                  <a:pt x="702" y="626"/>
                </a:lnTo>
                <a:lnTo>
                  <a:pt x="692" y="620"/>
                </a:lnTo>
                <a:lnTo>
                  <a:pt x="688" y="606"/>
                </a:lnTo>
                <a:lnTo>
                  <a:pt x="668" y="604"/>
                </a:lnTo>
                <a:lnTo>
                  <a:pt x="646" y="608"/>
                </a:lnTo>
                <a:lnTo>
                  <a:pt x="558" y="632"/>
                </a:lnTo>
                <a:lnTo>
                  <a:pt x="536" y="634"/>
                </a:lnTo>
                <a:lnTo>
                  <a:pt x="540" y="644"/>
                </a:lnTo>
                <a:lnTo>
                  <a:pt x="544" y="652"/>
                </a:lnTo>
                <a:lnTo>
                  <a:pt x="532" y="656"/>
                </a:lnTo>
                <a:lnTo>
                  <a:pt x="530" y="666"/>
                </a:lnTo>
                <a:lnTo>
                  <a:pt x="524" y="672"/>
                </a:lnTo>
                <a:lnTo>
                  <a:pt x="518" y="680"/>
                </a:lnTo>
                <a:lnTo>
                  <a:pt x="532" y="684"/>
                </a:lnTo>
                <a:lnTo>
                  <a:pt x="540" y="692"/>
                </a:lnTo>
                <a:lnTo>
                  <a:pt x="530" y="702"/>
                </a:lnTo>
                <a:lnTo>
                  <a:pt x="504" y="704"/>
                </a:lnTo>
                <a:lnTo>
                  <a:pt x="494" y="694"/>
                </a:lnTo>
                <a:lnTo>
                  <a:pt x="476" y="694"/>
                </a:lnTo>
                <a:lnTo>
                  <a:pt x="454" y="704"/>
                </a:lnTo>
                <a:lnTo>
                  <a:pt x="438" y="702"/>
                </a:lnTo>
                <a:lnTo>
                  <a:pt x="416" y="688"/>
                </a:lnTo>
                <a:lnTo>
                  <a:pt x="380" y="682"/>
                </a:lnTo>
                <a:lnTo>
                  <a:pt x="364" y="688"/>
                </a:lnTo>
                <a:lnTo>
                  <a:pt x="340" y="706"/>
                </a:lnTo>
                <a:lnTo>
                  <a:pt x="338" y="718"/>
                </a:lnTo>
                <a:lnTo>
                  <a:pt x="330" y="722"/>
                </a:lnTo>
                <a:lnTo>
                  <a:pt x="322" y="706"/>
                </a:lnTo>
                <a:lnTo>
                  <a:pt x="310" y="720"/>
                </a:lnTo>
                <a:lnTo>
                  <a:pt x="304" y="744"/>
                </a:lnTo>
                <a:lnTo>
                  <a:pt x="314" y="758"/>
                </a:lnTo>
                <a:lnTo>
                  <a:pt x="328" y="762"/>
                </a:lnTo>
                <a:lnTo>
                  <a:pt x="340" y="778"/>
                </a:lnTo>
                <a:lnTo>
                  <a:pt x="344" y="79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66" name="Freeform 103">
            <a:extLst>
              <a:ext uri="{FF2B5EF4-FFF2-40B4-BE49-F238E27FC236}">
                <a16:creationId xmlns:a16="http://schemas.microsoft.com/office/drawing/2014/main" id="{BD588D27-34FD-4876-B540-AA631BCBEE78}"/>
              </a:ext>
            </a:extLst>
          </p:cNvPr>
          <p:cNvSpPr>
            <a:spLocks/>
          </p:cNvSpPr>
          <p:nvPr/>
        </p:nvSpPr>
        <p:spPr bwMode="gray">
          <a:xfrm>
            <a:off x="3206373" y="1358649"/>
            <a:ext cx="200442" cy="130852"/>
          </a:xfrm>
          <a:custGeom>
            <a:avLst/>
            <a:gdLst>
              <a:gd name="T0" fmla="*/ 88 w 276"/>
              <a:gd name="T1" fmla="*/ 196 h 196"/>
              <a:gd name="T2" fmla="*/ 36 w 276"/>
              <a:gd name="T3" fmla="*/ 194 h 196"/>
              <a:gd name="T4" fmla="*/ 36 w 276"/>
              <a:gd name="T5" fmla="*/ 182 h 196"/>
              <a:gd name="T6" fmla="*/ 30 w 276"/>
              <a:gd name="T7" fmla="*/ 176 h 196"/>
              <a:gd name="T8" fmla="*/ 20 w 276"/>
              <a:gd name="T9" fmla="*/ 182 h 196"/>
              <a:gd name="T10" fmla="*/ 10 w 276"/>
              <a:gd name="T11" fmla="*/ 176 h 196"/>
              <a:gd name="T12" fmla="*/ 0 w 276"/>
              <a:gd name="T13" fmla="*/ 166 h 196"/>
              <a:gd name="T14" fmla="*/ 0 w 276"/>
              <a:gd name="T15" fmla="*/ 154 h 196"/>
              <a:gd name="T16" fmla="*/ 12 w 276"/>
              <a:gd name="T17" fmla="*/ 150 h 196"/>
              <a:gd name="T18" fmla="*/ 20 w 276"/>
              <a:gd name="T19" fmla="*/ 142 h 196"/>
              <a:gd name="T20" fmla="*/ 20 w 276"/>
              <a:gd name="T21" fmla="*/ 132 h 196"/>
              <a:gd name="T22" fmla="*/ 34 w 276"/>
              <a:gd name="T23" fmla="*/ 118 h 196"/>
              <a:gd name="T24" fmla="*/ 44 w 276"/>
              <a:gd name="T25" fmla="*/ 116 h 196"/>
              <a:gd name="T26" fmla="*/ 48 w 276"/>
              <a:gd name="T27" fmla="*/ 108 h 196"/>
              <a:gd name="T28" fmla="*/ 38 w 276"/>
              <a:gd name="T29" fmla="*/ 106 h 196"/>
              <a:gd name="T30" fmla="*/ 64 w 276"/>
              <a:gd name="T31" fmla="*/ 84 h 196"/>
              <a:gd name="T32" fmla="*/ 76 w 276"/>
              <a:gd name="T33" fmla="*/ 66 h 196"/>
              <a:gd name="T34" fmla="*/ 110 w 276"/>
              <a:gd name="T35" fmla="*/ 40 h 196"/>
              <a:gd name="T36" fmla="*/ 132 w 276"/>
              <a:gd name="T37" fmla="*/ 36 h 196"/>
              <a:gd name="T38" fmla="*/ 140 w 276"/>
              <a:gd name="T39" fmla="*/ 28 h 196"/>
              <a:gd name="T40" fmla="*/ 176 w 276"/>
              <a:gd name="T41" fmla="*/ 24 h 196"/>
              <a:gd name="T42" fmla="*/ 210 w 276"/>
              <a:gd name="T43" fmla="*/ 20 h 196"/>
              <a:gd name="T44" fmla="*/ 230 w 276"/>
              <a:gd name="T45" fmla="*/ 8 h 196"/>
              <a:gd name="T46" fmla="*/ 250 w 276"/>
              <a:gd name="T47" fmla="*/ 0 h 196"/>
              <a:gd name="T48" fmla="*/ 266 w 276"/>
              <a:gd name="T49" fmla="*/ 0 h 196"/>
              <a:gd name="T50" fmla="*/ 276 w 276"/>
              <a:gd name="T51" fmla="*/ 6 h 196"/>
              <a:gd name="T52" fmla="*/ 272 w 276"/>
              <a:gd name="T53" fmla="*/ 18 h 196"/>
              <a:gd name="T54" fmla="*/ 254 w 276"/>
              <a:gd name="T55" fmla="*/ 30 h 196"/>
              <a:gd name="T56" fmla="*/ 222 w 276"/>
              <a:gd name="T57" fmla="*/ 40 h 196"/>
              <a:gd name="T58" fmla="*/ 166 w 276"/>
              <a:gd name="T59" fmla="*/ 50 h 196"/>
              <a:gd name="T60" fmla="*/ 136 w 276"/>
              <a:gd name="T61" fmla="*/ 74 h 196"/>
              <a:gd name="T62" fmla="*/ 122 w 276"/>
              <a:gd name="T63" fmla="*/ 80 h 196"/>
              <a:gd name="T64" fmla="*/ 110 w 276"/>
              <a:gd name="T65" fmla="*/ 82 h 196"/>
              <a:gd name="T66" fmla="*/ 110 w 276"/>
              <a:gd name="T67" fmla="*/ 94 h 196"/>
              <a:gd name="T68" fmla="*/ 96 w 276"/>
              <a:gd name="T69" fmla="*/ 102 h 196"/>
              <a:gd name="T70" fmla="*/ 86 w 276"/>
              <a:gd name="T71" fmla="*/ 116 h 196"/>
              <a:gd name="T72" fmla="*/ 64 w 276"/>
              <a:gd name="T73" fmla="*/ 140 h 196"/>
              <a:gd name="T74" fmla="*/ 62 w 276"/>
              <a:gd name="T75" fmla="*/ 166 h 196"/>
              <a:gd name="T76" fmla="*/ 72 w 276"/>
              <a:gd name="T77" fmla="*/ 174 h 196"/>
              <a:gd name="T78" fmla="*/ 74 w 276"/>
              <a:gd name="T79" fmla="*/ 184 h 196"/>
              <a:gd name="T80" fmla="*/ 88 w 276"/>
              <a:gd name="T81" fmla="*/ 196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76" h="196">
                <a:moveTo>
                  <a:pt x="88" y="196"/>
                </a:moveTo>
                <a:lnTo>
                  <a:pt x="36" y="194"/>
                </a:lnTo>
                <a:lnTo>
                  <a:pt x="36" y="182"/>
                </a:lnTo>
                <a:lnTo>
                  <a:pt x="30" y="176"/>
                </a:lnTo>
                <a:lnTo>
                  <a:pt x="20" y="182"/>
                </a:lnTo>
                <a:lnTo>
                  <a:pt x="10" y="176"/>
                </a:lnTo>
                <a:lnTo>
                  <a:pt x="0" y="166"/>
                </a:lnTo>
                <a:lnTo>
                  <a:pt x="0" y="154"/>
                </a:lnTo>
                <a:lnTo>
                  <a:pt x="12" y="150"/>
                </a:lnTo>
                <a:lnTo>
                  <a:pt x="20" y="142"/>
                </a:lnTo>
                <a:lnTo>
                  <a:pt x="20" y="132"/>
                </a:lnTo>
                <a:lnTo>
                  <a:pt x="34" y="118"/>
                </a:lnTo>
                <a:lnTo>
                  <a:pt x="44" y="116"/>
                </a:lnTo>
                <a:lnTo>
                  <a:pt x="48" y="108"/>
                </a:lnTo>
                <a:lnTo>
                  <a:pt x="38" y="106"/>
                </a:lnTo>
                <a:lnTo>
                  <a:pt x="64" y="84"/>
                </a:lnTo>
                <a:lnTo>
                  <a:pt x="76" y="66"/>
                </a:lnTo>
                <a:lnTo>
                  <a:pt x="110" y="40"/>
                </a:lnTo>
                <a:lnTo>
                  <a:pt x="132" y="36"/>
                </a:lnTo>
                <a:lnTo>
                  <a:pt x="140" y="28"/>
                </a:lnTo>
                <a:lnTo>
                  <a:pt x="176" y="24"/>
                </a:lnTo>
                <a:lnTo>
                  <a:pt x="210" y="20"/>
                </a:lnTo>
                <a:lnTo>
                  <a:pt x="230" y="8"/>
                </a:lnTo>
                <a:lnTo>
                  <a:pt x="250" y="0"/>
                </a:lnTo>
                <a:lnTo>
                  <a:pt x="266" y="0"/>
                </a:lnTo>
                <a:lnTo>
                  <a:pt x="276" y="6"/>
                </a:lnTo>
                <a:lnTo>
                  <a:pt x="272" y="18"/>
                </a:lnTo>
                <a:lnTo>
                  <a:pt x="254" y="30"/>
                </a:lnTo>
                <a:lnTo>
                  <a:pt x="222" y="40"/>
                </a:lnTo>
                <a:lnTo>
                  <a:pt x="166" y="50"/>
                </a:lnTo>
                <a:lnTo>
                  <a:pt x="136" y="74"/>
                </a:lnTo>
                <a:lnTo>
                  <a:pt x="122" y="80"/>
                </a:lnTo>
                <a:lnTo>
                  <a:pt x="110" y="82"/>
                </a:lnTo>
                <a:lnTo>
                  <a:pt x="110" y="94"/>
                </a:lnTo>
                <a:lnTo>
                  <a:pt x="96" y="102"/>
                </a:lnTo>
                <a:lnTo>
                  <a:pt x="86" y="116"/>
                </a:lnTo>
                <a:lnTo>
                  <a:pt x="64" y="140"/>
                </a:lnTo>
                <a:lnTo>
                  <a:pt x="62" y="166"/>
                </a:lnTo>
                <a:lnTo>
                  <a:pt x="72" y="174"/>
                </a:lnTo>
                <a:lnTo>
                  <a:pt x="74" y="184"/>
                </a:lnTo>
                <a:lnTo>
                  <a:pt x="88" y="19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67" name="Freeform 104">
            <a:extLst>
              <a:ext uri="{FF2B5EF4-FFF2-40B4-BE49-F238E27FC236}">
                <a16:creationId xmlns:a16="http://schemas.microsoft.com/office/drawing/2014/main" id="{3CDDE0E0-AB91-4633-A474-190AFAD0E2F0}"/>
              </a:ext>
            </a:extLst>
          </p:cNvPr>
          <p:cNvSpPr>
            <a:spLocks/>
          </p:cNvSpPr>
          <p:nvPr/>
        </p:nvSpPr>
        <p:spPr bwMode="gray">
          <a:xfrm>
            <a:off x="3756863" y="1303905"/>
            <a:ext cx="69719" cy="34716"/>
          </a:xfrm>
          <a:custGeom>
            <a:avLst/>
            <a:gdLst>
              <a:gd name="T0" fmla="*/ 0 w 96"/>
              <a:gd name="T1" fmla="*/ 48 h 52"/>
              <a:gd name="T2" fmla="*/ 16 w 96"/>
              <a:gd name="T3" fmla="*/ 30 h 52"/>
              <a:gd name="T4" fmla="*/ 28 w 96"/>
              <a:gd name="T5" fmla="*/ 14 h 52"/>
              <a:gd name="T6" fmla="*/ 40 w 96"/>
              <a:gd name="T7" fmla="*/ 2 h 52"/>
              <a:gd name="T8" fmla="*/ 58 w 96"/>
              <a:gd name="T9" fmla="*/ 0 h 52"/>
              <a:gd name="T10" fmla="*/ 54 w 96"/>
              <a:gd name="T11" fmla="*/ 14 h 52"/>
              <a:gd name="T12" fmla="*/ 70 w 96"/>
              <a:gd name="T13" fmla="*/ 6 h 52"/>
              <a:gd name="T14" fmla="*/ 82 w 96"/>
              <a:gd name="T15" fmla="*/ 16 h 52"/>
              <a:gd name="T16" fmla="*/ 96 w 96"/>
              <a:gd name="T17" fmla="*/ 22 h 52"/>
              <a:gd name="T18" fmla="*/ 94 w 96"/>
              <a:gd name="T19" fmla="*/ 32 h 52"/>
              <a:gd name="T20" fmla="*/ 86 w 96"/>
              <a:gd name="T21" fmla="*/ 40 h 52"/>
              <a:gd name="T22" fmla="*/ 58 w 96"/>
              <a:gd name="T23" fmla="*/ 40 h 52"/>
              <a:gd name="T24" fmla="*/ 26 w 96"/>
              <a:gd name="T25" fmla="*/ 42 h 52"/>
              <a:gd name="T26" fmla="*/ 20 w 96"/>
              <a:gd name="T27" fmla="*/ 48 h 52"/>
              <a:gd name="T28" fmla="*/ 8 w 96"/>
              <a:gd name="T29" fmla="*/ 52 h 52"/>
              <a:gd name="T30" fmla="*/ 0 w 96"/>
              <a:gd name="T31" fmla="*/ 48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96" h="52">
                <a:moveTo>
                  <a:pt x="0" y="48"/>
                </a:moveTo>
                <a:lnTo>
                  <a:pt x="16" y="30"/>
                </a:lnTo>
                <a:lnTo>
                  <a:pt x="28" y="14"/>
                </a:lnTo>
                <a:lnTo>
                  <a:pt x="40" y="2"/>
                </a:lnTo>
                <a:lnTo>
                  <a:pt x="58" y="0"/>
                </a:lnTo>
                <a:lnTo>
                  <a:pt x="54" y="14"/>
                </a:lnTo>
                <a:lnTo>
                  <a:pt x="70" y="6"/>
                </a:lnTo>
                <a:lnTo>
                  <a:pt x="82" y="16"/>
                </a:lnTo>
                <a:lnTo>
                  <a:pt x="96" y="22"/>
                </a:lnTo>
                <a:lnTo>
                  <a:pt x="94" y="32"/>
                </a:lnTo>
                <a:lnTo>
                  <a:pt x="86" y="40"/>
                </a:lnTo>
                <a:lnTo>
                  <a:pt x="58" y="40"/>
                </a:lnTo>
                <a:lnTo>
                  <a:pt x="26" y="42"/>
                </a:lnTo>
                <a:lnTo>
                  <a:pt x="20" y="48"/>
                </a:lnTo>
                <a:lnTo>
                  <a:pt x="8" y="52"/>
                </a:lnTo>
                <a:lnTo>
                  <a:pt x="0" y="48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68" name="Freeform 105">
            <a:extLst>
              <a:ext uri="{FF2B5EF4-FFF2-40B4-BE49-F238E27FC236}">
                <a16:creationId xmlns:a16="http://schemas.microsoft.com/office/drawing/2014/main" id="{C8004AA0-C593-45A7-8854-436B922FA540}"/>
              </a:ext>
            </a:extLst>
          </p:cNvPr>
          <p:cNvSpPr>
            <a:spLocks/>
          </p:cNvSpPr>
          <p:nvPr/>
        </p:nvSpPr>
        <p:spPr bwMode="gray">
          <a:xfrm>
            <a:off x="3692954" y="1285212"/>
            <a:ext cx="69719" cy="30710"/>
          </a:xfrm>
          <a:custGeom>
            <a:avLst/>
            <a:gdLst>
              <a:gd name="T0" fmla="*/ 0 w 96"/>
              <a:gd name="T1" fmla="*/ 22 h 46"/>
              <a:gd name="T2" fmla="*/ 16 w 96"/>
              <a:gd name="T3" fmla="*/ 6 h 46"/>
              <a:gd name="T4" fmla="*/ 46 w 96"/>
              <a:gd name="T5" fmla="*/ 0 h 46"/>
              <a:gd name="T6" fmla="*/ 64 w 96"/>
              <a:gd name="T7" fmla="*/ 2 h 46"/>
              <a:gd name="T8" fmla="*/ 64 w 96"/>
              <a:gd name="T9" fmla="*/ 10 h 46"/>
              <a:gd name="T10" fmla="*/ 76 w 96"/>
              <a:gd name="T11" fmla="*/ 8 h 46"/>
              <a:gd name="T12" fmla="*/ 88 w 96"/>
              <a:gd name="T13" fmla="*/ 6 h 46"/>
              <a:gd name="T14" fmla="*/ 96 w 96"/>
              <a:gd name="T15" fmla="*/ 14 h 46"/>
              <a:gd name="T16" fmla="*/ 96 w 96"/>
              <a:gd name="T17" fmla="*/ 26 h 46"/>
              <a:gd name="T18" fmla="*/ 84 w 96"/>
              <a:gd name="T19" fmla="*/ 36 h 46"/>
              <a:gd name="T20" fmla="*/ 92 w 96"/>
              <a:gd name="T21" fmla="*/ 46 h 46"/>
              <a:gd name="T22" fmla="*/ 54 w 96"/>
              <a:gd name="T23" fmla="*/ 46 h 46"/>
              <a:gd name="T24" fmla="*/ 40 w 96"/>
              <a:gd name="T25" fmla="*/ 40 h 46"/>
              <a:gd name="T26" fmla="*/ 16 w 96"/>
              <a:gd name="T27" fmla="*/ 40 h 46"/>
              <a:gd name="T28" fmla="*/ 8 w 96"/>
              <a:gd name="T29" fmla="*/ 28 h 46"/>
              <a:gd name="T30" fmla="*/ 0 w 96"/>
              <a:gd name="T31" fmla="*/ 22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96" h="46">
                <a:moveTo>
                  <a:pt x="0" y="22"/>
                </a:moveTo>
                <a:lnTo>
                  <a:pt x="16" y="6"/>
                </a:lnTo>
                <a:lnTo>
                  <a:pt x="46" y="0"/>
                </a:lnTo>
                <a:lnTo>
                  <a:pt x="64" y="2"/>
                </a:lnTo>
                <a:lnTo>
                  <a:pt x="64" y="10"/>
                </a:lnTo>
                <a:lnTo>
                  <a:pt x="76" y="8"/>
                </a:lnTo>
                <a:lnTo>
                  <a:pt x="88" y="6"/>
                </a:lnTo>
                <a:lnTo>
                  <a:pt x="96" y="14"/>
                </a:lnTo>
                <a:lnTo>
                  <a:pt x="96" y="26"/>
                </a:lnTo>
                <a:lnTo>
                  <a:pt x="84" y="36"/>
                </a:lnTo>
                <a:lnTo>
                  <a:pt x="92" y="46"/>
                </a:lnTo>
                <a:lnTo>
                  <a:pt x="54" y="46"/>
                </a:lnTo>
                <a:lnTo>
                  <a:pt x="40" y="40"/>
                </a:lnTo>
                <a:lnTo>
                  <a:pt x="16" y="40"/>
                </a:lnTo>
                <a:lnTo>
                  <a:pt x="8" y="28"/>
                </a:lnTo>
                <a:lnTo>
                  <a:pt x="0" y="2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69" name="Freeform 106">
            <a:extLst>
              <a:ext uri="{FF2B5EF4-FFF2-40B4-BE49-F238E27FC236}">
                <a16:creationId xmlns:a16="http://schemas.microsoft.com/office/drawing/2014/main" id="{6B3DD165-7A60-4630-A80A-5081B5D831CD}"/>
              </a:ext>
            </a:extLst>
          </p:cNvPr>
          <p:cNvSpPr>
            <a:spLocks/>
          </p:cNvSpPr>
          <p:nvPr/>
        </p:nvSpPr>
        <p:spPr bwMode="gray">
          <a:xfrm>
            <a:off x="3675524" y="1257172"/>
            <a:ext cx="61004" cy="29375"/>
          </a:xfrm>
          <a:custGeom>
            <a:avLst/>
            <a:gdLst>
              <a:gd name="T0" fmla="*/ 0 w 84"/>
              <a:gd name="T1" fmla="*/ 34 h 44"/>
              <a:gd name="T2" fmla="*/ 22 w 84"/>
              <a:gd name="T3" fmla="*/ 44 h 44"/>
              <a:gd name="T4" fmla="*/ 36 w 84"/>
              <a:gd name="T5" fmla="*/ 42 h 44"/>
              <a:gd name="T6" fmla="*/ 56 w 84"/>
              <a:gd name="T7" fmla="*/ 38 h 44"/>
              <a:gd name="T8" fmla="*/ 74 w 84"/>
              <a:gd name="T9" fmla="*/ 36 h 44"/>
              <a:gd name="T10" fmla="*/ 76 w 84"/>
              <a:gd name="T11" fmla="*/ 28 h 44"/>
              <a:gd name="T12" fmla="*/ 84 w 84"/>
              <a:gd name="T13" fmla="*/ 22 h 44"/>
              <a:gd name="T14" fmla="*/ 72 w 84"/>
              <a:gd name="T15" fmla="*/ 14 h 44"/>
              <a:gd name="T16" fmla="*/ 60 w 84"/>
              <a:gd name="T17" fmla="*/ 2 h 44"/>
              <a:gd name="T18" fmla="*/ 44 w 84"/>
              <a:gd name="T19" fmla="*/ 0 h 44"/>
              <a:gd name="T20" fmla="*/ 40 w 84"/>
              <a:gd name="T21" fmla="*/ 10 h 44"/>
              <a:gd name="T22" fmla="*/ 16 w 84"/>
              <a:gd name="T23" fmla="*/ 12 h 44"/>
              <a:gd name="T24" fmla="*/ 12 w 84"/>
              <a:gd name="T25" fmla="*/ 18 h 44"/>
              <a:gd name="T26" fmla="*/ 10 w 84"/>
              <a:gd name="T27" fmla="*/ 28 h 44"/>
              <a:gd name="T28" fmla="*/ 0 w 84"/>
              <a:gd name="T29" fmla="*/ 34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4" h="44">
                <a:moveTo>
                  <a:pt x="0" y="34"/>
                </a:moveTo>
                <a:lnTo>
                  <a:pt x="22" y="44"/>
                </a:lnTo>
                <a:lnTo>
                  <a:pt x="36" y="42"/>
                </a:lnTo>
                <a:lnTo>
                  <a:pt x="56" y="38"/>
                </a:lnTo>
                <a:lnTo>
                  <a:pt x="74" y="36"/>
                </a:lnTo>
                <a:lnTo>
                  <a:pt x="76" y="28"/>
                </a:lnTo>
                <a:lnTo>
                  <a:pt x="84" y="22"/>
                </a:lnTo>
                <a:lnTo>
                  <a:pt x="72" y="14"/>
                </a:lnTo>
                <a:lnTo>
                  <a:pt x="60" y="2"/>
                </a:lnTo>
                <a:lnTo>
                  <a:pt x="44" y="0"/>
                </a:lnTo>
                <a:lnTo>
                  <a:pt x="40" y="10"/>
                </a:lnTo>
                <a:lnTo>
                  <a:pt x="16" y="12"/>
                </a:lnTo>
                <a:lnTo>
                  <a:pt x="12" y="18"/>
                </a:lnTo>
                <a:lnTo>
                  <a:pt x="10" y="28"/>
                </a:lnTo>
                <a:lnTo>
                  <a:pt x="0" y="34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70" name="Freeform 107">
            <a:extLst>
              <a:ext uri="{FF2B5EF4-FFF2-40B4-BE49-F238E27FC236}">
                <a16:creationId xmlns:a16="http://schemas.microsoft.com/office/drawing/2014/main" id="{65C26505-EFDC-4489-8F76-E4646A78917A}"/>
              </a:ext>
            </a:extLst>
          </p:cNvPr>
          <p:cNvSpPr>
            <a:spLocks/>
          </p:cNvSpPr>
          <p:nvPr/>
        </p:nvSpPr>
        <p:spPr bwMode="gray">
          <a:xfrm>
            <a:off x="4192607" y="1378677"/>
            <a:ext cx="92959" cy="29375"/>
          </a:xfrm>
          <a:custGeom>
            <a:avLst/>
            <a:gdLst>
              <a:gd name="T0" fmla="*/ 38 w 128"/>
              <a:gd name="T1" fmla="*/ 42 h 44"/>
              <a:gd name="T2" fmla="*/ 26 w 128"/>
              <a:gd name="T3" fmla="*/ 44 h 44"/>
              <a:gd name="T4" fmla="*/ 2 w 128"/>
              <a:gd name="T5" fmla="*/ 32 h 44"/>
              <a:gd name="T6" fmla="*/ 0 w 128"/>
              <a:gd name="T7" fmla="*/ 20 h 44"/>
              <a:gd name="T8" fmla="*/ 6 w 128"/>
              <a:gd name="T9" fmla="*/ 6 h 44"/>
              <a:gd name="T10" fmla="*/ 18 w 128"/>
              <a:gd name="T11" fmla="*/ 0 h 44"/>
              <a:gd name="T12" fmla="*/ 30 w 128"/>
              <a:gd name="T13" fmla="*/ 0 h 44"/>
              <a:gd name="T14" fmla="*/ 46 w 128"/>
              <a:gd name="T15" fmla="*/ 8 h 44"/>
              <a:gd name="T16" fmla="*/ 58 w 128"/>
              <a:gd name="T17" fmla="*/ 16 h 44"/>
              <a:gd name="T18" fmla="*/ 64 w 128"/>
              <a:gd name="T19" fmla="*/ 4 h 44"/>
              <a:gd name="T20" fmla="*/ 76 w 128"/>
              <a:gd name="T21" fmla="*/ 4 h 44"/>
              <a:gd name="T22" fmla="*/ 86 w 128"/>
              <a:gd name="T23" fmla="*/ 10 h 44"/>
              <a:gd name="T24" fmla="*/ 100 w 128"/>
              <a:gd name="T25" fmla="*/ 8 h 44"/>
              <a:gd name="T26" fmla="*/ 120 w 128"/>
              <a:gd name="T27" fmla="*/ 14 h 44"/>
              <a:gd name="T28" fmla="*/ 128 w 128"/>
              <a:gd name="T29" fmla="*/ 20 h 44"/>
              <a:gd name="T30" fmla="*/ 120 w 128"/>
              <a:gd name="T31" fmla="*/ 32 h 44"/>
              <a:gd name="T32" fmla="*/ 104 w 128"/>
              <a:gd name="T33" fmla="*/ 36 h 44"/>
              <a:gd name="T34" fmla="*/ 92 w 128"/>
              <a:gd name="T35" fmla="*/ 32 h 44"/>
              <a:gd name="T36" fmla="*/ 86 w 128"/>
              <a:gd name="T37" fmla="*/ 24 h 44"/>
              <a:gd name="T38" fmla="*/ 90 w 128"/>
              <a:gd name="T39" fmla="*/ 14 h 44"/>
              <a:gd name="T40" fmla="*/ 78 w 128"/>
              <a:gd name="T41" fmla="*/ 16 h 44"/>
              <a:gd name="T42" fmla="*/ 80 w 128"/>
              <a:gd name="T43" fmla="*/ 24 h 44"/>
              <a:gd name="T44" fmla="*/ 84 w 128"/>
              <a:gd name="T45" fmla="*/ 30 h 44"/>
              <a:gd name="T46" fmla="*/ 88 w 128"/>
              <a:gd name="T47" fmla="*/ 38 h 44"/>
              <a:gd name="T48" fmla="*/ 78 w 128"/>
              <a:gd name="T49" fmla="*/ 38 h 44"/>
              <a:gd name="T50" fmla="*/ 62 w 128"/>
              <a:gd name="T51" fmla="*/ 36 h 44"/>
              <a:gd name="T52" fmla="*/ 48 w 128"/>
              <a:gd name="T53" fmla="*/ 36 h 44"/>
              <a:gd name="T54" fmla="*/ 38 w 128"/>
              <a:gd name="T55" fmla="*/ 34 h 44"/>
              <a:gd name="T56" fmla="*/ 38 w 128"/>
              <a:gd name="T57" fmla="*/ 42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28" h="44">
                <a:moveTo>
                  <a:pt x="38" y="42"/>
                </a:moveTo>
                <a:lnTo>
                  <a:pt x="26" y="44"/>
                </a:lnTo>
                <a:lnTo>
                  <a:pt x="2" y="32"/>
                </a:lnTo>
                <a:lnTo>
                  <a:pt x="0" y="20"/>
                </a:lnTo>
                <a:lnTo>
                  <a:pt x="6" y="6"/>
                </a:lnTo>
                <a:lnTo>
                  <a:pt x="18" y="0"/>
                </a:lnTo>
                <a:lnTo>
                  <a:pt x="30" y="0"/>
                </a:lnTo>
                <a:lnTo>
                  <a:pt x="46" y="8"/>
                </a:lnTo>
                <a:lnTo>
                  <a:pt x="58" y="16"/>
                </a:lnTo>
                <a:lnTo>
                  <a:pt x="64" y="4"/>
                </a:lnTo>
                <a:lnTo>
                  <a:pt x="76" y="4"/>
                </a:lnTo>
                <a:lnTo>
                  <a:pt x="86" y="10"/>
                </a:lnTo>
                <a:lnTo>
                  <a:pt x="100" y="8"/>
                </a:lnTo>
                <a:lnTo>
                  <a:pt x="120" y="14"/>
                </a:lnTo>
                <a:lnTo>
                  <a:pt x="128" y="20"/>
                </a:lnTo>
                <a:lnTo>
                  <a:pt x="120" y="32"/>
                </a:lnTo>
                <a:lnTo>
                  <a:pt x="104" y="36"/>
                </a:lnTo>
                <a:lnTo>
                  <a:pt x="92" y="32"/>
                </a:lnTo>
                <a:lnTo>
                  <a:pt x="86" y="24"/>
                </a:lnTo>
                <a:lnTo>
                  <a:pt x="90" y="14"/>
                </a:lnTo>
                <a:lnTo>
                  <a:pt x="78" y="16"/>
                </a:lnTo>
                <a:lnTo>
                  <a:pt x="80" y="24"/>
                </a:lnTo>
                <a:lnTo>
                  <a:pt x="84" y="30"/>
                </a:lnTo>
                <a:lnTo>
                  <a:pt x="88" y="38"/>
                </a:lnTo>
                <a:lnTo>
                  <a:pt x="78" y="38"/>
                </a:lnTo>
                <a:lnTo>
                  <a:pt x="62" y="36"/>
                </a:lnTo>
                <a:lnTo>
                  <a:pt x="48" y="36"/>
                </a:lnTo>
                <a:lnTo>
                  <a:pt x="38" y="34"/>
                </a:lnTo>
                <a:lnTo>
                  <a:pt x="38" y="4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71" name="Freeform 108">
            <a:extLst>
              <a:ext uri="{FF2B5EF4-FFF2-40B4-BE49-F238E27FC236}">
                <a16:creationId xmlns:a16="http://schemas.microsoft.com/office/drawing/2014/main" id="{33D6F414-B0B6-4056-95FA-0BEE22CDEE39}"/>
              </a:ext>
            </a:extLst>
          </p:cNvPr>
          <p:cNvSpPr>
            <a:spLocks/>
          </p:cNvSpPr>
          <p:nvPr/>
        </p:nvSpPr>
        <p:spPr bwMode="gray">
          <a:xfrm>
            <a:off x="4297186" y="1392030"/>
            <a:ext cx="53742" cy="16023"/>
          </a:xfrm>
          <a:custGeom>
            <a:avLst/>
            <a:gdLst>
              <a:gd name="T0" fmla="*/ 6 w 74"/>
              <a:gd name="T1" fmla="*/ 0 h 24"/>
              <a:gd name="T2" fmla="*/ 16 w 74"/>
              <a:gd name="T3" fmla="*/ 4 h 24"/>
              <a:gd name="T4" fmla="*/ 36 w 74"/>
              <a:gd name="T5" fmla="*/ 4 h 24"/>
              <a:gd name="T6" fmla="*/ 50 w 74"/>
              <a:gd name="T7" fmla="*/ 8 h 24"/>
              <a:gd name="T8" fmla="*/ 68 w 74"/>
              <a:gd name="T9" fmla="*/ 10 h 24"/>
              <a:gd name="T10" fmla="*/ 74 w 74"/>
              <a:gd name="T11" fmla="*/ 14 h 24"/>
              <a:gd name="T12" fmla="*/ 60 w 74"/>
              <a:gd name="T13" fmla="*/ 20 h 24"/>
              <a:gd name="T14" fmla="*/ 48 w 74"/>
              <a:gd name="T15" fmla="*/ 24 h 24"/>
              <a:gd name="T16" fmla="*/ 36 w 74"/>
              <a:gd name="T17" fmla="*/ 24 h 24"/>
              <a:gd name="T18" fmla="*/ 20 w 74"/>
              <a:gd name="T19" fmla="*/ 20 h 24"/>
              <a:gd name="T20" fmla="*/ 4 w 74"/>
              <a:gd name="T21" fmla="*/ 16 h 24"/>
              <a:gd name="T22" fmla="*/ 0 w 74"/>
              <a:gd name="T23" fmla="*/ 8 h 24"/>
              <a:gd name="T24" fmla="*/ 6 w 74"/>
              <a:gd name="T25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74" h="24">
                <a:moveTo>
                  <a:pt x="6" y="0"/>
                </a:moveTo>
                <a:lnTo>
                  <a:pt x="16" y="4"/>
                </a:lnTo>
                <a:lnTo>
                  <a:pt x="36" y="4"/>
                </a:lnTo>
                <a:lnTo>
                  <a:pt x="50" y="8"/>
                </a:lnTo>
                <a:lnTo>
                  <a:pt x="68" y="10"/>
                </a:lnTo>
                <a:lnTo>
                  <a:pt x="74" y="14"/>
                </a:lnTo>
                <a:lnTo>
                  <a:pt x="60" y="20"/>
                </a:lnTo>
                <a:lnTo>
                  <a:pt x="48" y="24"/>
                </a:lnTo>
                <a:lnTo>
                  <a:pt x="36" y="24"/>
                </a:lnTo>
                <a:lnTo>
                  <a:pt x="20" y="20"/>
                </a:lnTo>
                <a:lnTo>
                  <a:pt x="4" y="16"/>
                </a:lnTo>
                <a:lnTo>
                  <a:pt x="0" y="8"/>
                </a:lnTo>
                <a:lnTo>
                  <a:pt x="6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72" name="Freeform 109">
            <a:extLst>
              <a:ext uri="{FF2B5EF4-FFF2-40B4-BE49-F238E27FC236}">
                <a16:creationId xmlns:a16="http://schemas.microsoft.com/office/drawing/2014/main" id="{730D7A65-E1B8-44A0-AD53-E2B7D8C5E866}"/>
              </a:ext>
            </a:extLst>
          </p:cNvPr>
          <p:cNvSpPr>
            <a:spLocks/>
          </p:cNvSpPr>
          <p:nvPr/>
        </p:nvSpPr>
        <p:spPr bwMode="gray">
          <a:xfrm>
            <a:off x="4671926" y="1469472"/>
            <a:ext cx="42122" cy="16023"/>
          </a:xfrm>
          <a:custGeom>
            <a:avLst/>
            <a:gdLst>
              <a:gd name="T0" fmla="*/ 0 w 58"/>
              <a:gd name="T1" fmla="*/ 16 h 24"/>
              <a:gd name="T2" fmla="*/ 2 w 58"/>
              <a:gd name="T3" fmla="*/ 24 h 24"/>
              <a:gd name="T4" fmla="*/ 10 w 58"/>
              <a:gd name="T5" fmla="*/ 24 h 24"/>
              <a:gd name="T6" fmla="*/ 24 w 58"/>
              <a:gd name="T7" fmla="*/ 24 h 24"/>
              <a:gd name="T8" fmla="*/ 46 w 58"/>
              <a:gd name="T9" fmla="*/ 20 h 24"/>
              <a:gd name="T10" fmla="*/ 58 w 58"/>
              <a:gd name="T11" fmla="*/ 18 h 24"/>
              <a:gd name="T12" fmla="*/ 58 w 58"/>
              <a:gd name="T13" fmla="*/ 8 h 24"/>
              <a:gd name="T14" fmla="*/ 48 w 58"/>
              <a:gd name="T15" fmla="*/ 4 h 24"/>
              <a:gd name="T16" fmla="*/ 36 w 58"/>
              <a:gd name="T17" fmla="*/ 0 h 24"/>
              <a:gd name="T18" fmla="*/ 22 w 58"/>
              <a:gd name="T19" fmla="*/ 2 h 24"/>
              <a:gd name="T20" fmla="*/ 14 w 58"/>
              <a:gd name="T21" fmla="*/ 8 h 24"/>
              <a:gd name="T22" fmla="*/ 0 w 58"/>
              <a:gd name="T23" fmla="*/ 16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8" h="24">
                <a:moveTo>
                  <a:pt x="0" y="16"/>
                </a:moveTo>
                <a:lnTo>
                  <a:pt x="2" y="24"/>
                </a:lnTo>
                <a:lnTo>
                  <a:pt x="10" y="24"/>
                </a:lnTo>
                <a:lnTo>
                  <a:pt x="24" y="24"/>
                </a:lnTo>
                <a:lnTo>
                  <a:pt x="46" y="20"/>
                </a:lnTo>
                <a:lnTo>
                  <a:pt x="58" y="18"/>
                </a:lnTo>
                <a:lnTo>
                  <a:pt x="58" y="8"/>
                </a:lnTo>
                <a:lnTo>
                  <a:pt x="48" y="4"/>
                </a:lnTo>
                <a:lnTo>
                  <a:pt x="36" y="0"/>
                </a:lnTo>
                <a:lnTo>
                  <a:pt x="22" y="2"/>
                </a:lnTo>
                <a:lnTo>
                  <a:pt x="14" y="8"/>
                </a:lnTo>
                <a:lnTo>
                  <a:pt x="0" y="1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73" name="Freeform 110">
            <a:extLst>
              <a:ext uri="{FF2B5EF4-FFF2-40B4-BE49-F238E27FC236}">
                <a16:creationId xmlns:a16="http://schemas.microsoft.com/office/drawing/2014/main" id="{A3F65F42-830E-433E-A27D-5CAD89B42E57}"/>
              </a:ext>
            </a:extLst>
          </p:cNvPr>
          <p:cNvSpPr>
            <a:spLocks/>
          </p:cNvSpPr>
          <p:nvPr/>
        </p:nvSpPr>
        <p:spPr bwMode="gray">
          <a:xfrm>
            <a:off x="4246349" y="1760551"/>
            <a:ext cx="30502" cy="116164"/>
          </a:xfrm>
          <a:custGeom>
            <a:avLst/>
            <a:gdLst>
              <a:gd name="T0" fmla="*/ 0 w 42"/>
              <a:gd name="T1" fmla="*/ 166 h 174"/>
              <a:gd name="T2" fmla="*/ 6 w 42"/>
              <a:gd name="T3" fmla="*/ 174 h 174"/>
              <a:gd name="T4" fmla="*/ 10 w 42"/>
              <a:gd name="T5" fmla="*/ 160 h 174"/>
              <a:gd name="T6" fmla="*/ 18 w 42"/>
              <a:gd name="T7" fmla="*/ 162 h 174"/>
              <a:gd name="T8" fmla="*/ 24 w 42"/>
              <a:gd name="T9" fmla="*/ 170 h 174"/>
              <a:gd name="T10" fmla="*/ 26 w 42"/>
              <a:gd name="T11" fmla="*/ 162 h 174"/>
              <a:gd name="T12" fmla="*/ 22 w 42"/>
              <a:gd name="T13" fmla="*/ 154 h 174"/>
              <a:gd name="T14" fmla="*/ 14 w 42"/>
              <a:gd name="T15" fmla="*/ 144 h 174"/>
              <a:gd name="T16" fmla="*/ 10 w 42"/>
              <a:gd name="T17" fmla="*/ 134 h 174"/>
              <a:gd name="T18" fmla="*/ 14 w 42"/>
              <a:gd name="T19" fmla="*/ 126 h 174"/>
              <a:gd name="T20" fmla="*/ 18 w 42"/>
              <a:gd name="T21" fmla="*/ 114 h 174"/>
              <a:gd name="T22" fmla="*/ 22 w 42"/>
              <a:gd name="T23" fmla="*/ 108 h 174"/>
              <a:gd name="T24" fmla="*/ 30 w 42"/>
              <a:gd name="T25" fmla="*/ 106 h 174"/>
              <a:gd name="T26" fmla="*/ 42 w 42"/>
              <a:gd name="T27" fmla="*/ 116 h 174"/>
              <a:gd name="T28" fmla="*/ 42 w 42"/>
              <a:gd name="T29" fmla="*/ 104 h 174"/>
              <a:gd name="T30" fmla="*/ 32 w 42"/>
              <a:gd name="T31" fmla="*/ 88 h 174"/>
              <a:gd name="T32" fmla="*/ 28 w 42"/>
              <a:gd name="T33" fmla="*/ 62 h 174"/>
              <a:gd name="T34" fmla="*/ 24 w 42"/>
              <a:gd name="T35" fmla="*/ 42 h 174"/>
              <a:gd name="T36" fmla="*/ 22 w 42"/>
              <a:gd name="T37" fmla="*/ 26 h 174"/>
              <a:gd name="T38" fmla="*/ 20 w 42"/>
              <a:gd name="T39" fmla="*/ 12 h 174"/>
              <a:gd name="T40" fmla="*/ 16 w 42"/>
              <a:gd name="T41" fmla="*/ 0 h 174"/>
              <a:gd name="T42" fmla="*/ 12 w 42"/>
              <a:gd name="T43" fmla="*/ 6 h 174"/>
              <a:gd name="T44" fmla="*/ 12 w 42"/>
              <a:gd name="T45" fmla="*/ 16 h 174"/>
              <a:gd name="T46" fmla="*/ 2 w 42"/>
              <a:gd name="T47" fmla="*/ 20 h 174"/>
              <a:gd name="T48" fmla="*/ 2 w 42"/>
              <a:gd name="T49" fmla="*/ 36 h 174"/>
              <a:gd name="T50" fmla="*/ 2 w 42"/>
              <a:gd name="T51" fmla="*/ 50 h 174"/>
              <a:gd name="T52" fmla="*/ 2 w 42"/>
              <a:gd name="T53" fmla="*/ 62 h 174"/>
              <a:gd name="T54" fmla="*/ 8 w 42"/>
              <a:gd name="T55" fmla="*/ 70 h 174"/>
              <a:gd name="T56" fmla="*/ 6 w 42"/>
              <a:gd name="T57" fmla="*/ 82 h 174"/>
              <a:gd name="T58" fmla="*/ 6 w 42"/>
              <a:gd name="T59" fmla="*/ 102 h 174"/>
              <a:gd name="T60" fmla="*/ 6 w 42"/>
              <a:gd name="T61" fmla="*/ 126 h 174"/>
              <a:gd name="T62" fmla="*/ 6 w 42"/>
              <a:gd name="T63" fmla="*/ 146 h 174"/>
              <a:gd name="T64" fmla="*/ 6 w 42"/>
              <a:gd name="T65" fmla="*/ 158 h 174"/>
              <a:gd name="T66" fmla="*/ 0 w 42"/>
              <a:gd name="T67" fmla="*/ 166 h 1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2" h="174">
                <a:moveTo>
                  <a:pt x="0" y="166"/>
                </a:moveTo>
                <a:lnTo>
                  <a:pt x="6" y="174"/>
                </a:lnTo>
                <a:lnTo>
                  <a:pt x="10" y="160"/>
                </a:lnTo>
                <a:lnTo>
                  <a:pt x="18" y="162"/>
                </a:lnTo>
                <a:lnTo>
                  <a:pt x="24" y="170"/>
                </a:lnTo>
                <a:lnTo>
                  <a:pt x="26" y="162"/>
                </a:lnTo>
                <a:lnTo>
                  <a:pt x="22" y="154"/>
                </a:lnTo>
                <a:lnTo>
                  <a:pt x="14" y="144"/>
                </a:lnTo>
                <a:lnTo>
                  <a:pt x="10" y="134"/>
                </a:lnTo>
                <a:lnTo>
                  <a:pt x="14" y="126"/>
                </a:lnTo>
                <a:lnTo>
                  <a:pt x="18" y="114"/>
                </a:lnTo>
                <a:lnTo>
                  <a:pt x="22" y="108"/>
                </a:lnTo>
                <a:lnTo>
                  <a:pt x="30" y="106"/>
                </a:lnTo>
                <a:lnTo>
                  <a:pt x="42" y="116"/>
                </a:lnTo>
                <a:lnTo>
                  <a:pt x="42" y="104"/>
                </a:lnTo>
                <a:lnTo>
                  <a:pt x="32" y="88"/>
                </a:lnTo>
                <a:lnTo>
                  <a:pt x="28" y="62"/>
                </a:lnTo>
                <a:lnTo>
                  <a:pt x="24" y="42"/>
                </a:lnTo>
                <a:lnTo>
                  <a:pt x="22" y="26"/>
                </a:lnTo>
                <a:lnTo>
                  <a:pt x="20" y="12"/>
                </a:lnTo>
                <a:lnTo>
                  <a:pt x="16" y="0"/>
                </a:lnTo>
                <a:lnTo>
                  <a:pt x="12" y="6"/>
                </a:lnTo>
                <a:lnTo>
                  <a:pt x="12" y="16"/>
                </a:lnTo>
                <a:lnTo>
                  <a:pt x="2" y="20"/>
                </a:lnTo>
                <a:lnTo>
                  <a:pt x="2" y="36"/>
                </a:lnTo>
                <a:lnTo>
                  <a:pt x="2" y="50"/>
                </a:lnTo>
                <a:lnTo>
                  <a:pt x="2" y="62"/>
                </a:lnTo>
                <a:lnTo>
                  <a:pt x="8" y="70"/>
                </a:lnTo>
                <a:lnTo>
                  <a:pt x="6" y="82"/>
                </a:lnTo>
                <a:lnTo>
                  <a:pt x="6" y="102"/>
                </a:lnTo>
                <a:lnTo>
                  <a:pt x="6" y="126"/>
                </a:lnTo>
                <a:lnTo>
                  <a:pt x="6" y="146"/>
                </a:lnTo>
                <a:lnTo>
                  <a:pt x="6" y="158"/>
                </a:lnTo>
                <a:lnTo>
                  <a:pt x="0" y="16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74" name="Freeform 111">
            <a:extLst>
              <a:ext uri="{FF2B5EF4-FFF2-40B4-BE49-F238E27FC236}">
                <a16:creationId xmlns:a16="http://schemas.microsoft.com/office/drawing/2014/main" id="{8EADE920-DBA9-4D39-AF30-8DC50DC81401}"/>
              </a:ext>
            </a:extLst>
          </p:cNvPr>
          <p:cNvSpPr>
            <a:spLocks/>
          </p:cNvSpPr>
          <p:nvPr/>
        </p:nvSpPr>
        <p:spPr bwMode="gray">
          <a:xfrm>
            <a:off x="3127939" y="1955494"/>
            <a:ext cx="17430" cy="13352"/>
          </a:xfrm>
          <a:custGeom>
            <a:avLst/>
            <a:gdLst>
              <a:gd name="T0" fmla="*/ 22 w 24"/>
              <a:gd name="T1" fmla="*/ 20 h 20"/>
              <a:gd name="T2" fmla="*/ 14 w 24"/>
              <a:gd name="T3" fmla="*/ 16 h 20"/>
              <a:gd name="T4" fmla="*/ 8 w 24"/>
              <a:gd name="T5" fmla="*/ 12 h 20"/>
              <a:gd name="T6" fmla="*/ 0 w 24"/>
              <a:gd name="T7" fmla="*/ 4 h 20"/>
              <a:gd name="T8" fmla="*/ 2 w 24"/>
              <a:gd name="T9" fmla="*/ 0 h 20"/>
              <a:gd name="T10" fmla="*/ 10 w 24"/>
              <a:gd name="T11" fmla="*/ 0 h 20"/>
              <a:gd name="T12" fmla="*/ 16 w 24"/>
              <a:gd name="T13" fmla="*/ 4 h 20"/>
              <a:gd name="T14" fmla="*/ 22 w 24"/>
              <a:gd name="T15" fmla="*/ 6 h 20"/>
              <a:gd name="T16" fmla="*/ 24 w 24"/>
              <a:gd name="T17" fmla="*/ 14 h 20"/>
              <a:gd name="T18" fmla="*/ 22 w 24"/>
              <a:gd name="T19" fmla="*/ 2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4" h="20">
                <a:moveTo>
                  <a:pt x="22" y="20"/>
                </a:moveTo>
                <a:lnTo>
                  <a:pt x="14" y="16"/>
                </a:lnTo>
                <a:lnTo>
                  <a:pt x="8" y="12"/>
                </a:lnTo>
                <a:lnTo>
                  <a:pt x="0" y="4"/>
                </a:lnTo>
                <a:lnTo>
                  <a:pt x="2" y="0"/>
                </a:lnTo>
                <a:lnTo>
                  <a:pt x="10" y="0"/>
                </a:lnTo>
                <a:lnTo>
                  <a:pt x="16" y="4"/>
                </a:lnTo>
                <a:lnTo>
                  <a:pt x="22" y="6"/>
                </a:lnTo>
                <a:lnTo>
                  <a:pt x="24" y="14"/>
                </a:lnTo>
                <a:lnTo>
                  <a:pt x="22" y="2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75" name="Freeform 112">
            <a:extLst>
              <a:ext uri="{FF2B5EF4-FFF2-40B4-BE49-F238E27FC236}">
                <a16:creationId xmlns:a16="http://schemas.microsoft.com/office/drawing/2014/main" id="{F5D70E40-CB87-4B2C-888B-60F3FBE930FD}"/>
              </a:ext>
            </a:extLst>
          </p:cNvPr>
          <p:cNvSpPr>
            <a:spLocks/>
          </p:cNvSpPr>
          <p:nvPr/>
        </p:nvSpPr>
        <p:spPr bwMode="gray">
          <a:xfrm>
            <a:off x="2987049" y="2008903"/>
            <a:ext cx="21787" cy="10682"/>
          </a:xfrm>
          <a:custGeom>
            <a:avLst/>
            <a:gdLst>
              <a:gd name="T0" fmla="*/ 8 w 30"/>
              <a:gd name="T1" fmla="*/ 6 h 16"/>
              <a:gd name="T2" fmla="*/ 16 w 30"/>
              <a:gd name="T3" fmla="*/ 4 h 16"/>
              <a:gd name="T4" fmla="*/ 24 w 30"/>
              <a:gd name="T5" fmla="*/ 4 h 16"/>
              <a:gd name="T6" fmla="*/ 30 w 30"/>
              <a:gd name="T7" fmla="*/ 0 h 16"/>
              <a:gd name="T8" fmla="*/ 22 w 30"/>
              <a:gd name="T9" fmla="*/ 8 h 16"/>
              <a:gd name="T10" fmla="*/ 18 w 30"/>
              <a:gd name="T11" fmla="*/ 12 h 16"/>
              <a:gd name="T12" fmla="*/ 12 w 30"/>
              <a:gd name="T13" fmla="*/ 16 h 16"/>
              <a:gd name="T14" fmla="*/ 4 w 30"/>
              <a:gd name="T15" fmla="*/ 16 h 16"/>
              <a:gd name="T16" fmla="*/ 0 w 30"/>
              <a:gd name="T17" fmla="*/ 12 h 16"/>
              <a:gd name="T18" fmla="*/ 0 w 30"/>
              <a:gd name="T19" fmla="*/ 6 h 16"/>
              <a:gd name="T20" fmla="*/ 8 w 30"/>
              <a:gd name="T21" fmla="*/ 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0" h="16">
                <a:moveTo>
                  <a:pt x="8" y="6"/>
                </a:moveTo>
                <a:lnTo>
                  <a:pt x="16" y="4"/>
                </a:lnTo>
                <a:lnTo>
                  <a:pt x="24" y="4"/>
                </a:lnTo>
                <a:lnTo>
                  <a:pt x="30" y="0"/>
                </a:lnTo>
                <a:lnTo>
                  <a:pt x="22" y="8"/>
                </a:lnTo>
                <a:lnTo>
                  <a:pt x="18" y="12"/>
                </a:lnTo>
                <a:lnTo>
                  <a:pt x="12" y="16"/>
                </a:lnTo>
                <a:lnTo>
                  <a:pt x="4" y="16"/>
                </a:lnTo>
                <a:lnTo>
                  <a:pt x="0" y="12"/>
                </a:lnTo>
                <a:lnTo>
                  <a:pt x="0" y="6"/>
                </a:lnTo>
                <a:lnTo>
                  <a:pt x="8" y="6"/>
                </a:lnTo>
                <a:close/>
              </a:path>
            </a:pathLst>
          </a:custGeom>
          <a:solidFill>
            <a:schemeClr val="accent1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76" name="Freeform 113">
            <a:extLst>
              <a:ext uri="{FF2B5EF4-FFF2-40B4-BE49-F238E27FC236}">
                <a16:creationId xmlns:a16="http://schemas.microsoft.com/office/drawing/2014/main" id="{82027C24-5301-46D9-8670-F86EDD9EF68F}"/>
              </a:ext>
            </a:extLst>
          </p:cNvPr>
          <p:cNvSpPr>
            <a:spLocks/>
          </p:cNvSpPr>
          <p:nvPr/>
        </p:nvSpPr>
        <p:spPr bwMode="gray">
          <a:xfrm>
            <a:off x="2915877" y="1927454"/>
            <a:ext cx="212062" cy="74772"/>
          </a:xfrm>
          <a:custGeom>
            <a:avLst/>
            <a:gdLst>
              <a:gd name="T0" fmla="*/ 0 w 292"/>
              <a:gd name="T1" fmla="*/ 46 h 112"/>
              <a:gd name="T2" fmla="*/ 6 w 292"/>
              <a:gd name="T3" fmla="*/ 34 h 112"/>
              <a:gd name="T4" fmla="*/ 26 w 292"/>
              <a:gd name="T5" fmla="*/ 34 h 112"/>
              <a:gd name="T6" fmla="*/ 46 w 292"/>
              <a:gd name="T7" fmla="*/ 34 h 112"/>
              <a:gd name="T8" fmla="*/ 52 w 292"/>
              <a:gd name="T9" fmla="*/ 26 h 112"/>
              <a:gd name="T10" fmla="*/ 52 w 292"/>
              <a:gd name="T11" fmla="*/ 22 h 112"/>
              <a:gd name="T12" fmla="*/ 46 w 292"/>
              <a:gd name="T13" fmla="*/ 16 h 112"/>
              <a:gd name="T14" fmla="*/ 82 w 292"/>
              <a:gd name="T15" fmla="*/ 18 h 112"/>
              <a:gd name="T16" fmla="*/ 110 w 292"/>
              <a:gd name="T17" fmla="*/ 0 h 112"/>
              <a:gd name="T18" fmla="*/ 146 w 292"/>
              <a:gd name="T19" fmla="*/ 12 h 112"/>
              <a:gd name="T20" fmla="*/ 160 w 292"/>
              <a:gd name="T21" fmla="*/ 16 h 112"/>
              <a:gd name="T22" fmla="*/ 182 w 292"/>
              <a:gd name="T23" fmla="*/ 22 h 112"/>
              <a:gd name="T24" fmla="*/ 218 w 292"/>
              <a:gd name="T25" fmla="*/ 22 h 112"/>
              <a:gd name="T26" fmla="*/ 242 w 292"/>
              <a:gd name="T27" fmla="*/ 10 h 112"/>
              <a:gd name="T28" fmla="*/ 252 w 292"/>
              <a:gd name="T29" fmla="*/ 14 h 112"/>
              <a:gd name="T30" fmla="*/ 262 w 292"/>
              <a:gd name="T31" fmla="*/ 10 h 112"/>
              <a:gd name="T32" fmla="*/ 274 w 292"/>
              <a:gd name="T33" fmla="*/ 20 h 112"/>
              <a:gd name="T34" fmla="*/ 274 w 292"/>
              <a:gd name="T35" fmla="*/ 42 h 112"/>
              <a:gd name="T36" fmla="*/ 292 w 292"/>
              <a:gd name="T37" fmla="*/ 46 h 112"/>
              <a:gd name="T38" fmla="*/ 282 w 292"/>
              <a:gd name="T39" fmla="*/ 52 h 112"/>
              <a:gd name="T40" fmla="*/ 286 w 292"/>
              <a:gd name="T41" fmla="*/ 68 h 112"/>
              <a:gd name="T42" fmla="*/ 292 w 292"/>
              <a:gd name="T43" fmla="*/ 88 h 112"/>
              <a:gd name="T44" fmla="*/ 282 w 292"/>
              <a:gd name="T45" fmla="*/ 90 h 112"/>
              <a:gd name="T46" fmla="*/ 252 w 292"/>
              <a:gd name="T47" fmla="*/ 92 h 112"/>
              <a:gd name="T48" fmla="*/ 214 w 292"/>
              <a:gd name="T49" fmla="*/ 100 h 112"/>
              <a:gd name="T50" fmla="*/ 190 w 292"/>
              <a:gd name="T51" fmla="*/ 96 h 112"/>
              <a:gd name="T52" fmla="*/ 182 w 292"/>
              <a:gd name="T53" fmla="*/ 100 h 112"/>
              <a:gd name="T54" fmla="*/ 164 w 292"/>
              <a:gd name="T55" fmla="*/ 96 h 112"/>
              <a:gd name="T56" fmla="*/ 154 w 292"/>
              <a:gd name="T57" fmla="*/ 112 h 112"/>
              <a:gd name="T58" fmla="*/ 156 w 292"/>
              <a:gd name="T59" fmla="*/ 96 h 112"/>
              <a:gd name="T60" fmla="*/ 146 w 292"/>
              <a:gd name="T61" fmla="*/ 100 h 112"/>
              <a:gd name="T62" fmla="*/ 128 w 292"/>
              <a:gd name="T63" fmla="*/ 100 h 112"/>
              <a:gd name="T64" fmla="*/ 110 w 292"/>
              <a:gd name="T65" fmla="*/ 110 h 112"/>
              <a:gd name="T66" fmla="*/ 92 w 292"/>
              <a:gd name="T67" fmla="*/ 104 h 112"/>
              <a:gd name="T68" fmla="*/ 72 w 292"/>
              <a:gd name="T69" fmla="*/ 96 h 112"/>
              <a:gd name="T70" fmla="*/ 68 w 292"/>
              <a:gd name="T71" fmla="*/ 104 h 112"/>
              <a:gd name="T72" fmla="*/ 50 w 292"/>
              <a:gd name="T73" fmla="*/ 108 h 112"/>
              <a:gd name="T74" fmla="*/ 34 w 292"/>
              <a:gd name="T75" fmla="*/ 96 h 112"/>
              <a:gd name="T76" fmla="*/ 16 w 292"/>
              <a:gd name="T77" fmla="*/ 84 h 112"/>
              <a:gd name="T78" fmla="*/ 6 w 292"/>
              <a:gd name="T79" fmla="*/ 74 h 112"/>
              <a:gd name="T80" fmla="*/ 14 w 292"/>
              <a:gd name="T81" fmla="*/ 62 h 112"/>
              <a:gd name="T82" fmla="*/ 10 w 292"/>
              <a:gd name="T83" fmla="*/ 48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92" h="112">
                <a:moveTo>
                  <a:pt x="10" y="48"/>
                </a:moveTo>
                <a:lnTo>
                  <a:pt x="0" y="46"/>
                </a:lnTo>
                <a:lnTo>
                  <a:pt x="0" y="42"/>
                </a:lnTo>
                <a:lnTo>
                  <a:pt x="6" y="34"/>
                </a:lnTo>
                <a:lnTo>
                  <a:pt x="12" y="32"/>
                </a:lnTo>
                <a:lnTo>
                  <a:pt x="26" y="34"/>
                </a:lnTo>
                <a:lnTo>
                  <a:pt x="38" y="34"/>
                </a:lnTo>
                <a:lnTo>
                  <a:pt x="46" y="34"/>
                </a:lnTo>
                <a:lnTo>
                  <a:pt x="46" y="28"/>
                </a:lnTo>
                <a:lnTo>
                  <a:pt x="52" y="26"/>
                </a:lnTo>
                <a:lnTo>
                  <a:pt x="58" y="26"/>
                </a:lnTo>
                <a:lnTo>
                  <a:pt x="52" y="22"/>
                </a:lnTo>
                <a:lnTo>
                  <a:pt x="46" y="22"/>
                </a:lnTo>
                <a:lnTo>
                  <a:pt x="46" y="16"/>
                </a:lnTo>
                <a:lnTo>
                  <a:pt x="68" y="18"/>
                </a:lnTo>
                <a:lnTo>
                  <a:pt x="82" y="18"/>
                </a:lnTo>
                <a:lnTo>
                  <a:pt x="90" y="10"/>
                </a:lnTo>
                <a:lnTo>
                  <a:pt x="110" y="0"/>
                </a:lnTo>
                <a:lnTo>
                  <a:pt x="140" y="0"/>
                </a:lnTo>
                <a:lnTo>
                  <a:pt x="146" y="12"/>
                </a:lnTo>
                <a:lnTo>
                  <a:pt x="154" y="10"/>
                </a:lnTo>
                <a:lnTo>
                  <a:pt x="160" y="16"/>
                </a:lnTo>
                <a:lnTo>
                  <a:pt x="168" y="18"/>
                </a:lnTo>
                <a:lnTo>
                  <a:pt x="182" y="22"/>
                </a:lnTo>
                <a:lnTo>
                  <a:pt x="200" y="22"/>
                </a:lnTo>
                <a:lnTo>
                  <a:pt x="218" y="22"/>
                </a:lnTo>
                <a:lnTo>
                  <a:pt x="234" y="18"/>
                </a:lnTo>
                <a:lnTo>
                  <a:pt x="242" y="10"/>
                </a:lnTo>
                <a:lnTo>
                  <a:pt x="248" y="12"/>
                </a:lnTo>
                <a:lnTo>
                  <a:pt x="252" y="14"/>
                </a:lnTo>
                <a:lnTo>
                  <a:pt x="254" y="8"/>
                </a:lnTo>
                <a:lnTo>
                  <a:pt x="262" y="10"/>
                </a:lnTo>
                <a:lnTo>
                  <a:pt x="268" y="16"/>
                </a:lnTo>
                <a:lnTo>
                  <a:pt x="274" y="20"/>
                </a:lnTo>
                <a:lnTo>
                  <a:pt x="274" y="30"/>
                </a:lnTo>
                <a:lnTo>
                  <a:pt x="274" y="42"/>
                </a:lnTo>
                <a:lnTo>
                  <a:pt x="286" y="42"/>
                </a:lnTo>
                <a:lnTo>
                  <a:pt x="292" y="46"/>
                </a:lnTo>
                <a:lnTo>
                  <a:pt x="284" y="48"/>
                </a:lnTo>
                <a:lnTo>
                  <a:pt x="282" y="52"/>
                </a:lnTo>
                <a:lnTo>
                  <a:pt x="284" y="60"/>
                </a:lnTo>
                <a:lnTo>
                  <a:pt x="286" y="68"/>
                </a:lnTo>
                <a:lnTo>
                  <a:pt x="288" y="78"/>
                </a:lnTo>
                <a:lnTo>
                  <a:pt x="292" y="88"/>
                </a:lnTo>
                <a:lnTo>
                  <a:pt x="290" y="92"/>
                </a:lnTo>
                <a:lnTo>
                  <a:pt x="282" y="90"/>
                </a:lnTo>
                <a:lnTo>
                  <a:pt x="262" y="86"/>
                </a:lnTo>
                <a:lnTo>
                  <a:pt x="252" y="92"/>
                </a:lnTo>
                <a:lnTo>
                  <a:pt x="226" y="92"/>
                </a:lnTo>
                <a:lnTo>
                  <a:pt x="214" y="100"/>
                </a:lnTo>
                <a:lnTo>
                  <a:pt x="196" y="102"/>
                </a:lnTo>
                <a:lnTo>
                  <a:pt x="190" y="96"/>
                </a:lnTo>
                <a:lnTo>
                  <a:pt x="184" y="96"/>
                </a:lnTo>
                <a:lnTo>
                  <a:pt x="182" y="100"/>
                </a:lnTo>
                <a:lnTo>
                  <a:pt x="170" y="100"/>
                </a:lnTo>
                <a:lnTo>
                  <a:pt x="164" y="96"/>
                </a:lnTo>
                <a:lnTo>
                  <a:pt x="162" y="104"/>
                </a:lnTo>
                <a:lnTo>
                  <a:pt x="154" y="112"/>
                </a:lnTo>
                <a:lnTo>
                  <a:pt x="152" y="104"/>
                </a:lnTo>
                <a:lnTo>
                  <a:pt x="156" y="96"/>
                </a:lnTo>
                <a:lnTo>
                  <a:pt x="150" y="96"/>
                </a:lnTo>
                <a:lnTo>
                  <a:pt x="146" y="100"/>
                </a:lnTo>
                <a:lnTo>
                  <a:pt x="132" y="98"/>
                </a:lnTo>
                <a:lnTo>
                  <a:pt x="128" y="100"/>
                </a:lnTo>
                <a:lnTo>
                  <a:pt x="120" y="108"/>
                </a:lnTo>
                <a:lnTo>
                  <a:pt x="110" y="110"/>
                </a:lnTo>
                <a:lnTo>
                  <a:pt x="100" y="110"/>
                </a:lnTo>
                <a:lnTo>
                  <a:pt x="92" y="104"/>
                </a:lnTo>
                <a:lnTo>
                  <a:pt x="80" y="100"/>
                </a:lnTo>
                <a:lnTo>
                  <a:pt x="72" y="96"/>
                </a:lnTo>
                <a:lnTo>
                  <a:pt x="66" y="98"/>
                </a:lnTo>
                <a:lnTo>
                  <a:pt x="68" y="104"/>
                </a:lnTo>
                <a:lnTo>
                  <a:pt x="66" y="108"/>
                </a:lnTo>
                <a:lnTo>
                  <a:pt x="50" y="108"/>
                </a:lnTo>
                <a:lnTo>
                  <a:pt x="40" y="100"/>
                </a:lnTo>
                <a:lnTo>
                  <a:pt x="34" y="96"/>
                </a:lnTo>
                <a:lnTo>
                  <a:pt x="20" y="92"/>
                </a:lnTo>
                <a:lnTo>
                  <a:pt x="16" y="84"/>
                </a:lnTo>
                <a:lnTo>
                  <a:pt x="16" y="78"/>
                </a:lnTo>
                <a:lnTo>
                  <a:pt x="6" y="74"/>
                </a:lnTo>
                <a:lnTo>
                  <a:pt x="10" y="68"/>
                </a:lnTo>
                <a:lnTo>
                  <a:pt x="14" y="62"/>
                </a:lnTo>
                <a:lnTo>
                  <a:pt x="12" y="54"/>
                </a:lnTo>
                <a:lnTo>
                  <a:pt x="10" y="48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77" name="Freeform 114">
            <a:extLst>
              <a:ext uri="{FF2B5EF4-FFF2-40B4-BE49-F238E27FC236}">
                <a16:creationId xmlns:a16="http://schemas.microsoft.com/office/drawing/2014/main" id="{FBC25257-5BB4-4FF2-8258-D8C8CC479C5E}"/>
              </a:ext>
            </a:extLst>
          </p:cNvPr>
          <p:cNvSpPr>
            <a:spLocks/>
          </p:cNvSpPr>
          <p:nvPr/>
        </p:nvSpPr>
        <p:spPr bwMode="gray">
          <a:xfrm>
            <a:off x="3016098" y="2019584"/>
            <a:ext cx="20335" cy="18693"/>
          </a:xfrm>
          <a:custGeom>
            <a:avLst/>
            <a:gdLst>
              <a:gd name="T0" fmla="*/ 16 w 28"/>
              <a:gd name="T1" fmla="*/ 2 h 28"/>
              <a:gd name="T2" fmla="*/ 24 w 28"/>
              <a:gd name="T3" fmla="*/ 0 h 28"/>
              <a:gd name="T4" fmla="*/ 28 w 28"/>
              <a:gd name="T5" fmla="*/ 4 h 28"/>
              <a:gd name="T6" fmla="*/ 24 w 28"/>
              <a:gd name="T7" fmla="*/ 10 h 28"/>
              <a:gd name="T8" fmla="*/ 18 w 28"/>
              <a:gd name="T9" fmla="*/ 14 h 28"/>
              <a:gd name="T10" fmla="*/ 16 w 28"/>
              <a:gd name="T11" fmla="*/ 20 h 28"/>
              <a:gd name="T12" fmla="*/ 10 w 28"/>
              <a:gd name="T13" fmla="*/ 24 h 28"/>
              <a:gd name="T14" fmla="*/ 6 w 28"/>
              <a:gd name="T15" fmla="*/ 28 h 28"/>
              <a:gd name="T16" fmla="*/ 0 w 28"/>
              <a:gd name="T17" fmla="*/ 26 h 28"/>
              <a:gd name="T18" fmla="*/ 6 w 28"/>
              <a:gd name="T19" fmla="*/ 18 h 28"/>
              <a:gd name="T20" fmla="*/ 12 w 28"/>
              <a:gd name="T21" fmla="*/ 8 h 28"/>
              <a:gd name="T22" fmla="*/ 16 w 28"/>
              <a:gd name="T23" fmla="*/ 2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8" h="28">
                <a:moveTo>
                  <a:pt x="16" y="2"/>
                </a:moveTo>
                <a:lnTo>
                  <a:pt x="24" y="0"/>
                </a:lnTo>
                <a:lnTo>
                  <a:pt x="28" y="4"/>
                </a:lnTo>
                <a:lnTo>
                  <a:pt x="24" y="10"/>
                </a:lnTo>
                <a:lnTo>
                  <a:pt x="18" y="14"/>
                </a:lnTo>
                <a:lnTo>
                  <a:pt x="16" y="20"/>
                </a:lnTo>
                <a:lnTo>
                  <a:pt x="10" y="24"/>
                </a:lnTo>
                <a:lnTo>
                  <a:pt x="6" y="28"/>
                </a:lnTo>
                <a:lnTo>
                  <a:pt x="0" y="26"/>
                </a:lnTo>
                <a:lnTo>
                  <a:pt x="6" y="18"/>
                </a:lnTo>
                <a:lnTo>
                  <a:pt x="12" y="8"/>
                </a:lnTo>
                <a:lnTo>
                  <a:pt x="16" y="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78" name="Freeform 115">
            <a:extLst>
              <a:ext uri="{FF2B5EF4-FFF2-40B4-BE49-F238E27FC236}">
                <a16:creationId xmlns:a16="http://schemas.microsoft.com/office/drawing/2014/main" id="{53565846-29CE-47E8-A556-316E65853875}"/>
              </a:ext>
            </a:extLst>
          </p:cNvPr>
          <p:cNvSpPr>
            <a:spLocks/>
          </p:cNvSpPr>
          <p:nvPr/>
        </p:nvSpPr>
        <p:spPr bwMode="gray">
          <a:xfrm>
            <a:off x="3020456" y="1988874"/>
            <a:ext cx="78434" cy="57415"/>
          </a:xfrm>
          <a:custGeom>
            <a:avLst/>
            <a:gdLst>
              <a:gd name="T0" fmla="*/ 10 w 108"/>
              <a:gd name="T1" fmla="*/ 48 h 86"/>
              <a:gd name="T2" fmla="*/ 8 w 108"/>
              <a:gd name="T3" fmla="*/ 32 h 86"/>
              <a:gd name="T4" fmla="*/ 8 w 108"/>
              <a:gd name="T5" fmla="*/ 24 h 86"/>
              <a:gd name="T6" fmla="*/ 10 w 108"/>
              <a:gd name="T7" fmla="*/ 20 h 86"/>
              <a:gd name="T8" fmla="*/ 18 w 108"/>
              <a:gd name="T9" fmla="*/ 12 h 86"/>
              <a:gd name="T10" fmla="*/ 20 w 108"/>
              <a:gd name="T11" fmla="*/ 4 h 86"/>
              <a:gd name="T12" fmla="*/ 26 w 108"/>
              <a:gd name="T13" fmla="*/ 8 h 86"/>
              <a:gd name="T14" fmla="*/ 38 w 108"/>
              <a:gd name="T15" fmla="*/ 8 h 86"/>
              <a:gd name="T16" fmla="*/ 40 w 108"/>
              <a:gd name="T17" fmla="*/ 4 h 86"/>
              <a:gd name="T18" fmla="*/ 46 w 108"/>
              <a:gd name="T19" fmla="*/ 4 h 86"/>
              <a:gd name="T20" fmla="*/ 52 w 108"/>
              <a:gd name="T21" fmla="*/ 10 h 86"/>
              <a:gd name="T22" fmla="*/ 70 w 108"/>
              <a:gd name="T23" fmla="*/ 8 h 86"/>
              <a:gd name="T24" fmla="*/ 82 w 108"/>
              <a:gd name="T25" fmla="*/ 0 h 86"/>
              <a:gd name="T26" fmla="*/ 108 w 108"/>
              <a:gd name="T27" fmla="*/ 0 h 86"/>
              <a:gd name="T28" fmla="*/ 108 w 108"/>
              <a:gd name="T29" fmla="*/ 4 h 86"/>
              <a:gd name="T30" fmla="*/ 94 w 108"/>
              <a:gd name="T31" fmla="*/ 14 h 86"/>
              <a:gd name="T32" fmla="*/ 90 w 108"/>
              <a:gd name="T33" fmla="*/ 46 h 86"/>
              <a:gd name="T34" fmla="*/ 54 w 108"/>
              <a:gd name="T35" fmla="*/ 68 h 86"/>
              <a:gd name="T36" fmla="*/ 28 w 108"/>
              <a:gd name="T37" fmla="*/ 84 h 86"/>
              <a:gd name="T38" fmla="*/ 20 w 108"/>
              <a:gd name="T39" fmla="*/ 86 h 86"/>
              <a:gd name="T40" fmla="*/ 12 w 108"/>
              <a:gd name="T41" fmla="*/ 82 h 86"/>
              <a:gd name="T42" fmla="*/ 6 w 108"/>
              <a:gd name="T43" fmla="*/ 80 h 86"/>
              <a:gd name="T44" fmla="*/ 2 w 108"/>
              <a:gd name="T45" fmla="*/ 78 h 86"/>
              <a:gd name="T46" fmla="*/ 0 w 108"/>
              <a:gd name="T47" fmla="*/ 74 h 86"/>
              <a:gd name="T48" fmla="*/ 10 w 108"/>
              <a:gd name="T49" fmla="*/ 66 h 86"/>
              <a:gd name="T50" fmla="*/ 12 w 108"/>
              <a:gd name="T51" fmla="*/ 60 h 86"/>
              <a:gd name="T52" fmla="*/ 18 w 108"/>
              <a:gd name="T53" fmla="*/ 56 h 86"/>
              <a:gd name="T54" fmla="*/ 22 w 108"/>
              <a:gd name="T55" fmla="*/ 50 h 86"/>
              <a:gd name="T56" fmla="*/ 18 w 108"/>
              <a:gd name="T57" fmla="*/ 46 h 86"/>
              <a:gd name="T58" fmla="*/ 10 w 108"/>
              <a:gd name="T59" fmla="*/ 48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08" h="86">
                <a:moveTo>
                  <a:pt x="10" y="48"/>
                </a:moveTo>
                <a:lnTo>
                  <a:pt x="8" y="32"/>
                </a:lnTo>
                <a:lnTo>
                  <a:pt x="8" y="24"/>
                </a:lnTo>
                <a:lnTo>
                  <a:pt x="10" y="20"/>
                </a:lnTo>
                <a:lnTo>
                  <a:pt x="18" y="12"/>
                </a:lnTo>
                <a:lnTo>
                  <a:pt x="20" y="4"/>
                </a:lnTo>
                <a:lnTo>
                  <a:pt x="26" y="8"/>
                </a:lnTo>
                <a:lnTo>
                  <a:pt x="38" y="8"/>
                </a:lnTo>
                <a:lnTo>
                  <a:pt x="40" y="4"/>
                </a:lnTo>
                <a:lnTo>
                  <a:pt x="46" y="4"/>
                </a:lnTo>
                <a:lnTo>
                  <a:pt x="52" y="10"/>
                </a:lnTo>
                <a:lnTo>
                  <a:pt x="70" y="8"/>
                </a:lnTo>
                <a:lnTo>
                  <a:pt x="82" y="0"/>
                </a:lnTo>
                <a:lnTo>
                  <a:pt x="108" y="0"/>
                </a:lnTo>
                <a:lnTo>
                  <a:pt x="108" y="4"/>
                </a:lnTo>
                <a:lnTo>
                  <a:pt x="94" y="14"/>
                </a:lnTo>
                <a:lnTo>
                  <a:pt x="90" y="46"/>
                </a:lnTo>
                <a:lnTo>
                  <a:pt x="54" y="68"/>
                </a:lnTo>
                <a:lnTo>
                  <a:pt x="28" y="84"/>
                </a:lnTo>
                <a:lnTo>
                  <a:pt x="20" y="86"/>
                </a:lnTo>
                <a:lnTo>
                  <a:pt x="12" y="82"/>
                </a:lnTo>
                <a:lnTo>
                  <a:pt x="6" y="80"/>
                </a:lnTo>
                <a:lnTo>
                  <a:pt x="2" y="78"/>
                </a:lnTo>
                <a:lnTo>
                  <a:pt x="0" y="74"/>
                </a:lnTo>
                <a:lnTo>
                  <a:pt x="10" y="66"/>
                </a:lnTo>
                <a:lnTo>
                  <a:pt x="12" y="60"/>
                </a:lnTo>
                <a:lnTo>
                  <a:pt x="18" y="56"/>
                </a:lnTo>
                <a:lnTo>
                  <a:pt x="22" y="50"/>
                </a:lnTo>
                <a:lnTo>
                  <a:pt x="18" y="46"/>
                </a:lnTo>
                <a:lnTo>
                  <a:pt x="10" y="48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79" name="Freeform 116">
            <a:extLst>
              <a:ext uri="{FF2B5EF4-FFF2-40B4-BE49-F238E27FC236}">
                <a16:creationId xmlns:a16="http://schemas.microsoft.com/office/drawing/2014/main" id="{F451B16F-A43D-4853-A1A1-E6F73AB73906}"/>
              </a:ext>
            </a:extLst>
          </p:cNvPr>
          <p:cNvSpPr>
            <a:spLocks/>
          </p:cNvSpPr>
          <p:nvPr/>
        </p:nvSpPr>
        <p:spPr bwMode="gray">
          <a:xfrm>
            <a:off x="3005931" y="2036942"/>
            <a:ext cx="17430" cy="42727"/>
          </a:xfrm>
          <a:custGeom>
            <a:avLst/>
            <a:gdLst>
              <a:gd name="T0" fmla="*/ 16 w 24"/>
              <a:gd name="T1" fmla="*/ 14 h 64"/>
              <a:gd name="T2" fmla="*/ 22 w 24"/>
              <a:gd name="T3" fmla="*/ 14 h 64"/>
              <a:gd name="T4" fmla="*/ 24 w 24"/>
              <a:gd name="T5" fmla="*/ 8 h 64"/>
              <a:gd name="T6" fmla="*/ 22 w 24"/>
              <a:gd name="T7" fmla="*/ 6 h 64"/>
              <a:gd name="T8" fmla="*/ 20 w 24"/>
              <a:gd name="T9" fmla="*/ 2 h 64"/>
              <a:gd name="T10" fmla="*/ 14 w 24"/>
              <a:gd name="T11" fmla="*/ 0 h 64"/>
              <a:gd name="T12" fmla="*/ 14 w 24"/>
              <a:gd name="T13" fmla="*/ 6 h 64"/>
              <a:gd name="T14" fmla="*/ 12 w 24"/>
              <a:gd name="T15" fmla="*/ 14 h 64"/>
              <a:gd name="T16" fmla="*/ 10 w 24"/>
              <a:gd name="T17" fmla="*/ 20 h 64"/>
              <a:gd name="T18" fmla="*/ 6 w 24"/>
              <a:gd name="T19" fmla="*/ 26 h 64"/>
              <a:gd name="T20" fmla="*/ 4 w 24"/>
              <a:gd name="T21" fmla="*/ 30 h 64"/>
              <a:gd name="T22" fmla="*/ 0 w 24"/>
              <a:gd name="T23" fmla="*/ 36 h 64"/>
              <a:gd name="T24" fmla="*/ 2 w 24"/>
              <a:gd name="T25" fmla="*/ 40 h 64"/>
              <a:gd name="T26" fmla="*/ 6 w 24"/>
              <a:gd name="T27" fmla="*/ 48 h 64"/>
              <a:gd name="T28" fmla="*/ 10 w 24"/>
              <a:gd name="T29" fmla="*/ 58 h 64"/>
              <a:gd name="T30" fmla="*/ 12 w 24"/>
              <a:gd name="T31" fmla="*/ 64 h 64"/>
              <a:gd name="T32" fmla="*/ 18 w 24"/>
              <a:gd name="T33" fmla="*/ 52 h 64"/>
              <a:gd name="T34" fmla="*/ 20 w 24"/>
              <a:gd name="T35" fmla="*/ 42 h 64"/>
              <a:gd name="T36" fmla="*/ 20 w 24"/>
              <a:gd name="T37" fmla="*/ 30 h 64"/>
              <a:gd name="T38" fmla="*/ 16 w 24"/>
              <a:gd name="T39" fmla="*/ 30 h 64"/>
              <a:gd name="T40" fmla="*/ 14 w 24"/>
              <a:gd name="T41" fmla="*/ 18 h 64"/>
              <a:gd name="T42" fmla="*/ 16 w 24"/>
              <a:gd name="T43" fmla="*/ 14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24" h="64">
                <a:moveTo>
                  <a:pt x="16" y="14"/>
                </a:moveTo>
                <a:lnTo>
                  <a:pt x="22" y="14"/>
                </a:lnTo>
                <a:lnTo>
                  <a:pt x="24" y="8"/>
                </a:lnTo>
                <a:lnTo>
                  <a:pt x="22" y="6"/>
                </a:lnTo>
                <a:lnTo>
                  <a:pt x="20" y="2"/>
                </a:lnTo>
                <a:lnTo>
                  <a:pt x="14" y="0"/>
                </a:lnTo>
                <a:lnTo>
                  <a:pt x="14" y="6"/>
                </a:lnTo>
                <a:lnTo>
                  <a:pt x="12" y="14"/>
                </a:lnTo>
                <a:lnTo>
                  <a:pt x="10" y="20"/>
                </a:lnTo>
                <a:lnTo>
                  <a:pt x="6" y="26"/>
                </a:lnTo>
                <a:lnTo>
                  <a:pt x="4" y="30"/>
                </a:lnTo>
                <a:lnTo>
                  <a:pt x="0" y="36"/>
                </a:lnTo>
                <a:lnTo>
                  <a:pt x="2" y="40"/>
                </a:lnTo>
                <a:lnTo>
                  <a:pt x="6" y="48"/>
                </a:lnTo>
                <a:lnTo>
                  <a:pt x="10" y="58"/>
                </a:lnTo>
                <a:lnTo>
                  <a:pt x="12" y="64"/>
                </a:lnTo>
                <a:lnTo>
                  <a:pt x="18" y="52"/>
                </a:lnTo>
                <a:lnTo>
                  <a:pt x="20" y="42"/>
                </a:lnTo>
                <a:lnTo>
                  <a:pt x="20" y="30"/>
                </a:lnTo>
                <a:lnTo>
                  <a:pt x="16" y="30"/>
                </a:lnTo>
                <a:lnTo>
                  <a:pt x="14" y="18"/>
                </a:lnTo>
                <a:lnTo>
                  <a:pt x="16" y="14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80" name="Freeform 117">
            <a:extLst>
              <a:ext uri="{FF2B5EF4-FFF2-40B4-BE49-F238E27FC236}">
                <a16:creationId xmlns:a16="http://schemas.microsoft.com/office/drawing/2014/main" id="{5748F1D9-9D6A-4839-8FAF-C0AE0CF4F8EE}"/>
              </a:ext>
            </a:extLst>
          </p:cNvPr>
          <p:cNvSpPr>
            <a:spLocks/>
          </p:cNvSpPr>
          <p:nvPr/>
        </p:nvSpPr>
        <p:spPr bwMode="gray">
          <a:xfrm>
            <a:off x="3062578" y="1984869"/>
            <a:ext cx="103126" cy="98806"/>
          </a:xfrm>
          <a:custGeom>
            <a:avLst/>
            <a:gdLst>
              <a:gd name="T0" fmla="*/ 90 w 142"/>
              <a:gd name="T1" fmla="*/ 2 h 148"/>
              <a:gd name="T2" fmla="*/ 94 w 142"/>
              <a:gd name="T3" fmla="*/ 10 h 148"/>
              <a:gd name="T4" fmla="*/ 106 w 142"/>
              <a:gd name="T5" fmla="*/ 28 h 148"/>
              <a:gd name="T6" fmla="*/ 114 w 142"/>
              <a:gd name="T7" fmla="*/ 30 h 148"/>
              <a:gd name="T8" fmla="*/ 110 w 142"/>
              <a:gd name="T9" fmla="*/ 36 h 148"/>
              <a:gd name="T10" fmla="*/ 112 w 142"/>
              <a:gd name="T11" fmla="*/ 44 h 148"/>
              <a:gd name="T12" fmla="*/ 106 w 142"/>
              <a:gd name="T13" fmla="*/ 48 h 148"/>
              <a:gd name="T14" fmla="*/ 100 w 142"/>
              <a:gd name="T15" fmla="*/ 62 h 148"/>
              <a:gd name="T16" fmla="*/ 112 w 142"/>
              <a:gd name="T17" fmla="*/ 74 h 148"/>
              <a:gd name="T18" fmla="*/ 118 w 142"/>
              <a:gd name="T19" fmla="*/ 84 h 148"/>
              <a:gd name="T20" fmla="*/ 132 w 142"/>
              <a:gd name="T21" fmla="*/ 90 h 148"/>
              <a:gd name="T22" fmla="*/ 140 w 142"/>
              <a:gd name="T23" fmla="*/ 98 h 148"/>
              <a:gd name="T24" fmla="*/ 136 w 142"/>
              <a:gd name="T25" fmla="*/ 112 h 148"/>
              <a:gd name="T26" fmla="*/ 142 w 142"/>
              <a:gd name="T27" fmla="*/ 124 h 148"/>
              <a:gd name="T28" fmla="*/ 140 w 142"/>
              <a:gd name="T29" fmla="*/ 130 h 148"/>
              <a:gd name="T30" fmla="*/ 132 w 142"/>
              <a:gd name="T31" fmla="*/ 132 h 148"/>
              <a:gd name="T32" fmla="*/ 122 w 142"/>
              <a:gd name="T33" fmla="*/ 140 h 148"/>
              <a:gd name="T34" fmla="*/ 122 w 142"/>
              <a:gd name="T35" fmla="*/ 148 h 148"/>
              <a:gd name="T36" fmla="*/ 90 w 142"/>
              <a:gd name="T37" fmla="*/ 148 h 148"/>
              <a:gd name="T38" fmla="*/ 76 w 142"/>
              <a:gd name="T39" fmla="*/ 136 h 148"/>
              <a:gd name="T40" fmla="*/ 68 w 142"/>
              <a:gd name="T41" fmla="*/ 136 h 148"/>
              <a:gd name="T42" fmla="*/ 58 w 142"/>
              <a:gd name="T43" fmla="*/ 120 h 148"/>
              <a:gd name="T44" fmla="*/ 22 w 142"/>
              <a:gd name="T45" fmla="*/ 100 h 148"/>
              <a:gd name="T46" fmla="*/ 2 w 142"/>
              <a:gd name="T47" fmla="*/ 96 h 148"/>
              <a:gd name="T48" fmla="*/ 0 w 142"/>
              <a:gd name="T49" fmla="*/ 72 h 148"/>
              <a:gd name="T50" fmla="*/ 32 w 142"/>
              <a:gd name="T51" fmla="*/ 52 h 148"/>
              <a:gd name="T52" fmla="*/ 36 w 142"/>
              <a:gd name="T53" fmla="*/ 20 h 148"/>
              <a:gd name="T54" fmla="*/ 50 w 142"/>
              <a:gd name="T55" fmla="*/ 10 h 148"/>
              <a:gd name="T56" fmla="*/ 50 w 142"/>
              <a:gd name="T57" fmla="*/ 6 h 148"/>
              <a:gd name="T58" fmla="*/ 60 w 142"/>
              <a:gd name="T59" fmla="*/ 0 h 148"/>
              <a:gd name="T60" fmla="*/ 88 w 142"/>
              <a:gd name="T61" fmla="*/ 6 h 148"/>
              <a:gd name="T62" fmla="*/ 90 w 142"/>
              <a:gd name="T63" fmla="*/ 2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2" h="148">
                <a:moveTo>
                  <a:pt x="90" y="2"/>
                </a:moveTo>
                <a:lnTo>
                  <a:pt x="94" y="10"/>
                </a:lnTo>
                <a:lnTo>
                  <a:pt x="106" y="28"/>
                </a:lnTo>
                <a:lnTo>
                  <a:pt x="114" y="30"/>
                </a:lnTo>
                <a:lnTo>
                  <a:pt x="110" y="36"/>
                </a:lnTo>
                <a:lnTo>
                  <a:pt x="112" y="44"/>
                </a:lnTo>
                <a:lnTo>
                  <a:pt x="106" y="48"/>
                </a:lnTo>
                <a:lnTo>
                  <a:pt x="100" y="62"/>
                </a:lnTo>
                <a:lnTo>
                  <a:pt x="112" y="74"/>
                </a:lnTo>
                <a:lnTo>
                  <a:pt x="118" y="84"/>
                </a:lnTo>
                <a:lnTo>
                  <a:pt x="132" y="90"/>
                </a:lnTo>
                <a:lnTo>
                  <a:pt x="140" y="98"/>
                </a:lnTo>
                <a:lnTo>
                  <a:pt x="136" y="112"/>
                </a:lnTo>
                <a:lnTo>
                  <a:pt x="142" y="124"/>
                </a:lnTo>
                <a:lnTo>
                  <a:pt x="140" y="130"/>
                </a:lnTo>
                <a:lnTo>
                  <a:pt x="132" y="132"/>
                </a:lnTo>
                <a:lnTo>
                  <a:pt x="122" y="140"/>
                </a:lnTo>
                <a:lnTo>
                  <a:pt x="122" y="148"/>
                </a:lnTo>
                <a:lnTo>
                  <a:pt x="90" y="148"/>
                </a:lnTo>
                <a:lnTo>
                  <a:pt x="76" y="136"/>
                </a:lnTo>
                <a:lnTo>
                  <a:pt x="68" y="136"/>
                </a:lnTo>
                <a:lnTo>
                  <a:pt x="58" y="120"/>
                </a:lnTo>
                <a:lnTo>
                  <a:pt x="22" y="100"/>
                </a:lnTo>
                <a:lnTo>
                  <a:pt x="2" y="96"/>
                </a:lnTo>
                <a:lnTo>
                  <a:pt x="0" y="72"/>
                </a:lnTo>
                <a:lnTo>
                  <a:pt x="32" y="52"/>
                </a:lnTo>
                <a:lnTo>
                  <a:pt x="36" y="20"/>
                </a:lnTo>
                <a:lnTo>
                  <a:pt x="50" y="10"/>
                </a:lnTo>
                <a:lnTo>
                  <a:pt x="50" y="6"/>
                </a:lnTo>
                <a:lnTo>
                  <a:pt x="60" y="0"/>
                </a:lnTo>
                <a:lnTo>
                  <a:pt x="88" y="6"/>
                </a:lnTo>
                <a:lnTo>
                  <a:pt x="90" y="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81" name="Freeform 118">
            <a:extLst>
              <a:ext uri="{FF2B5EF4-FFF2-40B4-BE49-F238E27FC236}">
                <a16:creationId xmlns:a16="http://schemas.microsoft.com/office/drawing/2014/main" id="{5B9A3521-06C7-4B67-BADF-8231B4179A63}"/>
              </a:ext>
            </a:extLst>
          </p:cNvPr>
          <p:cNvSpPr>
            <a:spLocks/>
          </p:cNvSpPr>
          <p:nvPr/>
        </p:nvSpPr>
        <p:spPr bwMode="gray">
          <a:xfrm>
            <a:off x="3151179" y="2071658"/>
            <a:ext cx="20335" cy="18693"/>
          </a:xfrm>
          <a:custGeom>
            <a:avLst/>
            <a:gdLst>
              <a:gd name="T0" fmla="*/ 28 w 28"/>
              <a:gd name="T1" fmla="*/ 4 h 28"/>
              <a:gd name="T2" fmla="*/ 18 w 28"/>
              <a:gd name="T3" fmla="*/ 0 h 28"/>
              <a:gd name="T4" fmla="*/ 14 w 28"/>
              <a:gd name="T5" fmla="*/ 0 h 28"/>
              <a:gd name="T6" fmla="*/ 10 w 28"/>
              <a:gd name="T7" fmla="*/ 2 h 28"/>
              <a:gd name="T8" fmla="*/ 0 w 28"/>
              <a:gd name="T9" fmla="*/ 10 h 28"/>
              <a:gd name="T10" fmla="*/ 0 w 28"/>
              <a:gd name="T11" fmla="*/ 18 h 28"/>
              <a:gd name="T12" fmla="*/ 10 w 28"/>
              <a:gd name="T13" fmla="*/ 20 h 28"/>
              <a:gd name="T14" fmla="*/ 18 w 28"/>
              <a:gd name="T15" fmla="*/ 28 h 28"/>
              <a:gd name="T16" fmla="*/ 26 w 28"/>
              <a:gd name="T17" fmla="*/ 28 h 28"/>
              <a:gd name="T18" fmla="*/ 22 w 28"/>
              <a:gd name="T19" fmla="*/ 18 h 28"/>
              <a:gd name="T20" fmla="*/ 22 w 28"/>
              <a:gd name="T21" fmla="*/ 12 h 28"/>
              <a:gd name="T22" fmla="*/ 28 w 28"/>
              <a:gd name="T23" fmla="*/ 4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8" h="28">
                <a:moveTo>
                  <a:pt x="28" y="4"/>
                </a:moveTo>
                <a:lnTo>
                  <a:pt x="18" y="0"/>
                </a:lnTo>
                <a:lnTo>
                  <a:pt x="14" y="0"/>
                </a:lnTo>
                <a:lnTo>
                  <a:pt x="10" y="2"/>
                </a:lnTo>
                <a:lnTo>
                  <a:pt x="0" y="10"/>
                </a:lnTo>
                <a:lnTo>
                  <a:pt x="0" y="18"/>
                </a:lnTo>
                <a:lnTo>
                  <a:pt x="10" y="20"/>
                </a:lnTo>
                <a:lnTo>
                  <a:pt x="18" y="28"/>
                </a:lnTo>
                <a:lnTo>
                  <a:pt x="26" y="28"/>
                </a:lnTo>
                <a:lnTo>
                  <a:pt x="22" y="18"/>
                </a:lnTo>
                <a:lnTo>
                  <a:pt x="22" y="12"/>
                </a:lnTo>
                <a:lnTo>
                  <a:pt x="28" y="4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82" name="Freeform 119">
            <a:extLst>
              <a:ext uri="{FF2B5EF4-FFF2-40B4-BE49-F238E27FC236}">
                <a16:creationId xmlns:a16="http://schemas.microsoft.com/office/drawing/2014/main" id="{16AB4AF1-85EC-44B7-A2F8-52573BC5B4DD}"/>
              </a:ext>
            </a:extLst>
          </p:cNvPr>
          <p:cNvSpPr>
            <a:spLocks/>
          </p:cNvSpPr>
          <p:nvPr/>
        </p:nvSpPr>
        <p:spPr bwMode="gray">
          <a:xfrm>
            <a:off x="3202016" y="2121061"/>
            <a:ext cx="61004" cy="37386"/>
          </a:xfrm>
          <a:custGeom>
            <a:avLst/>
            <a:gdLst>
              <a:gd name="T0" fmla="*/ 0 w 84"/>
              <a:gd name="T1" fmla="*/ 24 h 56"/>
              <a:gd name="T2" fmla="*/ 8 w 84"/>
              <a:gd name="T3" fmla="*/ 34 h 56"/>
              <a:gd name="T4" fmla="*/ 22 w 84"/>
              <a:gd name="T5" fmla="*/ 50 h 56"/>
              <a:gd name="T6" fmla="*/ 48 w 84"/>
              <a:gd name="T7" fmla="*/ 56 h 56"/>
              <a:gd name="T8" fmla="*/ 66 w 84"/>
              <a:gd name="T9" fmla="*/ 56 h 56"/>
              <a:gd name="T10" fmla="*/ 84 w 84"/>
              <a:gd name="T11" fmla="*/ 24 h 56"/>
              <a:gd name="T12" fmla="*/ 82 w 84"/>
              <a:gd name="T13" fmla="*/ 10 h 56"/>
              <a:gd name="T14" fmla="*/ 80 w 84"/>
              <a:gd name="T15" fmla="*/ 2 h 56"/>
              <a:gd name="T16" fmla="*/ 76 w 84"/>
              <a:gd name="T17" fmla="*/ 0 h 56"/>
              <a:gd name="T18" fmla="*/ 68 w 84"/>
              <a:gd name="T19" fmla="*/ 10 h 56"/>
              <a:gd name="T20" fmla="*/ 58 w 84"/>
              <a:gd name="T21" fmla="*/ 18 h 56"/>
              <a:gd name="T22" fmla="*/ 50 w 84"/>
              <a:gd name="T23" fmla="*/ 28 h 56"/>
              <a:gd name="T24" fmla="*/ 42 w 84"/>
              <a:gd name="T25" fmla="*/ 30 h 56"/>
              <a:gd name="T26" fmla="*/ 32 w 84"/>
              <a:gd name="T27" fmla="*/ 26 h 56"/>
              <a:gd name="T28" fmla="*/ 26 w 84"/>
              <a:gd name="T29" fmla="*/ 30 h 56"/>
              <a:gd name="T30" fmla="*/ 22 w 84"/>
              <a:gd name="T31" fmla="*/ 32 h 56"/>
              <a:gd name="T32" fmla="*/ 14 w 84"/>
              <a:gd name="T33" fmla="*/ 30 h 56"/>
              <a:gd name="T34" fmla="*/ 8 w 84"/>
              <a:gd name="T35" fmla="*/ 24 h 56"/>
              <a:gd name="T36" fmla="*/ 4 w 84"/>
              <a:gd name="T37" fmla="*/ 20 h 56"/>
              <a:gd name="T38" fmla="*/ 0 w 84"/>
              <a:gd name="T39" fmla="*/ 24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84" h="56">
                <a:moveTo>
                  <a:pt x="0" y="24"/>
                </a:moveTo>
                <a:lnTo>
                  <a:pt x="8" y="34"/>
                </a:lnTo>
                <a:lnTo>
                  <a:pt x="22" y="50"/>
                </a:lnTo>
                <a:lnTo>
                  <a:pt x="48" y="56"/>
                </a:lnTo>
                <a:lnTo>
                  <a:pt x="66" y="56"/>
                </a:lnTo>
                <a:lnTo>
                  <a:pt x="84" y="24"/>
                </a:lnTo>
                <a:lnTo>
                  <a:pt x="82" y="10"/>
                </a:lnTo>
                <a:lnTo>
                  <a:pt x="80" y="2"/>
                </a:lnTo>
                <a:lnTo>
                  <a:pt x="76" y="0"/>
                </a:lnTo>
                <a:lnTo>
                  <a:pt x="68" y="10"/>
                </a:lnTo>
                <a:lnTo>
                  <a:pt x="58" y="18"/>
                </a:lnTo>
                <a:lnTo>
                  <a:pt x="50" y="28"/>
                </a:lnTo>
                <a:lnTo>
                  <a:pt x="42" y="30"/>
                </a:lnTo>
                <a:lnTo>
                  <a:pt x="32" y="26"/>
                </a:lnTo>
                <a:lnTo>
                  <a:pt x="26" y="30"/>
                </a:lnTo>
                <a:lnTo>
                  <a:pt x="22" y="32"/>
                </a:lnTo>
                <a:lnTo>
                  <a:pt x="14" y="30"/>
                </a:lnTo>
                <a:lnTo>
                  <a:pt x="8" y="24"/>
                </a:lnTo>
                <a:lnTo>
                  <a:pt x="4" y="20"/>
                </a:lnTo>
                <a:lnTo>
                  <a:pt x="0" y="24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83" name="Freeform 120">
            <a:extLst>
              <a:ext uri="{FF2B5EF4-FFF2-40B4-BE49-F238E27FC236}">
                <a16:creationId xmlns:a16="http://schemas.microsoft.com/office/drawing/2014/main" id="{081DAE54-4899-44E3-9D30-E9940212E4C2}"/>
              </a:ext>
            </a:extLst>
          </p:cNvPr>
          <p:cNvSpPr>
            <a:spLocks/>
          </p:cNvSpPr>
          <p:nvPr/>
        </p:nvSpPr>
        <p:spPr bwMode="gray">
          <a:xfrm>
            <a:off x="3212183" y="2137084"/>
            <a:ext cx="90054" cy="86789"/>
          </a:xfrm>
          <a:custGeom>
            <a:avLst/>
            <a:gdLst>
              <a:gd name="T0" fmla="*/ 52 w 124"/>
              <a:gd name="T1" fmla="*/ 30 h 130"/>
              <a:gd name="T2" fmla="*/ 70 w 124"/>
              <a:gd name="T3" fmla="*/ 0 h 130"/>
              <a:gd name="T4" fmla="*/ 82 w 124"/>
              <a:gd name="T5" fmla="*/ 8 h 130"/>
              <a:gd name="T6" fmla="*/ 90 w 124"/>
              <a:gd name="T7" fmla="*/ 14 h 130"/>
              <a:gd name="T8" fmla="*/ 102 w 124"/>
              <a:gd name="T9" fmla="*/ 16 h 130"/>
              <a:gd name="T10" fmla="*/ 124 w 124"/>
              <a:gd name="T11" fmla="*/ 36 h 130"/>
              <a:gd name="T12" fmla="*/ 116 w 124"/>
              <a:gd name="T13" fmla="*/ 50 h 130"/>
              <a:gd name="T14" fmla="*/ 104 w 124"/>
              <a:gd name="T15" fmla="*/ 64 h 130"/>
              <a:gd name="T16" fmla="*/ 98 w 124"/>
              <a:gd name="T17" fmla="*/ 66 h 130"/>
              <a:gd name="T18" fmla="*/ 86 w 124"/>
              <a:gd name="T19" fmla="*/ 70 h 130"/>
              <a:gd name="T20" fmla="*/ 88 w 124"/>
              <a:gd name="T21" fmla="*/ 80 h 130"/>
              <a:gd name="T22" fmla="*/ 90 w 124"/>
              <a:gd name="T23" fmla="*/ 90 h 130"/>
              <a:gd name="T24" fmla="*/ 80 w 124"/>
              <a:gd name="T25" fmla="*/ 92 h 130"/>
              <a:gd name="T26" fmla="*/ 72 w 124"/>
              <a:gd name="T27" fmla="*/ 98 h 130"/>
              <a:gd name="T28" fmla="*/ 68 w 124"/>
              <a:gd name="T29" fmla="*/ 104 h 130"/>
              <a:gd name="T30" fmla="*/ 68 w 124"/>
              <a:gd name="T31" fmla="*/ 110 h 130"/>
              <a:gd name="T32" fmla="*/ 54 w 124"/>
              <a:gd name="T33" fmla="*/ 112 h 130"/>
              <a:gd name="T34" fmla="*/ 52 w 124"/>
              <a:gd name="T35" fmla="*/ 118 h 130"/>
              <a:gd name="T36" fmla="*/ 46 w 124"/>
              <a:gd name="T37" fmla="*/ 128 h 130"/>
              <a:gd name="T38" fmla="*/ 26 w 124"/>
              <a:gd name="T39" fmla="*/ 126 h 130"/>
              <a:gd name="T40" fmla="*/ 16 w 124"/>
              <a:gd name="T41" fmla="*/ 130 h 130"/>
              <a:gd name="T42" fmla="*/ 0 w 124"/>
              <a:gd name="T43" fmla="*/ 94 h 130"/>
              <a:gd name="T44" fmla="*/ 12 w 124"/>
              <a:gd name="T45" fmla="*/ 84 h 130"/>
              <a:gd name="T46" fmla="*/ 48 w 124"/>
              <a:gd name="T47" fmla="*/ 72 h 130"/>
              <a:gd name="T48" fmla="*/ 56 w 124"/>
              <a:gd name="T49" fmla="*/ 54 h 130"/>
              <a:gd name="T50" fmla="*/ 56 w 124"/>
              <a:gd name="T51" fmla="*/ 40 h 130"/>
              <a:gd name="T52" fmla="*/ 52 w 124"/>
              <a:gd name="T53" fmla="*/ 3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24" h="130">
                <a:moveTo>
                  <a:pt x="52" y="30"/>
                </a:moveTo>
                <a:lnTo>
                  <a:pt x="70" y="0"/>
                </a:lnTo>
                <a:lnTo>
                  <a:pt x="82" y="8"/>
                </a:lnTo>
                <a:lnTo>
                  <a:pt x="90" y="14"/>
                </a:lnTo>
                <a:lnTo>
                  <a:pt x="102" y="16"/>
                </a:lnTo>
                <a:lnTo>
                  <a:pt x="124" y="36"/>
                </a:lnTo>
                <a:lnTo>
                  <a:pt x="116" y="50"/>
                </a:lnTo>
                <a:lnTo>
                  <a:pt x="104" y="64"/>
                </a:lnTo>
                <a:lnTo>
                  <a:pt x="98" y="66"/>
                </a:lnTo>
                <a:lnTo>
                  <a:pt x="86" y="70"/>
                </a:lnTo>
                <a:lnTo>
                  <a:pt x="88" y="80"/>
                </a:lnTo>
                <a:lnTo>
                  <a:pt x="90" y="90"/>
                </a:lnTo>
                <a:lnTo>
                  <a:pt x="80" y="92"/>
                </a:lnTo>
                <a:lnTo>
                  <a:pt x="72" y="98"/>
                </a:lnTo>
                <a:lnTo>
                  <a:pt x="68" y="104"/>
                </a:lnTo>
                <a:lnTo>
                  <a:pt x="68" y="110"/>
                </a:lnTo>
                <a:lnTo>
                  <a:pt x="54" y="112"/>
                </a:lnTo>
                <a:lnTo>
                  <a:pt x="52" y="118"/>
                </a:lnTo>
                <a:lnTo>
                  <a:pt x="46" y="128"/>
                </a:lnTo>
                <a:lnTo>
                  <a:pt x="26" y="126"/>
                </a:lnTo>
                <a:lnTo>
                  <a:pt x="16" y="130"/>
                </a:lnTo>
                <a:lnTo>
                  <a:pt x="0" y="94"/>
                </a:lnTo>
                <a:lnTo>
                  <a:pt x="12" y="84"/>
                </a:lnTo>
                <a:lnTo>
                  <a:pt x="48" y="72"/>
                </a:lnTo>
                <a:lnTo>
                  <a:pt x="56" y="54"/>
                </a:lnTo>
                <a:lnTo>
                  <a:pt x="56" y="40"/>
                </a:lnTo>
                <a:lnTo>
                  <a:pt x="52" y="3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84" name="Freeform 121">
            <a:extLst>
              <a:ext uri="{FF2B5EF4-FFF2-40B4-BE49-F238E27FC236}">
                <a16:creationId xmlns:a16="http://schemas.microsoft.com/office/drawing/2014/main" id="{F0AF0595-8758-4500-B1CD-F1B11CBCE52F}"/>
              </a:ext>
            </a:extLst>
          </p:cNvPr>
          <p:cNvSpPr>
            <a:spLocks/>
          </p:cNvSpPr>
          <p:nvPr/>
        </p:nvSpPr>
        <p:spPr bwMode="gray">
          <a:xfrm>
            <a:off x="3106152" y="2199839"/>
            <a:ext cx="117651" cy="66761"/>
          </a:xfrm>
          <a:custGeom>
            <a:avLst/>
            <a:gdLst>
              <a:gd name="T0" fmla="*/ 50 w 162"/>
              <a:gd name="T1" fmla="*/ 86 h 100"/>
              <a:gd name="T2" fmla="*/ 42 w 162"/>
              <a:gd name="T3" fmla="*/ 92 h 100"/>
              <a:gd name="T4" fmla="*/ 36 w 162"/>
              <a:gd name="T5" fmla="*/ 100 h 100"/>
              <a:gd name="T6" fmla="*/ 16 w 162"/>
              <a:gd name="T7" fmla="*/ 100 h 100"/>
              <a:gd name="T8" fmla="*/ 8 w 162"/>
              <a:gd name="T9" fmla="*/ 96 h 100"/>
              <a:gd name="T10" fmla="*/ 0 w 162"/>
              <a:gd name="T11" fmla="*/ 66 h 100"/>
              <a:gd name="T12" fmla="*/ 0 w 162"/>
              <a:gd name="T13" fmla="*/ 42 h 100"/>
              <a:gd name="T14" fmla="*/ 8 w 162"/>
              <a:gd name="T15" fmla="*/ 24 h 100"/>
              <a:gd name="T16" fmla="*/ 42 w 162"/>
              <a:gd name="T17" fmla="*/ 22 h 100"/>
              <a:gd name="T18" fmla="*/ 72 w 162"/>
              <a:gd name="T19" fmla="*/ 28 h 100"/>
              <a:gd name="T20" fmla="*/ 98 w 162"/>
              <a:gd name="T21" fmla="*/ 4 h 100"/>
              <a:gd name="T22" fmla="*/ 128 w 162"/>
              <a:gd name="T23" fmla="*/ 0 h 100"/>
              <a:gd name="T24" fmla="*/ 146 w 162"/>
              <a:gd name="T25" fmla="*/ 0 h 100"/>
              <a:gd name="T26" fmla="*/ 162 w 162"/>
              <a:gd name="T27" fmla="*/ 36 h 100"/>
              <a:gd name="T28" fmla="*/ 150 w 162"/>
              <a:gd name="T29" fmla="*/ 42 h 100"/>
              <a:gd name="T30" fmla="*/ 142 w 162"/>
              <a:gd name="T31" fmla="*/ 48 h 100"/>
              <a:gd name="T32" fmla="*/ 142 w 162"/>
              <a:gd name="T33" fmla="*/ 56 h 100"/>
              <a:gd name="T34" fmla="*/ 136 w 162"/>
              <a:gd name="T35" fmla="*/ 60 h 100"/>
              <a:gd name="T36" fmla="*/ 114 w 162"/>
              <a:gd name="T37" fmla="*/ 66 h 100"/>
              <a:gd name="T38" fmla="*/ 104 w 162"/>
              <a:gd name="T39" fmla="*/ 68 h 100"/>
              <a:gd name="T40" fmla="*/ 96 w 162"/>
              <a:gd name="T41" fmla="*/ 80 h 100"/>
              <a:gd name="T42" fmla="*/ 78 w 162"/>
              <a:gd name="T43" fmla="*/ 78 h 100"/>
              <a:gd name="T44" fmla="*/ 70 w 162"/>
              <a:gd name="T45" fmla="*/ 88 h 100"/>
              <a:gd name="T46" fmla="*/ 56 w 162"/>
              <a:gd name="T47" fmla="*/ 88 h 100"/>
              <a:gd name="T48" fmla="*/ 50 w 162"/>
              <a:gd name="T49" fmla="*/ 86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62" h="100">
                <a:moveTo>
                  <a:pt x="50" y="86"/>
                </a:moveTo>
                <a:lnTo>
                  <a:pt x="42" y="92"/>
                </a:lnTo>
                <a:lnTo>
                  <a:pt x="36" y="100"/>
                </a:lnTo>
                <a:lnTo>
                  <a:pt x="16" y="100"/>
                </a:lnTo>
                <a:lnTo>
                  <a:pt x="8" y="96"/>
                </a:lnTo>
                <a:lnTo>
                  <a:pt x="0" y="66"/>
                </a:lnTo>
                <a:lnTo>
                  <a:pt x="0" y="42"/>
                </a:lnTo>
                <a:lnTo>
                  <a:pt x="8" y="24"/>
                </a:lnTo>
                <a:lnTo>
                  <a:pt x="42" y="22"/>
                </a:lnTo>
                <a:lnTo>
                  <a:pt x="72" y="28"/>
                </a:lnTo>
                <a:lnTo>
                  <a:pt x="98" y="4"/>
                </a:lnTo>
                <a:lnTo>
                  <a:pt x="128" y="0"/>
                </a:lnTo>
                <a:lnTo>
                  <a:pt x="146" y="0"/>
                </a:lnTo>
                <a:lnTo>
                  <a:pt x="162" y="36"/>
                </a:lnTo>
                <a:lnTo>
                  <a:pt x="150" y="42"/>
                </a:lnTo>
                <a:lnTo>
                  <a:pt x="142" y="48"/>
                </a:lnTo>
                <a:lnTo>
                  <a:pt x="142" y="56"/>
                </a:lnTo>
                <a:lnTo>
                  <a:pt x="136" y="60"/>
                </a:lnTo>
                <a:lnTo>
                  <a:pt x="114" y="66"/>
                </a:lnTo>
                <a:lnTo>
                  <a:pt x="104" y="68"/>
                </a:lnTo>
                <a:lnTo>
                  <a:pt x="96" y="80"/>
                </a:lnTo>
                <a:lnTo>
                  <a:pt x="78" y="78"/>
                </a:lnTo>
                <a:lnTo>
                  <a:pt x="70" y="88"/>
                </a:lnTo>
                <a:lnTo>
                  <a:pt x="56" y="88"/>
                </a:lnTo>
                <a:lnTo>
                  <a:pt x="50" y="8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85" name="Freeform 122">
            <a:extLst>
              <a:ext uri="{FF2B5EF4-FFF2-40B4-BE49-F238E27FC236}">
                <a16:creationId xmlns:a16="http://schemas.microsoft.com/office/drawing/2014/main" id="{4A96C0F1-09EB-4E92-BA15-7E5B90DF84E2}"/>
              </a:ext>
            </a:extLst>
          </p:cNvPr>
          <p:cNvSpPr>
            <a:spLocks/>
          </p:cNvSpPr>
          <p:nvPr/>
        </p:nvSpPr>
        <p:spPr bwMode="gray">
          <a:xfrm>
            <a:off x="3120677" y="1956829"/>
            <a:ext cx="222229" cy="172244"/>
          </a:xfrm>
          <a:custGeom>
            <a:avLst/>
            <a:gdLst>
              <a:gd name="T0" fmla="*/ 80 w 306"/>
              <a:gd name="T1" fmla="*/ 38 h 258"/>
              <a:gd name="T2" fmla="*/ 112 w 306"/>
              <a:gd name="T3" fmla="*/ 56 h 258"/>
              <a:gd name="T4" fmla="*/ 156 w 306"/>
              <a:gd name="T5" fmla="*/ 48 h 258"/>
              <a:gd name="T6" fmla="*/ 204 w 306"/>
              <a:gd name="T7" fmla="*/ 28 h 258"/>
              <a:gd name="T8" fmla="*/ 256 w 306"/>
              <a:gd name="T9" fmla="*/ 52 h 258"/>
              <a:gd name="T10" fmla="*/ 274 w 306"/>
              <a:gd name="T11" fmla="*/ 78 h 258"/>
              <a:gd name="T12" fmla="*/ 262 w 306"/>
              <a:gd name="T13" fmla="*/ 126 h 258"/>
              <a:gd name="T14" fmla="*/ 282 w 306"/>
              <a:gd name="T15" fmla="*/ 150 h 258"/>
              <a:gd name="T16" fmla="*/ 266 w 306"/>
              <a:gd name="T17" fmla="*/ 176 h 258"/>
              <a:gd name="T18" fmla="*/ 286 w 306"/>
              <a:gd name="T19" fmla="*/ 202 h 258"/>
              <a:gd name="T20" fmla="*/ 298 w 306"/>
              <a:gd name="T21" fmla="*/ 224 h 258"/>
              <a:gd name="T22" fmla="*/ 306 w 306"/>
              <a:gd name="T23" fmla="*/ 232 h 258"/>
              <a:gd name="T24" fmla="*/ 278 w 306"/>
              <a:gd name="T25" fmla="*/ 242 h 258"/>
              <a:gd name="T26" fmla="*/ 236 w 306"/>
              <a:gd name="T27" fmla="*/ 254 h 258"/>
              <a:gd name="T28" fmla="*/ 206 w 306"/>
              <a:gd name="T29" fmla="*/ 230 h 258"/>
              <a:gd name="T30" fmla="*/ 188 w 306"/>
              <a:gd name="T31" fmla="*/ 224 h 258"/>
              <a:gd name="T32" fmla="*/ 164 w 306"/>
              <a:gd name="T33" fmla="*/ 234 h 258"/>
              <a:gd name="T34" fmla="*/ 118 w 306"/>
              <a:gd name="T35" fmla="*/ 206 h 258"/>
              <a:gd name="T36" fmla="*/ 98 w 306"/>
              <a:gd name="T37" fmla="*/ 176 h 258"/>
              <a:gd name="T38" fmla="*/ 70 w 306"/>
              <a:gd name="T39" fmla="*/ 176 h 258"/>
              <a:gd name="T40" fmla="*/ 62 w 306"/>
              <a:gd name="T41" fmla="*/ 166 h 258"/>
              <a:gd name="T42" fmla="*/ 60 w 306"/>
              <a:gd name="T43" fmla="*/ 140 h 258"/>
              <a:gd name="T44" fmla="*/ 38 w 306"/>
              <a:gd name="T45" fmla="*/ 126 h 258"/>
              <a:gd name="T46" fmla="*/ 26 w 306"/>
              <a:gd name="T47" fmla="*/ 90 h 258"/>
              <a:gd name="T48" fmla="*/ 30 w 306"/>
              <a:gd name="T49" fmla="*/ 78 h 258"/>
              <a:gd name="T50" fmla="*/ 26 w 306"/>
              <a:gd name="T51" fmla="*/ 70 h 258"/>
              <a:gd name="T52" fmla="*/ 10 w 306"/>
              <a:gd name="T53" fmla="*/ 44 h 258"/>
              <a:gd name="T54" fmla="*/ 4 w 306"/>
              <a:gd name="T55" fmla="*/ 24 h 258"/>
              <a:gd name="T56" fmla="*/ 0 w 306"/>
              <a:gd name="T57" fmla="*/ 8 h 258"/>
              <a:gd name="T58" fmla="*/ 10 w 306"/>
              <a:gd name="T59" fmla="*/ 2 h 258"/>
              <a:gd name="T60" fmla="*/ 32 w 306"/>
              <a:gd name="T61" fmla="*/ 18 h 258"/>
              <a:gd name="T62" fmla="*/ 42 w 306"/>
              <a:gd name="T63" fmla="*/ 14 h 258"/>
              <a:gd name="T64" fmla="*/ 60 w 306"/>
              <a:gd name="T65" fmla="*/ 0 h 258"/>
              <a:gd name="T66" fmla="*/ 64 w 306"/>
              <a:gd name="T67" fmla="*/ 10 h 258"/>
              <a:gd name="T68" fmla="*/ 62 w 306"/>
              <a:gd name="T69" fmla="*/ 18 h 258"/>
              <a:gd name="T70" fmla="*/ 76 w 306"/>
              <a:gd name="T71" fmla="*/ 24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306" h="258">
                <a:moveTo>
                  <a:pt x="76" y="24"/>
                </a:moveTo>
                <a:lnTo>
                  <a:pt x="80" y="38"/>
                </a:lnTo>
                <a:lnTo>
                  <a:pt x="100" y="48"/>
                </a:lnTo>
                <a:lnTo>
                  <a:pt x="112" y="56"/>
                </a:lnTo>
                <a:lnTo>
                  <a:pt x="142" y="56"/>
                </a:lnTo>
                <a:lnTo>
                  <a:pt x="156" y="48"/>
                </a:lnTo>
                <a:lnTo>
                  <a:pt x="178" y="32"/>
                </a:lnTo>
                <a:lnTo>
                  <a:pt x="204" y="28"/>
                </a:lnTo>
                <a:lnTo>
                  <a:pt x="226" y="36"/>
                </a:lnTo>
                <a:lnTo>
                  <a:pt x="256" y="52"/>
                </a:lnTo>
                <a:lnTo>
                  <a:pt x="272" y="56"/>
                </a:lnTo>
                <a:lnTo>
                  <a:pt x="274" y="78"/>
                </a:lnTo>
                <a:lnTo>
                  <a:pt x="264" y="98"/>
                </a:lnTo>
                <a:lnTo>
                  <a:pt x="262" y="126"/>
                </a:lnTo>
                <a:lnTo>
                  <a:pt x="268" y="150"/>
                </a:lnTo>
                <a:lnTo>
                  <a:pt x="282" y="150"/>
                </a:lnTo>
                <a:lnTo>
                  <a:pt x="280" y="162"/>
                </a:lnTo>
                <a:lnTo>
                  <a:pt x="266" y="176"/>
                </a:lnTo>
                <a:lnTo>
                  <a:pt x="272" y="186"/>
                </a:lnTo>
                <a:lnTo>
                  <a:pt x="286" y="202"/>
                </a:lnTo>
                <a:lnTo>
                  <a:pt x="298" y="212"/>
                </a:lnTo>
                <a:lnTo>
                  <a:pt x="298" y="224"/>
                </a:lnTo>
                <a:lnTo>
                  <a:pt x="306" y="224"/>
                </a:lnTo>
                <a:lnTo>
                  <a:pt x="306" y="232"/>
                </a:lnTo>
                <a:lnTo>
                  <a:pt x="292" y="234"/>
                </a:lnTo>
                <a:lnTo>
                  <a:pt x="278" y="242"/>
                </a:lnTo>
                <a:lnTo>
                  <a:pt x="278" y="258"/>
                </a:lnTo>
                <a:lnTo>
                  <a:pt x="236" y="254"/>
                </a:lnTo>
                <a:lnTo>
                  <a:pt x="208" y="246"/>
                </a:lnTo>
                <a:lnTo>
                  <a:pt x="206" y="230"/>
                </a:lnTo>
                <a:lnTo>
                  <a:pt x="196" y="222"/>
                </a:lnTo>
                <a:lnTo>
                  <a:pt x="188" y="224"/>
                </a:lnTo>
                <a:lnTo>
                  <a:pt x="178" y="232"/>
                </a:lnTo>
                <a:lnTo>
                  <a:pt x="164" y="234"/>
                </a:lnTo>
                <a:lnTo>
                  <a:pt x="138" y="224"/>
                </a:lnTo>
                <a:lnTo>
                  <a:pt x="118" y="206"/>
                </a:lnTo>
                <a:lnTo>
                  <a:pt x="104" y="188"/>
                </a:lnTo>
                <a:lnTo>
                  <a:pt x="98" y="176"/>
                </a:lnTo>
                <a:lnTo>
                  <a:pt x="80" y="172"/>
                </a:lnTo>
                <a:lnTo>
                  <a:pt x="70" y="176"/>
                </a:lnTo>
                <a:lnTo>
                  <a:pt x="60" y="172"/>
                </a:lnTo>
                <a:lnTo>
                  <a:pt x="62" y="166"/>
                </a:lnTo>
                <a:lnTo>
                  <a:pt x="56" y="154"/>
                </a:lnTo>
                <a:lnTo>
                  <a:pt x="60" y="140"/>
                </a:lnTo>
                <a:lnTo>
                  <a:pt x="48" y="130"/>
                </a:lnTo>
                <a:lnTo>
                  <a:pt x="38" y="126"/>
                </a:lnTo>
                <a:lnTo>
                  <a:pt x="20" y="104"/>
                </a:lnTo>
                <a:lnTo>
                  <a:pt x="26" y="90"/>
                </a:lnTo>
                <a:lnTo>
                  <a:pt x="32" y="86"/>
                </a:lnTo>
                <a:lnTo>
                  <a:pt x="30" y="78"/>
                </a:lnTo>
                <a:lnTo>
                  <a:pt x="34" y="72"/>
                </a:lnTo>
                <a:lnTo>
                  <a:pt x="26" y="70"/>
                </a:lnTo>
                <a:lnTo>
                  <a:pt x="16" y="54"/>
                </a:lnTo>
                <a:lnTo>
                  <a:pt x="10" y="44"/>
                </a:lnTo>
                <a:lnTo>
                  <a:pt x="6" y="34"/>
                </a:lnTo>
                <a:lnTo>
                  <a:pt x="4" y="24"/>
                </a:lnTo>
                <a:lnTo>
                  <a:pt x="2" y="16"/>
                </a:lnTo>
                <a:lnTo>
                  <a:pt x="0" y="8"/>
                </a:lnTo>
                <a:lnTo>
                  <a:pt x="2" y="4"/>
                </a:lnTo>
                <a:lnTo>
                  <a:pt x="10" y="2"/>
                </a:lnTo>
                <a:lnTo>
                  <a:pt x="24" y="14"/>
                </a:lnTo>
                <a:lnTo>
                  <a:pt x="32" y="18"/>
                </a:lnTo>
                <a:lnTo>
                  <a:pt x="34" y="12"/>
                </a:lnTo>
                <a:lnTo>
                  <a:pt x="42" y="14"/>
                </a:lnTo>
                <a:lnTo>
                  <a:pt x="48" y="10"/>
                </a:lnTo>
                <a:lnTo>
                  <a:pt x="60" y="0"/>
                </a:lnTo>
                <a:lnTo>
                  <a:pt x="64" y="2"/>
                </a:lnTo>
                <a:lnTo>
                  <a:pt x="64" y="10"/>
                </a:lnTo>
                <a:lnTo>
                  <a:pt x="68" y="16"/>
                </a:lnTo>
                <a:lnTo>
                  <a:pt x="62" y="18"/>
                </a:lnTo>
                <a:lnTo>
                  <a:pt x="68" y="24"/>
                </a:lnTo>
                <a:lnTo>
                  <a:pt x="76" y="24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86" name="Freeform 123">
            <a:extLst>
              <a:ext uri="{FF2B5EF4-FFF2-40B4-BE49-F238E27FC236}">
                <a16:creationId xmlns:a16="http://schemas.microsoft.com/office/drawing/2014/main" id="{47AC0E06-12DC-4582-AE65-B33835872270}"/>
              </a:ext>
            </a:extLst>
          </p:cNvPr>
          <p:cNvSpPr>
            <a:spLocks/>
          </p:cNvSpPr>
          <p:nvPr/>
        </p:nvSpPr>
        <p:spPr bwMode="gray">
          <a:xfrm>
            <a:off x="3310952" y="1971516"/>
            <a:ext cx="164130" cy="108153"/>
          </a:xfrm>
          <a:custGeom>
            <a:avLst/>
            <a:gdLst>
              <a:gd name="T0" fmla="*/ 12 w 226"/>
              <a:gd name="T1" fmla="*/ 56 h 162"/>
              <a:gd name="T2" fmla="*/ 24 w 226"/>
              <a:gd name="T3" fmla="*/ 56 h 162"/>
              <a:gd name="T4" fmla="*/ 34 w 226"/>
              <a:gd name="T5" fmla="*/ 60 h 162"/>
              <a:gd name="T6" fmla="*/ 44 w 226"/>
              <a:gd name="T7" fmla="*/ 48 h 162"/>
              <a:gd name="T8" fmla="*/ 56 w 226"/>
              <a:gd name="T9" fmla="*/ 44 h 162"/>
              <a:gd name="T10" fmla="*/ 68 w 226"/>
              <a:gd name="T11" fmla="*/ 26 h 162"/>
              <a:gd name="T12" fmla="*/ 84 w 226"/>
              <a:gd name="T13" fmla="*/ 20 h 162"/>
              <a:gd name="T14" fmla="*/ 96 w 226"/>
              <a:gd name="T15" fmla="*/ 20 h 162"/>
              <a:gd name="T16" fmla="*/ 116 w 226"/>
              <a:gd name="T17" fmla="*/ 26 h 162"/>
              <a:gd name="T18" fmla="*/ 126 w 226"/>
              <a:gd name="T19" fmla="*/ 30 h 162"/>
              <a:gd name="T20" fmla="*/ 146 w 226"/>
              <a:gd name="T21" fmla="*/ 18 h 162"/>
              <a:gd name="T22" fmla="*/ 154 w 226"/>
              <a:gd name="T23" fmla="*/ 16 h 162"/>
              <a:gd name="T24" fmla="*/ 164 w 226"/>
              <a:gd name="T25" fmla="*/ 0 h 162"/>
              <a:gd name="T26" fmla="*/ 172 w 226"/>
              <a:gd name="T27" fmla="*/ 6 h 162"/>
              <a:gd name="T28" fmla="*/ 174 w 226"/>
              <a:gd name="T29" fmla="*/ 18 h 162"/>
              <a:gd name="T30" fmla="*/ 172 w 226"/>
              <a:gd name="T31" fmla="*/ 26 h 162"/>
              <a:gd name="T32" fmla="*/ 172 w 226"/>
              <a:gd name="T33" fmla="*/ 32 h 162"/>
              <a:gd name="T34" fmla="*/ 182 w 226"/>
              <a:gd name="T35" fmla="*/ 30 h 162"/>
              <a:gd name="T36" fmla="*/ 190 w 226"/>
              <a:gd name="T37" fmla="*/ 26 h 162"/>
              <a:gd name="T38" fmla="*/ 198 w 226"/>
              <a:gd name="T39" fmla="*/ 20 h 162"/>
              <a:gd name="T40" fmla="*/ 226 w 226"/>
              <a:gd name="T41" fmla="*/ 20 h 162"/>
              <a:gd name="T42" fmla="*/ 226 w 226"/>
              <a:gd name="T43" fmla="*/ 28 h 162"/>
              <a:gd name="T44" fmla="*/ 214 w 226"/>
              <a:gd name="T45" fmla="*/ 30 h 162"/>
              <a:gd name="T46" fmla="*/ 198 w 226"/>
              <a:gd name="T47" fmla="*/ 30 h 162"/>
              <a:gd name="T48" fmla="*/ 190 w 226"/>
              <a:gd name="T49" fmla="*/ 30 h 162"/>
              <a:gd name="T50" fmla="*/ 186 w 226"/>
              <a:gd name="T51" fmla="*/ 32 h 162"/>
              <a:gd name="T52" fmla="*/ 174 w 226"/>
              <a:gd name="T53" fmla="*/ 40 h 162"/>
              <a:gd name="T54" fmla="*/ 168 w 226"/>
              <a:gd name="T55" fmla="*/ 46 h 162"/>
              <a:gd name="T56" fmla="*/ 172 w 226"/>
              <a:gd name="T57" fmla="*/ 52 h 162"/>
              <a:gd name="T58" fmla="*/ 174 w 226"/>
              <a:gd name="T59" fmla="*/ 58 h 162"/>
              <a:gd name="T60" fmla="*/ 172 w 226"/>
              <a:gd name="T61" fmla="*/ 68 h 162"/>
              <a:gd name="T62" fmla="*/ 168 w 226"/>
              <a:gd name="T63" fmla="*/ 78 h 162"/>
              <a:gd name="T64" fmla="*/ 152 w 226"/>
              <a:gd name="T65" fmla="*/ 84 h 162"/>
              <a:gd name="T66" fmla="*/ 148 w 226"/>
              <a:gd name="T67" fmla="*/ 96 h 162"/>
              <a:gd name="T68" fmla="*/ 142 w 226"/>
              <a:gd name="T69" fmla="*/ 100 h 162"/>
              <a:gd name="T70" fmla="*/ 138 w 226"/>
              <a:gd name="T71" fmla="*/ 110 h 162"/>
              <a:gd name="T72" fmla="*/ 138 w 226"/>
              <a:gd name="T73" fmla="*/ 124 h 162"/>
              <a:gd name="T74" fmla="*/ 114 w 226"/>
              <a:gd name="T75" fmla="*/ 124 h 162"/>
              <a:gd name="T76" fmla="*/ 110 w 226"/>
              <a:gd name="T77" fmla="*/ 132 h 162"/>
              <a:gd name="T78" fmla="*/ 94 w 226"/>
              <a:gd name="T79" fmla="*/ 132 h 162"/>
              <a:gd name="T80" fmla="*/ 90 w 226"/>
              <a:gd name="T81" fmla="*/ 138 h 162"/>
              <a:gd name="T82" fmla="*/ 88 w 226"/>
              <a:gd name="T83" fmla="*/ 156 h 162"/>
              <a:gd name="T84" fmla="*/ 78 w 226"/>
              <a:gd name="T85" fmla="*/ 158 h 162"/>
              <a:gd name="T86" fmla="*/ 42 w 226"/>
              <a:gd name="T87" fmla="*/ 162 h 162"/>
              <a:gd name="T88" fmla="*/ 24 w 226"/>
              <a:gd name="T89" fmla="*/ 162 h 162"/>
              <a:gd name="T90" fmla="*/ 18 w 226"/>
              <a:gd name="T91" fmla="*/ 156 h 162"/>
              <a:gd name="T92" fmla="*/ 8 w 226"/>
              <a:gd name="T93" fmla="*/ 160 h 162"/>
              <a:gd name="T94" fmla="*/ 4 w 226"/>
              <a:gd name="T95" fmla="*/ 154 h 162"/>
              <a:gd name="T96" fmla="*/ 18 w 226"/>
              <a:gd name="T97" fmla="*/ 140 h 162"/>
              <a:gd name="T98" fmla="*/ 20 w 226"/>
              <a:gd name="T99" fmla="*/ 128 h 162"/>
              <a:gd name="T100" fmla="*/ 6 w 226"/>
              <a:gd name="T101" fmla="*/ 128 h 162"/>
              <a:gd name="T102" fmla="*/ 4 w 226"/>
              <a:gd name="T103" fmla="*/ 114 h 162"/>
              <a:gd name="T104" fmla="*/ 0 w 226"/>
              <a:gd name="T105" fmla="*/ 104 h 162"/>
              <a:gd name="T106" fmla="*/ 2 w 226"/>
              <a:gd name="T107" fmla="*/ 76 h 162"/>
              <a:gd name="T108" fmla="*/ 12 w 226"/>
              <a:gd name="T109" fmla="*/ 56 h 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26" h="162">
                <a:moveTo>
                  <a:pt x="12" y="56"/>
                </a:moveTo>
                <a:lnTo>
                  <a:pt x="24" y="56"/>
                </a:lnTo>
                <a:lnTo>
                  <a:pt x="34" y="60"/>
                </a:lnTo>
                <a:lnTo>
                  <a:pt x="44" y="48"/>
                </a:lnTo>
                <a:lnTo>
                  <a:pt x="56" y="44"/>
                </a:lnTo>
                <a:lnTo>
                  <a:pt x="68" y="26"/>
                </a:lnTo>
                <a:lnTo>
                  <a:pt x="84" y="20"/>
                </a:lnTo>
                <a:lnTo>
                  <a:pt x="96" y="20"/>
                </a:lnTo>
                <a:lnTo>
                  <a:pt x="116" y="26"/>
                </a:lnTo>
                <a:lnTo>
                  <a:pt x="126" y="30"/>
                </a:lnTo>
                <a:lnTo>
                  <a:pt x="146" y="18"/>
                </a:lnTo>
                <a:lnTo>
                  <a:pt x="154" y="16"/>
                </a:lnTo>
                <a:lnTo>
                  <a:pt x="164" y="0"/>
                </a:lnTo>
                <a:lnTo>
                  <a:pt x="172" y="6"/>
                </a:lnTo>
                <a:lnTo>
                  <a:pt x="174" y="18"/>
                </a:lnTo>
                <a:lnTo>
                  <a:pt x="172" y="26"/>
                </a:lnTo>
                <a:lnTo>
                  <a:pt x="172" y="32"/>
                </a:lnTo>
                <a:lnTo>
                  <a:pt x="182" y="30"/>
                </a:lnTo>
                <a:lnTo>
                  <a:pt x="190" y="26"/>
                </a:lnTo>
                <a:lnTo>
                  <a:pt x="198" y="20"/>
                </a:lnTo>
                <a:lnTo>
                  <a:pt x="226" y="20"/>
                </a:lnTo>
                <a:lnTo>
                  <a:pt x="226" y="28"/>
                </a:lnTo>
                <a:lnTo>
                  <a:pt x="214" y="30"/>
                </a:lnTo>
                <a:lnTo>
                  <a:pt x="198" y="30"/>
                </a:lnTo>
                <a:lnTo>
                  <a:pt x="190" y="30"/>
                </a:lnTo>
                <a:lnTo>
                  <a:pt x="186" y="32"/>
                </a:lnTo>
                <a:lnTo>
                  <a:pt x="174" y="40"/>
                </a:lnTo>
                <a:lnTo>
                  <a:pt x="168" y="46"/>
                </a:lnTo>
                <a:lnTo>
                  <a:pt x="172" y="52"/>
                </a:lnTo>
                <a:lnTo>
                  <a:pt x="174" y="58"/>
                </a:lnTo>
                <a:lnTo>
                  <a:pt x="172" y="68"/>
                </a:lnTo>
                <a:lnTo>
                  <a:pt x="168" y="78"/>
                </a:lnTo>
                <a:lnTo>
                  <a:pt x="152" y="84"/>
                </a:lnTo>
                <a:lnTo>
                  <a:pt x="148" y="96"/>
                </a:lnTo>
                <a:lnTo>
                  <a:pt x="142" y="100"/>
                </a:lnTo>
                <a:lnTo>
                  <a:pt x="138" y="110"/>
                </a:lnTo>
                <a:lnTo>
                  <a:pt x="138" y="124"/>
                </a:lnTo>
                <a:lnTo>
                  <a:pt x="114" y="124"/>
                </a:lnTo>
                <a:lnTo>
                  <a:pt x="110" y="132"/>
                </a:lnTo>
                <a:lnTo>
                  <a:pt x="94" y="132"/>
                </a:lnTo>
                <a:lnTo>
                  <a:pt x="90" y="138"/>
                </a:lnTo>
                <a:lnTo>
                  <a:pt x="88" y="156"/>
                </a:lnTo>
                <a:lnTo>
                  <a:pt x="78" y="158"/>
                </a:lnTo>
                <a:lnTo>
                  <a:pt x="42" y="162"/>
                </a:lnTo>
                <a:lnTo>
                  <a:pt x="24" y="162"/>
                </a:lnTo>
                <a:lnTo>
                  <a:pt x="18" y="156"/>
                </a:lnTo>
                <a:lnTo>
                  <a:pt x="8" y="160"/>
                </a:lnTo>
                <a:lnTo>
                  <a:pt x="4" y="154"/>
                </a:lnTo>
                <a:lnTo>
                  <a:pt x="18" y="140"/>
                </a:lnTo>
                <a:lnTo>
                  <a:pt x="20" y="128"/>
                </a:lnTo>
                <a:lnTo>
                  <a:pt x="6" y="128"/>
                </a:lnTo>
                <a:lnTo>
                  <a:pt x="4" y="114"/>
                </a:lnTo>
                <a:lnTo>
                  <a:pt x="0" y="104"/>
                </a:lnTo>
                <a:lnTo>
                  <a:pt x="2" y="76"/>
                </a:lnTo>
                <a:lnTo>
                  <a:pt x="12" y="56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87" name="Freeform 124">
            <a:extLst>
              <a:ext uri="{FF2B5EF4-FFF2-40B4-BE49-F238E27FC236}">
                <a16:creationId xmlns:a16="http://schemas.microsoft.com/office/drawing/2014/main" id="{5E48DEDA-4FBC-49EE-8681-C06B20E9484E}"/>
              </a:ext>
            </a:extLst>
          </p:cNvPr>
          <p:cNvSpPr>
            <a:spLocks/>
          </p:cNvSpPr>
          <p:nvPr/>
        </p:nvSpPr>
        <p:spPr bwMode="gray">
          <a:xfrm>
            <a:off x="3316762" y="1990209"/>
            <a:ext cx="185917" cy="154886"/>
          </a:xfrm>
          <a:custGeom>
            <a:avLst/>
            <a:gdLst>
              <a:gd name="T0" fmla="*/ 8 w 256"/>
              <a:gd name="T1" fmla="*/ 192 h 232"/>
              <a:gd name="T2" fmla="*/ 36 w 256"/>
              <a:gd name="T3" fmla="*/ 182 h 232"/>
              <a:gd name="T4" fmla="*/ 28 w 256"/>
              <a:gd name="T5" fmla="*/ 174 h 232"/>
              <a:gd name="T6" fmla="*/ 16 w 256"/>
              <a:gd name="T7" fmla="*/ 152 h 232"/>
              <a:gd name="T8" fmla="*/ 10 w 256"/>
              <a:gd name="T9" fmla="*/ 128 h 232"/>
              <a:gd name="T10" fmla="*/ 34 w 256"/>
              <a:gd name="T11" fmla="*/ 134 h 232"/>
              <a:gd name="T12" fmla="*/ 70 w 256"/>
              <a:gd name="T13" fmla="*/ 130 h 232"/>
              <a:gd name="T14" fmla="*/ 82 w 256"/>
              <a:gd name="T15" fmla="*/ 110 h 232"/>
              <a:gd name="T16" fmla="*/ 102 w 256"/>
              <a:gd name="T17" fmla="*/ 104 h 232"/>
              <a:gd name="T18" fmla="*/ 130 w 256"/>
              <a:gd name="T19" fmla="*/ 96 h 232"/>
              <a:gd name="T20" fmla="*/ 134 w 256"/>
              <a:gd name="T21" fmla="*/ 72 h 232"/>
              <a:gd name="T22" fmla="*/ 144 w 256"/>
              <a:gd name="T23" fmla="*/ 56 h 232"/>
              <a:gd name="T24" fmla="*/ 166 w 256"/>
              <a:gd name="T25" fmla="*/ 30 h 232"/>
              <a:gd name="T26" fmla="*/ 166 w 256"/>
              <a:gd name="T27" fmla="*/ 12 h 232"/>
              <a:gd name="T28" fmla="*/ 190 w 256"/>
              <a:gd name="T29" fmla="*/ 2 h 232"/>
              <a:gd name="T30" fmla="*/ 218 w 256"/>
              <a:gd name="T31" fmla="*/ 0 h 232"/>
              <a:gd name="T32" fmla="*/ 236 w 256"/>
              <a:gd name="T33" fmla="*/ 6 h 232"/>
              <a:gd name="T34" fmla="*/ 256 w 256"/>
              <a:gd name="T35" fmla="*/ 24 h 232"/>
              <a:gd name="T36" fmla="*/ 250 w 256"/>
              <a:gd name="T37" fmla="*/ 42 h 232"/>
              <a:gd name="T38" fmla="*/ 204 w 256"/>
              <a:gd name="T39" fmla="*/ 42 h 232"/>
              <a:gd name="T40" fmla="*/ 214 w 256"/>
              <a:gd name="T41" fmla="*/ 78 h 232"/>
              <a:gd name="T42" fmla="*/ 216 w 256"/>
              <a:gd name="T43" fmla="*/ 92 h 232"/>
              <a:gd name="T44" fmla="*/ 172 w 256"/>
              <a:gd name="T45" fmla="*/ 160 h 232"/>
              <a:gd name="T46" fmla="*/ 150 w 256"/>
              <a:gd name="T47" fmla="*/ 160 h 232"/>
              <a:gd name="T48" fmla="*/ 132 w 256"/>
              <a:gd name="T49" fmla="*/ 172 h 232"/>
              <a:gd name="T50" fmla="*/ 140 w 256"/>
              <a:gd name="T51" fmla="*/ 182 h 232"/>
              <a:gd name="T52" fmla="*/ 150 w 256"/>
              <a:gd name="T53" fmla="*/ 202 h 232"/>
              <a:gd name="T54" fmla="*/ 156 w 256"/>
              <a:gd name="T55" fmla="*/ 220 h 232"/>
              <a:gd name="T56" fmla="*/ 138 w 256"/>
              <a:gd name="T57" fmla="*/ 226 h 232"/>
              <a:gd name="T58" fmla="*/ 122 w 256"/>
              <a:gd name="T59" fmla="*/ 220 h 232"/>
              <a:gd name="T60" fmla="*/ 104 w 256"/>
              <a:gd name="T61" fmla="*/ 228 h 232"/>
              <a:gd name="T62" fmla="*/ 86 w 256"/>
              <a:gd name="T63" fmla="*/ 200 h 232"/>
              <a:gd name="T64" fmla="*/ 34 w 256"/>
              <a:gd name="T65" fmla="*/ 210 h 2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56" h="232">
                <a:moveTo>
                  <a:pt x="8" y="208"/>
                </a:moveTo>
                <a:lnTo>
                  <a:pt x="8" y="192"/>
                </a:lnTo>
                <a:lnTo>
                  <a:pt x="22" y="184"/>
                </a:lnTo>
                <a:lnTo>
                  <a:pt x="36" y="182"/>
                </a:lnTo>
                <a:lnTo>
                  <a:pt x="36" y="174"/>
                </a:lnTo>
                <a:lnTo>
                  <a:pt x="28" y="174"/>
                </a:lnTo>
                <a:lnTo>
                  <a:pt x="28" y="162"/>
                </a:lnTo>
                <a:lnTo>
                  <a:pt x="16" y="152"/>
                </a:lnTo>
                <a:lnTo>
                  <a:pt x="0" y="132"/>
                </a:lnTo>
                <a:lnTo>
                  <a:pt x="10" y="128"/>
                </a:lnTo>
                <a:lnTo>
                  <a:pt x="16" y="134"/>
                </a:lnTo>
                <a:lnTo>
                  <a:pt x="34" y="134"/>
                </a:lnTo>
                <a:lnTo>
                  <a:pt x="54" y="132"/>
                </a:lnTo>
                <a:lnTo>
                  <a:pt x="70" y="130"/>
                </a:lnTo>
                <a:lnTo>
                  <a:pt x="80" y="128"/>
                </a:lnTo>
                <a:lnTo>
                  <a:pt x="82" y="110"/>
                </a:lnTo>
                <a:lnTo>
                  <a:pt x="86" y="104"/>
                </a:lnTo>
                <a:lnTo>
                  <a:pt x="102" y="104"/>
                </a:lnTo>
                <a:lnTo>
                  <a:pt x="106" y="96"/>
                </a:lnTo>
                <a:lnTo>
                  <a:pt x="130" y="96"/>
                </a:lnTo>
                <a:lnTo>
                  <a:pt x="130" y="82"/>
                </a:lnTo>
                <a:lnTo>
                  <a:pt x="134" y="72"/>
                </a:lnTo>
                <a:lnTo>
                  <a:pt x="140" y="68"/>
                </a:lnTo>
                <a:lnTo>
                  <a:pt x="144" y="56"/>
                </a:lnTo>
                <a:lnTo>
                  <a:pt x="160" y="50"/>
                </a:lnTo>
                <a:lnTo>
                  <a:pt x="166" y="30"/>
                </a:lnTo>
                <a:lnTo>
                  <a:pt x="160" y="18"/>
                </a:lnTo>
                <a:lnTo>
                  <a:pt x="166" y="12"/>
                </a:lnTo>
                <a:lnTo>
                  <a:pt x="182" y="2"/>
                </a:lnTo>
                <a:lnTo>
                  <a:pt x="190" y="2"/>
                </a:lnTo>
                <a:lnTo>
                  <a:pt x="206" y="2"/>
                </a:lnTo>
                <a:lnTo>
                  <a:pt x="218" y="0"/>
                </a:lnTo>
                <a:lnTo>
                  <a:pt x="224" y="2"/>
                </a:lnTo>
                <a:lnTo>
                  <a:pt x="236" y="6"/>
                </a:lnTo>
                <a:lnTo>
                  <a:pt x="236" y="16"/>
                </a:lnTo>
                <a:lnTo>
                  <a:pt x="256" y="24"/>
                </a:lnTo>
                <a:lnTo>
                  <a:pt x="254" y="30"/>
                </a:lnTo>
                <a:lnTo>
                  <a:pt x="250" y="42"/>
                </a:lnTo>
                <a:lnTo>
                  <a:pt x="234" y="46"/>
                </a:lnTo>
                <a:lnTo>
                  <a:pt x="204" y="42"/>
                </a:lnTo>
                <a:lnTo>
                  <a:pt x="206" y="72"/>
                </a:lnTo>
                <a:lnTo>
                  <a:pt x="214" y="78"/>
                </a:lnTo>
                <a:lnTo>
                  <a:pt x="222" y="86"/>
                </a:lnTo>
                <a:lnTo>
                  <a:pt x="216" y="92"/>
                </a:lnTo>
                <a:lnTo>
                  <a:pt x="214" y="106"/>
                </a:lnTo>
                <a:lnTo>
                  <a:pt x="172" y="160"/>
                </a:lnTo>
                <a:lnTo>
                  <a:pt x="158" y="164"/>
                </a:lnTo>
                <a:lnTo>
                  <a:pt x="150" y="160"/>
                </a:lnTo>
                <a:lnTo>
                  <a:pt x="142" y="160"/>
                </a:lnTo>
                <a:lnTo>
                  <a:pt x="132" y="172"/>
                </a:lnTo>
                <a:lnTo>
                  <a:pt x="132" y="182"/>
                </a:lnTo>
                <a:lnTo>
                  <a:pt x="140" y="182"/>
                </a:lnTo>
                <a:lnTo>
                  <a:pt x="144" y="196"/>
                </a:lnTo>
                <a:lnTo>
                  <a:pt x="150" y="202"/>
                </a:lnTo>
                <a:lnTo>
                  <a:pt x="156" y="210"/>
                </a:lnTo>
                <a:lnTo>
                  <a:pt x="156" y="220"/>
                </a:lnTo>
                <a:lnTo>
                  <a:pt x="142" y="220"/>
                </a:lnTo>
                <a:lnTo>
                  <a:pt x="138" y="226"/>
                </a:lnTo>
                <a:lnTo>
                  <a:pt x="130" y="220"/>
                </a:lnTo>
                <a:lnTo>
                  <a:pt x="122" y="220"/>
                </a:lnTo>
                <a:lnTo>
                  <a:pt x="116" y="232"/>
                </a:lnTo>
                <a:lnTo>
                  <a:pt x="104" y="228"/>
                </a:lnTo>
                <a:lnTo>
                  <a:pt x="86" y="204"/>
                </a:lnTo>
                <a:lnTo>
                  <a:pt x="86" y="200"/>
                </a:lnTo>
                <a:lnTo>
                  <a:pt x="38" y="204"/>
                </a:lnTo>
                <a:lnTo>
                  <a:pt x="34" y="210"/>
                </a:lnTo>
                <a:lnTo>
                  <a:pt x="8" y="208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88" name="Freeform 125">
            <a:extLst>
              <a:ext uri="{FF2B5EF4-FFF2-40B4-BE49-F238E27FC236}">
                <a16:creationId xmlns:a16="http://schemas.microsoft.com/office/drawing/2014/main" id="{755A61BF-2A7D-4348-87ED-FFEB426F44D6}"/>
              </a:ext>
            </a:extLst>
          </p:cNvPr>
          <p:cNvSpPr>
            <a:spLocks/>
          </p:cNvSpPr>
          <p:nvPr/>
        </p:nvSpPr>
        <p:spPr bwMode="gray">
          <a:xfrm>
            <a:off x="3014646" y="2032937"/>
            <a:ext cx="49384" cy="50738"/>
          </a:xfrm>
          <a:custGeom>
            <a:avLst/>
            <a:gdLst>
              <a:gd name="T0" fmla="*/ 66 w 68"/>
              <a:gd name="T1" fmla="*/ 0 h 76"/>
              <a:gd name="T2" fmla="*/ 68 w 68"/>
              <a:gd name="T3" fmla="*/ 24 h 76"/>
              <a:gd name="T4" fmla="*/ 66 w 68"/>
              <a:gd name="T5" fmla="*/ 30 h 76"/>
              <a:gd name="T6" fmla="*/ 38 w 68"/>
              <a:gd name="T7" fmla="*/ 34 h 76"/>
              <a:gd name="T8" fmla="*/ 50 w 68"/>
              <a:gd name="T9" fmla="*/ 50 h 76"/>
              <a:gd name="T10" fmla="*/ 44 w 68"/>
              <a:gd name="T11" fmla="*/ 56 h 76"/>
              <a:gd name="T12" fmla="*/ 42 w 68"/>
              <a:gd name="T13" fmla="*/ 62 h 76"/>
              <a:gd name="T14" fmla="*/ 30 w 68"/>
              <a:gd name="T15" fmla="*/ 64 h 76"/>
              <a:gd name="T16" fmla="*/ 24 w 68"/>
              <a:gd name="T17" fmla="*/ 72 h 76"/>
              <a:gd name="T18" fmla="*/ 20 w 68"/>
              <a:gd name="T19" fmla="*/ 76 h 76"/>
              <a:gd name="T20" fmla="*/ 0 w 68"/>
              <a:gd name="T21" fmla="*/ 70 h 76"/>
              <a:gd name="T22" fmla="*/ 6 w 68"/>
              <a:gd name="T23" fmla="*/ 58 h 76"/>
              <a:gd name="T24" fmla="*/ 8 w 68"/>
              <a:gd name="T25" fmla="*/ 48 h 76"/>
              <a:gd name="T26" fmla="*/ 8 w 68"/>
              <a:gd name="T27" fmla="*/ 36 h 76"/>
              <a:gd name="T28" fmla="*/ 10 w 68"/>
              <a:gd name="T29" fmla="*/ 28 h 76"/>
              <a:gd name="T30" fmla="*/ 10 w 68"/>
              <a:gd name="T31" fmla="*/ 20 h 76"/>
              <a:gd name="T32" fmla="*/ 12 w 68"/>
              <a:gd name="T33" fmla="*/ 14 h 76"/>
              <a:gd name="T34" fmla="*/ 16 w 68"/>
              <a:gd name="T35" fmla="*/ 16 h 76"/>
              <a:gd name="T36" fmla="*/ 20 w 68"/>
              <a:gd name="T37" fmla="*/ 16 h 76"/>
              <a:gd name="T38" fmla="*/ 28 w 68"/>
              <a:gd name="T39" fmla="*/ 20 h 76"/>
              <a:gd name="T40" fmla="*/ 36 w 68"/>
              <a:gd name="T41" fmla="*/ 18 h 76"/>
              <a:gd name="T42" fmla="*/ 66 w 68"/>
              <a:gd name="T43" fmla="*/ 0 h 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8" h="76">
                <a:moveTo>
                  <a:pt x="66" y="0"/>
                </a:moveTo>
                <a:lnTo>
                  <a:pt x="68" y="24"/>
                </a:lnTo>
                <a:lnTo>
                  <a:pt x="66" y="30"/>
                </a:lnTo>
                <a:lnTo>
                  <a:pt x="38" y="34"/>
                </a:lnTo>
                <a:lnTo>
                  <a:pt x="50" y="50"/>
                </a:lnTo>
                <a:lnTo>
                  <a:pt x="44" y="56"/>
                </a:lnTo>
                <a:lnTo>
                  <a:pt x="42" y="62"/>
                </a:lnTo>
                <a:lnTo>
                  <a:pt x="30" y="64"/>
                </a:lnTo>
                <a:lnTo>
                  <a:pt x="24" y="72"/>
                </a:lnTo>
                <a:lnTo>
                  <a:pt x="20" y="76"/>
                </a:lnTo>
                <a:lnTo>
                  <a:pt x="0" y="70"/>
                </a:lnTo>
                <a:lnTo>
                  <a:pt x="6" y="58"/>
                </a:lnTo>
                <a:lnTo>
                  <a:pt x="8" y="48"/>
                </a:lnTo>
                <a:lnTo>
                  <a:pt x="8" y="36"/>
                </a:lnTo>
                <a:lnTo>
                  <a:pt x="10" y="28"/>
                </a:lnTo>
                <a:lnTo>
                  <a:pt x="10" y="20"/>
                </a:lnTo>
                <a:lnTo>
                  <a:pt x="12" y="14"/>
                </a:lnTo>
                <a:lnTo>
                  <a:pt x="16" y="16"/>
                </a:lnTo>
                <a:lnTo>
                  <a:pt x="20" y="16"/>
                </a:lnTo>
                <a:lnTo>
                  <a:pt x="28" y="20"/>
                </a:lnTo>
                <a:lnTo>
                  <a:pt x="36" y="18"/>
                </a:lnTo>
                <a:lnTo>
                  <a:pt x="66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89" name="Freeform 126">
            <a:extLst>
              <a:ext uri="{FF2B5EF4-FFF2-40B4-BE49-F238E27FC236}">
                <a16:creationId xmlns:a16="http://schemas.microsoft.com/office/drawing/2014/main" id="{A362E0D8-7E19-4066-86C1-959D416C7089}"/>
              </a:ext>
            </a:extLst>
          </p:cNvPr>
          <p:cNvSpPr>
            <a:spLocks/>
          </p:cNvSpPr>
          <p:nvPr/>
        </p:nvSpPr>
        <p:spPr bwMode="gray">
          <a:xfrm>
            <a:off x="3013193" y="2048959"/>
            <a:ext cx="239659" cy="178920"/>
          </a:xfrm>
          <a:custGeom>
            <a:avLst/>
            <a:gdLst>
              <a:gd name="T0" fmla="*/ 0 w 330"/>
              <a:gd name="T1" fmla="*/ 68 h 268"/>
              <a:gd name="T2" fmla="*/ 4 w 330"/>
              <a:gd name="T3" fmla="*/ 46 h 268"/>
              <a:gd name="T4" fmla="*/ 22 w 330"/>
              <a:gd name="T5" fmla="*/ 52 h 268"/>
              <a:gd name="T6" fmla="*/ 26 w 330"/>
              <a:gd name="T7" fmla="*/ 48 h 268"/>
              <a:gd name="T8" fmla="*/ 32 w 330"/>
              <a:gd name="T9" fmla="*/ 40 h 268"/>
              <a:gd name="T10" fmla="*/ 44 w 330"/>
              <a:gd name="T11" fmla="*/ 38 h 268"/>
              <a:gd name="T12" fmla="*/ 46 w 330"/>
              <a:gd name="T13" fmla="*/ 32 h 268"/>
              <a:gd name="T14" fmla="*/ 52 w 330"/>
              <a:gd name="T15" fmla="*/ 26 h 268"/>
              <a:gd name="T16" fmla="*/ 40 w 330"/>
              <a:gd name="T17" fmla="*/ 10 h 268"/>
              <a:gd name="T18" fmla="*/ 68 w 330"/>
              <a:gd name="T19" fmla="*/ 6 h 268"/>
              <a:gd name="T20" fmla="*/ 70 w 330"/>
              <a:gd name="T21" fmla="*/ 0 h 268"/>
              <a:gd name="T22" fmla="*/ 90 w 330"/>
              <a:gd name="T23" fmla="*/ 4 h 268"/>
              <a:gd name="T24" fmla="*/ 126 w 330"/>
              <a:gd name="T25" fmla="*/ 24 h 268"/>
              <a:gd name="T26" fmla="*/ 134 w 330"/>
              <a:gd name="T27" fmla="*/ 36 h 268"/>
              <a:gd name="T28" fmla="*/ 136 w 330"/>
              <a:gd name="T29" fmla="*/ 40 h 268"/>
              <a:gd name="T30" fmla="*/ 144 w 330"/>
              <a:gd name="T31" fmla="*/ 42 h 268"/>
              <a:gd name="T32" fmla="*/ 158 w 330"/>
              <a:gd name="T33" fmla="*/ 52 h 268"/>
              <a:gd name="T34" fmla="*/ 174 w 330"/>
              <a:gd name="T35" fmla="*/ 52 h 268"/>
              <a:gd name="T36" fmla="*/ 190 w 330"/>
              <a:gd name="T37" fmla="*/ 52 h 268"/>
              <a:gd name="T38" fmla="*/ 200 w 330"/>
              <a:gd name="T39" fmla="*/ 54 h 268"/>
              <a:gd name="T40" fmla="*/ 208 w 330"/>
              <a:gd name="T41" fmla="*/ 62 h 268"/>
              <a:gd name="T42" fmla="*/ 216 w 330"/>
              <a:gd name="T43" fmla="*/ 62 h 268"/>
              <a:gd name="T44" fmla="*/ 226 w 330"/>
              <a:gd name="T45" fmla="*/ 82 h 268"/>
              <a:gd name="T46" fmla="*/ 234 w 330"/>
              <a:gd name="T47" fmla="*/ 88 h 268"/>
              <a:gd name="T48" fmla="*/ 242 w 330"/>
              <a:gd name="T49" fmla="*/ 96 h 268"/>
              <a:gd name="T50" fmla="*/ 244 w 330"/>
              <a:gd name="T51" fmla="*/ 110 h 268"/>
              <a:gd name="T52" fmla="*/ 248 w 330"/>
              <a:gd name="T53" fmla="*/ 118 h 268"/>
              <a:gd name="T54" fmla="*/ 256 w 330"/>
              <a:gd name="T55" fmla="*/ 128 h 268"/>
              <a:gd name="T56" fmla="*/ 260 w 330"/>
              <a:gd name="T57" fmla="*/ 132 h 268"/>
              <a:gd name="T58" fmla="*/ 282 w 330"/>
              <a:gd name="T59" fmla="*/ 158 h 268"/>
              <a:gd name="T60" fmla="*/ 290 w 330"/>
              <a:gd name="T61" fmla="*/ 160 h 268"/>
              <a:gd name="T62" fmla="*/ 302 w 330"/>
              <a:gd name="T63" fmla="*/ 164 h 268"/>
              <a:gd name="T64" fmla="*/ 308 w 330"/>
              <a:gd name="T65" fmla="*/ 166 h 268"/>
              <a:gd name="T66" fmla="*/ 326 w 330"/>
              <a:gd name="T67" fmla="*/ 164 h 268"/>
              <a:gd name="T68" fmla="*/ 330 w 330"/>
              <a:gd name="T69" fmla="*/ 172 h 268"/>
              <a:gd name="T70" fmla="*/ 330 w 330"/>
              <a:gd name="T71" fmla="*/ 186 h 268"/>
              <a:gd name="T72" fmla="*/ 322 w 330"/>
              <a:gd name="T73" fmla="*/ 204 h 268"/>
              <a:gd name="T74" fmla="*/ 306 w 330"/>
              <a:gd name="T75" fmla="*/ 208 h 268"/>
              <a:gd name="T76" fmla="*/ 290 w 330"/>
              <a:gd name="T77" fmla="*/ 216 h 268"/>
              <a:gd name="T78" fmla="*/ 274 w 330"/>
              <a:gd name="T79" fmla="*/ 226 h 268"/>
              <a:gd name="T80" fmla="*/ 258 w 330"/>
              <a:gd name="T81" fmla="*/ 224 h 268"/>
              <a:gd name="T82" fmla="*/ 226 w 330"/>
              <a:gd name="T83" fmla="*/ 230 h 268"/>
              <a:gd name="T84" fmla="*/ 200 w 330"/>
              <a:gd name="T85" fmla="*/ 254 h 268"/>
              <a:gd name="T86" fmla="*/ 170 w 330"/>
              <a:gd name="T87" fmla="*/ 248 h 268"/>
              <a:gd name="T88" fmla="*/ 136 w 330"/>
              <a:gd name="T89" fmla="*/ 250 h 268"/>
              <a:gd name="T90" fmla="*/ 128 w 330"/>
              <a:gd name="T91" fmla="*/ 268 h 268"/>
              <a:gd name="T92" fmla="*/ 120 w 330"/>
              <a:gd name="T93" fmla="*/ 250 h 268"/>
              <a:gd name="T94" fmla="*/ 106 w 330"/>
              <a:gd name="T95" fmla="*/ 232 h 268"/>
              <a:gd name="T96" fmla="*/ 96 w 330"/>
              <a:gd name="T97" fmla="*/ 212 h 268"/>
              <a:gd name="T98" fmla="*/ 88 w 330"/>
              <a:gd name="T99" fmla="*/ 202 h 268"/>
              <a:gd name="T100" fmla="*/ 76 w 330"/>
              <a:gd name="T101" fmla="*/ 200 h 268"/>
              <a:gd name="T102" fmla="*/ 68 w 330"/>
              <a:gd name="T103" fmla="*/ 184 h 268"/>
              <a:gd name="T104" fmla="*/ 68 w 330"/>
              <a:gd name="T105" fmla="*/ 160 h 268"/>
              <a:gd name="T106" fmla="*/ 56 w 330"/>
              <a:gd name="T107" fmla="*/ 142 h 268"/>
              <a:gd name="T108" fmla="*/ 42 w 330"/>
              <a:gd name="T109" fmla="*/ 136 h 268"/>
              <a:gd name="T110" fmla="*/ 38 w 330"/>
              <a:gd name="T111" fmla="*/ 126 h 268"/>
              <a:gd name="T112" fmla="*/ 38 w 330"/>
              <a:gd name="T113" fmla="*/ 114 h 268"/>
              <a:gd name="T114" fmla="*/ 18 w 330"/>
              <a:gd name="T115" fmla="*/ 90 h 268"/>
              <a:gd name="T116" fmla="*/ 8 w 330"/>
              <a:gd name="T117" fmla="*/ 70 h 268"/>
              <a:gd name="T118" fmla="*/ 0 w 330"/>
              <a:gd name="T119" fmla="*/ 68 h 2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30" h="268">
                <a:moveTo>
                  <a:pt x="0" y="68"/>
                </a:moveTo>
                <a:lnTo>
                  <a:pt x="4" y="46"/>
                </a:lnTo>
                <a:lnTo>
                  <a:pt x="22" y="52"/>
                </a:lnTo>
                <a:lnTo>
                  <a:pt x="26" y="48"/>
                </a:lnTo>
                <a:lnTo>
                  <a:pt x="32" y="40"/>
                </a:lnTo>
                <a:lnTo>
                  <a:pt x="44" y="38"/>
                </a:lnTo>
                <a:lnTo>
                  <a:pt x="46" y="32"/>
                </a:lnTo>
                <a:lnTo>
                  <a:pt x="52" y="26"/>
                </a:lnTo>
                <a:lnTo>
                  <a:pt x="40" y="10"/>
                </a:lnTo>
                <a:lnTo>
                  <a:pt x="68" y="6"/>
                </a:lnTo>
                <a:lnTo>
                  <a:pt x="70" y="0"/>
                </a:lnTo>
                <a:lnTo>
                  <a:pt x="90" y="4"/>
                </a:lnTo>
                <a:lnTo>
                  <a:pt x="126" y="24"/>
                </a:lnTo>
                <a:lnTo>
                  <a:pt x="134" y="36"/>
                </a:lnTo>
                <a:lnTo>
                  <a:pt x="136" y="40"/>
                </a:lnTo>
                <a:lnTo>
                  <a:pt x="144" y="42"/>
                </a:lnTo>
                <a:lnTo>
                  <a:pt x="158" y="52"/>
                </a:lnTo>
                <a:lnTo>
                  <a:pt x="174" y="52"/>
                </a:lnTo>
                <a:lnTo>
                  <a:pt x="190" y="52"/>
                </a:lnTo>
                <a:lnTo>
                  <a:pt x="200" y="54"/>
                </a:lnTo>
                <a:lnTo>
                  <a:pt x="208" y="62"/>
                </a:lnTo>
                <a:lnTo>
                  <a:pt x="216" y="62"/>
                </a:lnTo>
                <a:lnTo>
                  <a:pt x="226" y="82"/>
                </a:lnTo>
                <a:lnTo>
                  <a:pt x="234" y="88"/>
                </a:lnTo>
                <a:lnTo>
                  <a:pt x="242" y="96"/>
                </a:lnTo>
                <a:lnTo>
                  <a:pt x="244" y="110"/>
                </a:lnTo>
                <a:lnTo>
                  <a:pt x="248" y="118"/>
                </a:lnTo>
                <a:lnTo>
                  <a:pt x="256" y="128"/>
                </a:lnTo>
                <a:lnTo>
                  <a:pt x="260" y="132"/>
                </a:lnTo>
                <a:lnTo>
                  <a:pt x="282" y="158"/>
                </a:lnTo>
                <a:lnTo>
                  <a:pt x="290" y="160"/>
                </a:lnTo>
                <a:lnTo>
                  <a:pt x="302" y="164"/>
                </a:lnTo>
                <a:lnTo>
                  <a:pt x="308" y="166"/>
                </a:lnTo>
                <a:lnTo>
                  <a:pt x="326" y="164"/>
                </a:lnTo>
                <a:lnTo>
                  <a:pt x="330" y="172"/>
                </a:lnTo>
                <a:lnTo>
                  <a:pt x="330" y="186"/>
                </a:lnTo>
                <a:lnTo>
                  <a:pt x="322" y="204"/>
                </a:lnTo>
                <a:lnTo>
                  <a:pt x="306" y="208"/>
                </a:lnTo>
                <a:lnTo>
                  <a:pt x="290" y="216"/>
                </a:lnTo>
                <a:lnTo>
                  <a:pt x="274" y="226"/>
                </a:lnTo>
                <a:lnTo>
                  <a:pt x="258" y="224"/>
                </a:lnTo>
                <a:lnTo>
                  <a:pt x="226" y="230"/>
                </a:lnTo>
                <a:lnTo>
                  <a:pt x="200" y="254"/>
                </a:lnTo>
                <a:lnTo>
                  <a:pt x="170" y="248"/>
                </a:lnTo>
                <a:lnTo>
                  <a:pt x="136" y="250"/>
                </a:lnTo>
                <a:lnTo>
                  <a:pt x="128" y="268"/>
                </a:lnTo>
                <a:lnTo>
                  <a:pt x="120" y="250"/>
                </a:lnTo>
                <a:lnTo>
                  <a:pt x="106" y="232"/>
                </a:lnTo>
                <a:lnTo>
                  <a:pt x="96" y="212"/>
                </a:lnTo>
                <a:lnTo>
                  <a:pt x="88" y="202"/>
                </a:lnTo>
                <a:lnTo>
                  <a:pt x="76" y="200"/>
                </a:lnTo>
                <a:lnTo>
                  <a:pt x="68" y="184"/>
                </a:lnTo>
                <a:lnTo>
                  <a:pt x="68" y="160"/>
                </a:lnTo>
                <a:lnTo>
                  <a:pt x="56" y="142"/>
                </a:lnTo>
                <a:lnTo>
                  <a:pt x="42" y="136"/>
                </a:lnTo>
                <a:lnTo>
                  <a:pt x="38" y="126"/>
                </a:lnTo>
                <a:lnTo>
                  <a:pt x="38" y="114"/>
                </a:lnTo>
                <a:lnTo>
                  <a:pt x="18" y="90"/>
                </a:lnTo>
                <a:lnTo>
                  <a:pt x="8" y="70"/>
                </a:lnTo>
                <a:lnTo>
                  <a:pt x="0" y="68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90" name="Freeform 127">
            <a:extLst>
              <a:ext uri="{FF2B5EF4-FFF2-40B4-BE49-F238E27FC236}">
                <a16:creationId xmlns:a16="http://schemas.microsoft.com/office/drawing/2014/main" id="{6A7812E8-AD6F-46A0-B44E-3A9511B485E7}"/>
              </a:ext>
            </a:extLst>
          </p:cNvPr>
          <p:cNvSpPr>
            <a:spLocks/>
          </p:cNvSpPr>
          <p:nvPr/>
        </p:nvSpPr>
        <p:spPr bwMode="gray">
          <a:xfrm>
            <a:off x="3016098" y="2046289"/>
            <a:ext cx="5810" cy="10682"/>
          </a:xfrm>
          <a:custGeom>
            <a:avLst/>
            <a:gdLst>
              <a:gd name="T0" fmla="*/ 8 w 8"/>
              <a:gd name="T1" fmla="*/ 0 h 16"/>
              <a:gd name="T2" fmla="*/ 2 w 8"/>
              <a:gd name="T3" fmla="*/ 0 h 16"/>
              <a:gd name="T4" fmla="*/ 0 w 8"/>
              <a:gd name="T5" fmla="*/ 4 h 16"/>
              <a:gd name="T6" fmla="*/ 0 w 8"/>
              <a:gd name="T7" fmla="*/ 10 h 16"/>
              <a:gd name="T8" fmla="*/ 2 w 8"/>
              <a:gd name="T9" fmla="*/ 16 h 16"/>
              <a:gd name="T10" fmla="*/ 6 w 8"/>
              <a:gd name="T11" fmla="*/ 16 h 16"/>
              <a:gd name="T12" fmla="*/ 8 w 8"/>
              <a:gd name="T13" fmla="*/ 8 h 16"/>
              <a:gd name="T14" fmla="*/ 8 w 8"/>
              <a:gd name="T15" fmla="*/ 2 h 16"/>
              <a:gd name="T16" fmla="*/ 8 w 8"/>
              <a:gd name="T17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8" h="16">
                <a:moveTo>
                  <a:pt x="8" y="0"/>
                </a:moveTo>
                <a:lnTo>
                  <a:pt x="2" y="0"/>
                </a:lnTo>
                <a:lnTo>
                  <a:pt x="0" y="4"/>
                </a:lnTo>
                <a:lnTo>
                  <a:pt x="0" y="10"/>
                </a:lnTo>
                <a:lnTo>
                  <a:pt x="2" y="16"/>
                </a:lnTo>
                <a:lnTo>
                  <a:pt x="6" y="16"/>
                </a:lnTo>
                <a:lnTo>
                  <a:pt x="8" y="8"/>
                </a:lnTo>
                <a:lnTo>
                  <a:pt x="8" y="2"/>
                </a:lnTo>
                <a:lnTo>
                  <a:pt x="8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91" name="Freeform 128">
            <a:extLst>
              <a:ext uri="{FF2B5EF4-FFF2-40B4-BE49-F238E27FC236}">
                <a16:creationId xmlns:a16="http://schemas.microsoft.com/office/drawing/2014/main" id="{1D77A612-9232-4478-A690-80CDF0F38114}"/>
              </a:ext>
            </a:extLst>
          </p:cNvPr>
          <p:cNvSpPr>
            <a:spLocks/>
          </p:cNvSpPr>
          <p:nvPr/>
        </p:nvSpPr>
        <p:spPr bwMode="gray">
          <a:xfrm>
            <a:off x="3199111" y="2119726"/>
            <a:ext cx="7262" cy="17358"/>
          </a:xfrm>
          <a:custGeom>
            <a:avLst/>
            <a:gdLst>
              <a:gd name="T0" fmla="*/ 0 w 10"/>
              <a:gd name="T1" fmla="*/ 22 h 26"/>
              <a:gd name="T2" fmla="*/ 0 w 10"/>
              <a:gd name="T3" fmla="*/ 10 h 26"/>
              <a:gd name="T4" fmla="*/ 4 w 10"/>
              <a:gd name="T5" fmla="*/ 0 h 26"/>
              <a:gd name="T6" fmla="*/ 8 w 10"/>
              <a:gd name="T7" fmla="*/ 0 h 26"/>
              <a:gd name="T8" fmla="*/ 10 w 10"/>
              <a:gd name="T9" fmla="*/ 8 h 26"/>
              <a:gd name="T10" fmla="*/ 10 w 10"/>
              <a:gd name="T11" fmla="*/ 14 h 26"/>
              <a:gd name="T12" fmla="*/ 8 w 10"/>
              <a:gd name="T13" fmla="*/ 22 h 26"/>
              <a:gd name="T14" fmla="*/ 4 w 10"/>
              <a:gd name="T15" fmla="*/ 26 h 26"/>
              <a:gd name="T16" fmla="*/ 0 w 10"/>
              <a:gd name="T17" fmla="*/ 22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0" h="26">
                <a:moveTo>
                  <a:pt x="0" y="22"/>
                </a:moveTo>
                <a:lnTo>
                  <a:pt x="0" y="10"/>
                </a:lnTo>
                <a:lnTo>
                  <a:pt x="4" y="0"/>
                </a:lnTo>
                <a:lnTo>
                  <a:pt x="8" y="0"/>
                </a:lnTo>
                <a:lnTo>
                  <a:pt x="10" y="8"/>
                </a:lnTo>
                <a:lnTo>
                  <a:pt x="10" y="14"/>
                </a:lnTo>
                <a:lnTo>
                  <a:pt x="8" y="22"/>
                </a:lnTo>
                <a:lnTo>
                  <a:pt x="4" y="26"/>
                </a:lnTo>
                <a:lnTo>
                  <a:pt x="0" y="22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92" name="Freeform 129">
            <a:extLst>
              <a:ext uri="{FF2B5EF4-FFF2-40B4-BE49-F238E27FC236}">
                <a16:creationId xmlns:a16="http://schemas.microsoft.com/office/drawing/2014/main" id="{764BA5CC-8FFB-4762-A3FF-CF76B18DB78A}"/>
              </a:ext>
            </a:extLst>
          </p:cNvPr>
          <p:cNvSpPr>
            <a:spLocks/>
          </p:cNvSpPr>
          <p:nvPr/>
        </p:nvSpPr>
        <p:spPr bwMode="gray">
          <a:xfrm>
            <a:off x="3193301" y="2114385"/>
            <a:ext cx="5810" cy="8011"/>
          </a:xfrm>
          <a:custGeom>
            <a:avLst/>
            <a:gdLst>
              <a:gd name="T0" fmla="*/ 0 w 8"/>
              <a:gd name="T1" fmla="*/ 0 h 12"/>
              <a:gd name="T2" fmla="*/ 8 w 8"/>
              <a:gd name="T3" fmla="*/ 2 h 12"/>
              <a:gd name="T4" fmla="*/ 4 w 8"/>
              <a:gd name="T5" fmla="*/ 12 h 12"/>
              <a:gd name="T6" fmla="*/ 0 w 8"/>
              <a:gd name="T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8" h="12">
                <a:moveTo>
                  <a:pt x="0" y="0"/>
                </a:moveTo>
                <a:lnTo>
                  <a:pt x="8" y="2"/>
                </a:lnTo>
                <a:lnTo>
                  <a:pt x="4" y="1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93" name="Freeform 130">
            <a:extLst>
              <a:ext uri="{FF2B5EF4-FFF2-40B4-BE49-F238E27FC236}">
                <a16:creationId xmlns:a16="http://schemas.microsoft.com/office/drawing/2014/main" id="{F1BE9DE7-4E60-4424-B7B9-7366ECBD9A20}"/>
              </a:ext>
            </a:extLst>
          </p:cNvPr>
          <p:cNvSpPr>
            <a:spLocks/>
          </p:cNvSpPr>
          <p:nvPr/>
        </p:nvSpPr>
        <p:spPr bwMode="gray">
          <a:xfrm>
            <a:off x="2896995" y="2052965"/>
            <a:ext cx="124913" cy="114829"/>
          </a:xfrm>
          <a:custGeom>
            <a:avLst/>
            <a:gdLst>
              <a:gd name="T0" fmla="*/ 6 w 172"/>
              <a:gd name="T1" fmla="*/ 0 h 172"/>
              <a:gd name="T2" fmla="*/ 16 w 172"/>
              <a:gd name="T3" fmla="*/ 4 h 172"/>
              <a:gd name="T4" fmla="*/ 24 w 172"/>
              <a:gd name="T5" fmla="*/ 2 h 172"/>
              <a:gd name="T6" fmla="*/ 48 w 172"/>
              <a:gd name="T7" fmla="*/ 12 h 172"/>
              <a:gd name="T8" fmla="*/ 66 w 172"/>
              <a:gd name="T9" fmla="*/ 16 h 172"/>
              <a:gd name="T10" fmla="*/ 80 w 172"/>
              <a:gd name="T11" fmla="*/ 14 h 172"/>
              <a:gd name="T12" fmla="*/ 90 w 172"/>
              <a:gd name="T13" fmla="*/ 8 h 172"/>
              <a:gd name="T14" fmla="*/ 112 w 172"/>
              <a:gd name="T15" fmla="*/ 6 h 172"/>
              <a:gd name="T16" fmla="*/ 122 w 172"/>
              <a:gd name="T17" fmla="*/ 12 h 172"/>
              <a:gd name="T18" fmla="*/ 134 w 172"/>
              <a:gd name="T19" fmla="*/ 10 h 172"/>
              <a:gd name="T20" fmla="*/ 150 w 172"/>
              <a:gd name="T21" fmla="*/ 12 h 172"/>
              <a:gd name="T22" fmla="*/ 154 w 172"/>
              <a:gd name="T23" fmla="*/ 20 h 172"/>
              <a:gd name="T24" fmla="*/ 162 w 172"/>
              <a:gd name="T25" fmla="*/ 40 h 172"/>
              <a:gd name="T26" fmla="*/ 158 w 172"/>
              <a:gd name="T27" fmla="*/ 44 h 172"/>
              <a:gd name="T28" fmla="*/ 152 w 172"/>
              <a:gd name="T29" fmla="*/ 56 h 172"/>
              <a:gd name="T30" fmla="*/ 150 w 172"/>
              <a:gd name="T31" fmla="*/ 66 h 172"/>
              <a:gd name="T32" fmla="*/ 146 w 172"/>
              <a:gd name="T33" fmla="*/ 70 h 172"/>
              <a:gd name="T34" fmla="*/ 140 w 172"/>
              <a:gd name="T35" fmla="*/ 60 h 172"/>
              <a:gd name="T36" fmla="*/ 136 w 172"/>
              <a:gd name="T37" fmla="*/ 48 h 172"/>
              <a:gd name="T38" fmla="*/ 130 w 172"/>
              <a:gd name="T39" fmla="*/ 40 h 172"/>
              <a:gd name="T40" fmla="*/ 126 w 172"/>
              <a:gd name="T41" fmla="*/ 28 h 172"/>
              <a:gd name="T42" fmla="*/ 122 w 172"/>
              <a:gd name="T43" fmla="*/ 16 h 172"/>
              <a:gd name="T44" fmla="*/ 122 w 172"/>
              <a:gd name="T45" fmla="*/ 24 h 172"/>
              <a:gd name="T46" fmla="*/ 124 w 172"/>
              <a:gd name="T47" fmla="*/ 42 h 172"/>
              <a:gd name="T48" fmla="*/ 128 w 172"/>
              <a:gd name="T49" fmla="*/ 54 h 172"/>
              <a:gd name="T50" fmla="*/ 136 w 172"/>
              <a:gd name="T51" fmla="*/ 64 h 172"/>
              <a:gd name="T52" fmla="*/ 142 w 172"/>
              <a:gd name="T53" fmla="*/ 72 h 172"/>
              <a:gd name="T54" fmla="*/ 150 w 172"/>
              <a:gd name="T55" fmla="*/ 96 h 172"/>
              <a:gd name="T56" fmla="*/ 170 w 172"/>
              <a:gd name="T57" fmla="*/ 130 h 172"/>
              <a:gd name="T58" fmla="*/ 172 w 172"/>
              <a:gd name="T59" fmla="*/ 136 h 172"/>
              <a:gd name="T60" fmla="*/ 172 w 172"/>
              <a:gd name="T61" fmla="*/ 152 h 172"/>
              <a:gd name="T62" fmla="*/ 164 w 172"/>
              <a:gd name="T63" fmla="*/ 152 h 172"/>
              <a:gd name="T64" fmla="*/ 144 w 172"/>
              <a:gd name="T65" fmla="*/ 172 h 172"/>
              <a:gd name="T66" fmla="*/ 134 w 172"/>
              <a:gd name="T67" fmla="*/ 166 h 172"/>
              <a:gd name="T68" fmla="*/ 6 w 172"/>
              <a:gd name="T69" fmla="*/ 164 h 172"/>
              <a:gd name="T70" fmla="*/ 6 w 172"/>
              <a:gd name="T71" fmla="*/ 38 h 172"/>
              <a:gd name="T72" fmla="*/ 2 w 172"/>
              <a:gd name="T73" fmla="*/ 36 h 172"/>
              <a:gd name="T74" fmla="*/ 0 w 172"/>
              <a:gd name="T75" fmla="*/ 24 h 172"/>
              <a:gd name="T76" fmla="*/ 6 w 172"/>
              <a:gd name="T77" fmla="*/ 20 h 172"/>
              <a:gd name="T78" fmla="*/ 6 w 172"/>
              <a:gd name="T79" fmla="*/ 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72" h="172">
                <a:moveTo>
                  <a:pt x="6" y="0"/>
                </a:moveTo>
                <a:lnTo>
                  <a:pt x="16" y="4"/>
                </a:lnTo>
                <a:lnTo>
                  <a:pt x="24" y="2"/>
                </a:lnTo>
                <a:lnTo>
                  <a:pt x="48" y="12"/>
                </a:lnTo>
                <a:lnTo>
                  <a:pt x="66" y="16"/>
                </a:lnTo>
                <a:lnTo>
                  <a:pt x="80" y="14"/>
                </a:lnTo>
                <a:lnTo>
                  <a:pt x="90" y="8"/>
                </a:lnTo>
                <a:lnTo>
                  <a:pt x="112" y="6"/>
                </a:lnTo>
                <a:lnTo>
                  <a:pt x="122" y="12"/>
                </a:lnTo>
                <a:lnTo>
                  <a:pt x="134" y="10"/>
                </a:lnTo>
                <a:lnTo>
                  <a:pt x="150" y="12"/>
                </a:lnTo>
                <a:lnTo>
                  <a:pt x="154" y="20"/>
                </a:lnTo>
                <a:lnTo>
                  <a:pt x="162" y="40"/>
                </a:lnTo>
                <a:lnTo>
                  <a:pt x="158" y="44"/>
                </a:lnTo>
                <a:lnTo>
                  <a:pt x="152" y="56"/>
                </a:lnTo>
                <a:lnTo>
                  <a:pt x="150" y="66"/>
                </a:lnTo>
                <a:lnTo>
                  <a:pt x="146" y="70"/>
                </a:lnTo>
                <a:lnTo>
                  <a:pt x="140" y="60"/>
                </a:lnTo>
                <a:lnTo>
                  <a:pt x="136" y="48"/>
                </a:lnTo>
                <a:lnTo>
                  <a:pt x="130" y="40"/>
                </a:lnTo>
                <a:lnTo>
                  <a:pt x="126" y="28"/>
                </a:lnTo>
                <a:lnTo>
                  <a:pt x="122" y="16"/>
                </a:lnTo>
                <a:lnTo>
                  <a:pt x="122" y="24"/>
                </a:lnTo>
                <a:lnTo>
                  <a:pt x="124" y="42"/>
                </a:lnTo>
                <a:lnTo>
                  <a:pt x="128" y="54"/>
                </a:lnTo>
                <a:lnTo>
                  <a:pt x="136" y="64"/>
                </a:lnTo>
                <a:lnTo>
                  <a:pt x="142" y="72"/>
                </a:lnTo>
                <a:lnTo>
                  <a:pt x="150" y="96"/>
                </a:lnTo>
                <a:lnTo>
                  <a:pt x="170" y="130"/>
                </a:lnTo>
                <a:lnTo>
                  <a:pt x="172" y="136"/>
                </a:lnTo>
                <a:lnTo>
                  <a:pt x="172" y="152"/>
                </a:lnTo>
                <a:lnTo>
                  <a:pt x="164" y="152"/>
                </a:lnTo>
                <a:lnTo>
                  <a:pt x="144" y="172"/>
                </a:lnTo>
                <a:lnTo>
                  <a:pt x="134" y="166"/>
                </a:lnTo>
                <a:lnTo>
                  <a:pt x="6" y="164"/>
                </a:lnTo>
                <a:lnTo>
                  <a:pt x="6" y="38"/>
                </a:lnTo>
                <a:lnTo>
                  <a:pt x="2" y="36"/>
                </a:lnTo>
                <a:lnTo>
                  <a:pt x="0" y="24"/>
                </a:lnTo>
                <a:lnTo>
                  <a:pt x="6" y="20"/>
                </a:lnTo>
                <a:lnTo>
                  <a:pt x="6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94" name="Freeform 131">
            <a:extLst>
              <a:ext uri="{FF2B5EF4-FFF2-40B4-BE49-F238E27FC236}">
                <a16:creationId xmlns:a16="http://schemas.microsoft.com/office/drawing/2014/main" id="{FE68EC25-850C-4B70-838B-1E8A3FD79B39}"/>
              </a:ext>
            </a:extLst>
          </p:cNvPr>
          <p:cNvSpPr>
            <a:spLocks/>
          </p:cNvSpPr>
          <p:nvPr/>
        </p:nvSpPr>
        <p:spPr bwMode="gray">
          <a:xfrm>
            <a:off x="2720519" y="2036942"/>
            <a:ext cx="180834" cy="148210"/>
          </a:xfrm>
          <a:custGeom>
            <a:avLst/>
            <a:gdLst>
              <a:gd name="T0" fmla="*/ 35 w 249"/>
              <a:gd name="T1" fmla="*/ 0 h 222"/>
              <a:gd name="T2" fmla="*/ 51 w 249"/>
              <a:gd name="T3" fmla="*/ 4 h 222"/>
              <a:gd name="T4" fmla="*/ 79 w 249"/>
              <a:gd name="T5" fmla="*/ 8 h 222"/>
              <a:gd name="T6" fmla="*/ 93 w 249"/>
              <a:gd name="T7" fmla="*/ 16 h 222"/>
              <a:gd name="T8" fmla="*/ 99 w 249"/>
              <a:gd name="T9" fmla="*/ 28 h 222"/>
              <a:gd name="T10" fmla="*/ 107 w 249"/>
              <a:gd name="T11" fmla="*/ 34 h 222"/>
              <a:gd name="T12" fmla="*/ 125 w 249"/>
              <a:gd name="T13" fmla="*/ 34 h 222"/>
              <a:gd name="T14" fmla="*/ 137 w 249"/>
              <a:gd name="T15" fmla="*/ 42 h 222"/>
              <a:gd name="T16" fmla="*/ 157 w 249"/>
              <a:gd name="T17" fmla="*/ 54 h 222"/>
              <a:gd name="T18" fmla="*/ 171 w 249"/>
              <a:gd name="T19" fmla="*/ 40 h 222"/>
              <a:gd name="T20" fmla="*/ 173 w 249"/>
              <a:gd name="T21" fmla="*/ 30 h 222"/>
              <a:gd name="T22" fmla="*/ 167 w 249"/>
              <a:gd name="T23" fmla="*/ 22 h 222"/>
              <a:gd name="T24" fmla="*/ 177 w 249"/>
              <a:gd name="T25" fmla="*/ 12 h 222"/>
              <a:gd name="T26" fmla="*/ 191 w 249"/>
              <a:gd name="T27" fmla="*/ 6 h 222"/>
              <a:gd name="T28" fmla="*/ 209 w 249"/>
              <a:gd name="T29" fmla="*/ 8 h 222"/>
              <a:gd name="T30" fmla="*/ 223 w 249"/>
              <a:gd name="T31" fmla="*/ 16 h 222"/>
              <a:gd name="T32" fmla="*/ 237 w 249"/>
              <a:gd name="T33" fmla="*/ 22 h 222"/>
              <a:gd name="T34" fmla="*/ 249 w 249"/>
              <a:gd name="T35" fmla="*/ 24 h 222"/>
              <a:gd name="T36" fmla="*/ 249 w 249"/>
              <a:gd name="T37" fmla="*/ 44 h 222"/>
              <a:gd name="T38" fmla="*/ 243 w 249"/>
              <a:gd name="T39" fmla="*/ 48 h 222"/>
              <a:gd name="T40" fmla="*/ 245 w 249"/>
              <a:gd name="T41" fmla="*/ 60 h 222"/>
              <a:gd name="T42" fmla="*/ 249 w 249"/>
              <a:gd name="T43" fmla="*/ 62 h 222"/>
              <a:gd name="T44" fmla="*/ 249 w 249"/>
              <a:gd name="T45" fmla="*/ 188 h 222"/>
              <a:gd name="T46" fmla="*/ 249 w 249"/>
              <a:gd name="T47" fmla="*/ 222 h 222"/>
              <a:gd name="T48" fmla="*/ 231 w 249"/>
              <a:gd name="T49" fmla="*/ 222 h 222"/>
              <a:gd name="T50" fmla="*/ 97 w 249"/>
              <a:gd name="T51" fmla="*/ 168 h 222"/>
              <a:gd name="T52" fmla="*/ 91 w 249"/>
              <a:gd name="T53" fmla="*/ 174 h 222"/>
              <a:gd name="T54" fmla="*/ 79 w 249"/>
              <a:gd name="T55" fmla="*/ 180 h 222"/>
              <a:gd name="T56" fmla="*/ 69 w 249"/>
              <a:gd name="T57" fmla="*/ 172 h 222"/>
              <a:gd name="T58" fmla="*/ 59 w 249"/>
              <a:gd name="T59" fmla="*/ 168 h 222"/>
              <a:gd name="T60" fmla="*/ 43 w 249"/>
              <a:gd name="T61" fmla="*/ 164 h 222"/>
              <a:gd name="T62" fmla="*/ 37 w 249"/>
              <a:gd name="T63" fmla="*/ 158 h 222"/>
              <a:gd name="T64" fmla="*/ 33 w 249"/>
              <a:gd name="T65" fmla="*/ 150 h 222"/>
              <a:gd name="T66" fmla="*/ 14 w 249"/>
              <a:gd name="T67" fmla="*/ 148 h 222"/>
              <a:gd name="T68" fmla="*/ 8 w 249"/>
              <a:gd name="T69" fmla="*/ 136 h 222"/>
              <a:gd name="T70" fmla="*/ 4 w 249"/>
              <a:gd name="T71" fmla="*/ 126 h 222"/>
              <a:gd name="T72" fmla="*/ 0 w 249"/>
              <a:gd name="T73" fmla="*/ 116 h 222"/>
              <a:gd name="T74" fmla="*/ 8 w 249"/>
              <a:gd name="T75" fmla="*/ 112 h 222"/>
              <a:gd name="T76" fmla="*/ 8 w 249"/>
              <a:gd name="T77" fmla="*/ 66 h 222"/>
              <a:gd name="T78" fmla="*/ 4 w 249"/>
              <a:gd name="T79" fmla="*/ 48 h 222"/>
              <a:gd name="T80" fmla="*/ 12 w 249"/>
              <a:gd name="T81" fmla="*/ 42 h 222"/>
              <a:gd name="T82" fmla="*/ 12 w 249"/>
              <a:gd name="T83" fmla="*/ 26 h 222"/>
              <a:gd name="T84" fmla="*/ 33 w 249"/>
              <a:gd name="T85" fmla="*/ 12 h 222"/>
              <a:gd name="T86" fmla="*/ 35 w 249"/>
              <a:gd name="T87" fmla="*/ 10 h 222"/>
              <a:gd name="T88" fmla="*/ 35 w 249"/>
              <a:gd name="T89" fmla="*/ 0 h 2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49" h="222">
                <a:moveTo>
                  <a:pt x="35" y="0"/>
                </a:moveTo>
                <a:lnTo>
                  <a:pt x="51" y="4"/>
                </a:lnTo>
                <a:lnTo>
                  <a:pt x="79" y="8"/>
                </a:lnTo>
                <a:lnTo>
                  <a:pt x="93" y="16"/>
                </a:lnTo>
                <a:lnTo>
                  <a:pt x="99" y="28"/>
                </a:lnTo>
                <a:lnTo>
                  <a:pt x="107" y="34"/>
                </a:lnTo>
                <a:lnTo>
                  <a:pt x="125" y="34"/>
                </a:lnTo>
                <a:lnTo>
                  <a:pt x="137" y="42"/>
                </a:lnTo>
                <a:lnTo>
                  <a:pt x="157" y="54"/>
                </a:lnTo>
                <a:lnTo>
                  <a:pt x="171" y="40"/>
                </a:lnTo>
                <a:lnTo>
                  <a:pt x="173" y="30"/>
                </a:lnTo>
                <a:lnTo>
                  <a:pt x="167" y="22"/>
                </a:lnTo>
                <a:lnTo>
                  <a:pt x="177" y="12"/>
                </a:lnTo>
                <a:lnTo>
                  <a:pt x="191" y="6"/>
                </a:lnTo>
                <a:lnTo>
                  <a:pt x="209" y="8"/>
                </a:lnTo>
                <a:lnTo>
                  <a:pt x="223" y="16"/>
                </a:lnTo>
                <a:lnTo>
                  <a:pt x="237" y="22"/>
                </a:lnTo>
                <a:lnTo>
                  <a:pt x="249" y="24"/>
                </a:lnTo>
                <a:lnTo>
                  <a:pt x="249" y="44"/>
                </a:lnTo>
                <a:lnTo>
                  <a:pt x="243" y="48"/>
                </a:lnTo>
                <a:lnTo>
                  <a:pt x="245" y="60"/>
                </a:lnTo>
                <a:lnTo>
                  <a:pt x="249" y="62"/>
                </a:lnTo>
                <a:lnTo>
                  <a:pt x="249" y="188"/>
                </a:lnTo>
                <a:lnTo>
                  <a:pt x="249" y="222"/>
                </a:lnTo>
                <a:lnTo>
                  <a:pt x="231" y="222"/>
                </a:lnTo>
                <a:lnTo>
                  <a:pt x="97" y="168"/>
                </a:lnTo>
                <a:lnTo>
                  <a:pt x="91" y="174"/>
                </a:lnTo>
                <a:lnTo>
                  <a:pt x="79" y="180"/>
                </a:lnTo>
                <a:lnTo>
                  <a:pt x="69" y="172"/>
                </a:lnTo>
                <a:lnTo>
                  <a:pt x="59" y="168"/>
                </a:lnTo>
                <a:lnTo>
                  <a:pt x="43" y="164"/>
                </a:lnTo>
                <a:lnTo>
                  <a:pt x="37" y="158"/>
                </a:lnTo>
                <a:lnTo>
                  <a:pt x="33" y="150"/>
                </a:lnTo>
                <a:lnTo>
                  <a:pt x="14" y="148"/>
                </a:lnTo>
                <a:lnTo>
                  <a:pt x="8" y="136"/>
                </a:lnTo>
                <a:lnTo>
                  <a:pt x="4" y="126"/>
                </a:lnTo>
                <a:lnTo>
                  <a:pt x="0" y="116"/>
                </a:lnTo>
                <a:lnTo>
                  <a:pt x="8" y="112"/>
                </a:lnTo>
                <a:lnTo>
                  <a:pt x="8" y="66"/>
                </a:lnTo>
                <a:lnTo>
                  <a:pt x="4" y="48"/>
                </a:lnTo>
                <a:lnTo>
                  <a:pt x="12" y="42"/>
                </a:lnTo>
                <a:lnTo>
                  <a:pt x="12" y="26"/>
                </a:lnTo>
                <a:lnTo>
                  <a:pt x="33" y="12"/>
                </a:lnTo>
                <a:lnTo>
                  <a:pt x="35" y="10"/>
                </a:lnTo>
                <a:lnTo>
                  <a:pt x="35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95" name="Freeform 132">
            <a:extLst>
              <a:ext uri="{FF2B5EF4-FFF2-40B4-BE49-F238E27FC236}">
                <a16:creationId xmlns:a16="http://schemas.microsoft.com/office/drawing/2014/main" id="{02F82AAC-D8EB-4EA1-9BD5-47D9EAE6CA2A}"/>
              </a:ext>
            </a:extLst>
          </p:cNvPr>
          <p:cNvSpPr>
            <a:spLocks/>
          </p:cNvSpPr>
          <p:nvPr/>
        </p:nvSpPr>
        <p:spPr bwMode="gray">
          <a:xfrm>
            <a:off x="2698731" y="1987539"/>
            <a:ext cx="47206" cy="81449"/>
          </a:xfrm>
          <a:custGeom>
            <a:avLst/>
            <a:gdLst>
              <a:gd name="T0" fmla="*/ 16 w 65"/>
              <a:gd name="T1" fmla="*/ 6 h 122"/>
              <a:gd name="T2" fmla="*/ 30 w 65"/>
              <a:gd name="T3" fmla="*/ 0 h 122"/>
              <a:gd name="T4" fmla="*/ 38 w 65"/>
              <a:gd name="T5" fmla="*/ 0 h 122"/>
              <a:gd name="T6" fmla="*/ 42 w 65"/>
              <a:gd name="T7" fmla="*/ 8 h 122"/>
              <a:gd name="T8" fmla="*/ 48 w 65"/>
              <a:gd name="T9" fmla="*/ 10 h 122"/>
              <a:gd name="T10" fmla="*/ 54 w 65"/>
              <a:gd name="T11" fmla="*/ 6 h 122"/>
              <a:gd name="T12" fmla="*/ 58 w 65"/>
              <a:gd name="T13" fmla="*/ 8 h 122"/>
              <a:gd name="T14" fmla="*/ 56 w 65"/>
              <a:gd name="T15" fmla="*/ 14 h 122"/>
              <a:gd name="T16" fmla="*/ 50 w 65"/>
              <a:gd name="T17" fmla="*/ 16 h 122"/>
              <a:gd name="T18" fmla="*/ 46 w 65"/>
              <a:gd name="T19" fmla="*/ 24 h 122"/>
              <a:gd name="T20" fmla="*/ 50 w 65"/>
              <a:gd name="T21" fmla="*/ 28 h 122"/>
              <a:gd name="T22" fmla="*/ 58 w 65"/>
              <a:gd name="T23" fmla="*/ 32 h 122"/>
              <a:gd name="T24" fmla="*/ 58 w 65"/>
              <a:gd name="T25" fmla="*/ 38 h 122"/>
              <a:gd name="T26" fmla="*/ 52 w 65"/>
              <a:gd name="T27" fmla="*/ 44 h 122"/>
              <a:gd name="T28" fmla="*/ 46 w 65"/>
              <a:gd name="T29" fmla="*/ 46 h 122"/>
              <a:gd name="T30" fmla="*/ 40 w 65"/>
              <a:gd name="T31" fmla="*/ 54 h 122"/>
              <a:gd name="T32" fmla="*/ 44 w 65"/>
              <a:gd name="T33" fmla="*/ 64 h 122"/>
              <a:gd name="T34" fmla="*/ 54 w 65"/>
              <a:gd name="T35" fmla="*/ 64 h 122"/>
              <a:gd name="T36" fmla="*/ 58 w 65"/>
              <a:gd name="T37" fmla="*/ 70 h 122"/>
              <a:gd name="T38" fmla="*/ 65 w 65"/>
              <a:gd name="T39" fmla="*/ 74 h 122"/>
              <a:gd name="T40" fmla="*/ 65 w 65"/>
              <a:gd name="T41" fmla="*/ 84 h 122"/>
              <a:gd name="T42" fmla="*/ 42 w 65"/>
              <a:gd name="T43" fmla="*/ 100 h 122"/>
              <a:gd name="T44" fmla="*/ 42 w 65"/>
              <a:gd name="T45" fmla="*/ 116 h 122"/>
              <a:gd name="T46" fmla="*/ 34 w 65"/>
              <a:gd name="T47" fmla="*/ 122 h 122"/>
              <a:gd name="T48" fmla="*/ 28 w 65"/>
              <a:gd name="T49" fmla="*/ 120 h 122"/>
              <a:gd name="T50" fmla="*/ 26 w 65"/>
              <a:gd name="T51" fmla="*/ 108 h 122"/>
              <a:gd name="T52" fmla="*/ 24 w 65"/>
              <a:gd name="T53" fmla="*/ 92 h 122"/>
              <a:gd name="T54" fmla="*/ 10 w 65"/>
              <a:gd name="T55" fmla="*/ 76 h 122"/>
              <a:gd name="T56" fmla="*/ 0 w 65"/>
              <a:gd name="T57" fmla="*/ 64 h 122"/>
              <a:gd name="T58" fmla="*/ 0 w 65"/>
              <a:gd name="T59" fmla="*/ 56 h 122"/>
              <a:gd name="T60" fmla="*/ 12 w 65"/>
              <a:gd name="T61" fmla="*/ 46 h 122"/>
              <a:gd name="T62" fmla="*/ 12 w 65"/>
              <a:gd name="T63" fmla="*/ 10 h 122"/>
              <a:gd name="T64" fmla="*/ 16 w 65"/>
              <a:gd name="T65" fmla="*/ 6 h 1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65" h="122">
                <a:moveTo>
                  <a:pt x="16" y="6"/>
                </a:moveTo>
                <a:lnTo>
                  <a:pt x="30" y="0"/>
                </a:lnTo>
                <a:lnTo>
                  <a:pt x="38" y="0"/>
                </a:lnTo>
                <a:lnTo>
                  <a:pt x="42" y="8"/>
                </a:lnTo>
                <a:lnTo>
                  <a:pt x="48" y="10"/>
                </a:lnTo>
                <a:lnTo>
                  <a:pt x="54" y="6"/>
                </a:lnTo>
                <a:lnTo>
                  <a:pt x="58" y="8"/>
                </a:lnTo>
                <a:lnTo>
                  <a:pt x="56" y="14"/>
                </a:lnTo>
                <a:lnTo>
                  <a:pt x="50" y="16"/>
                </a:lnTo>
                <a:lnTo>
                  <a:pt x="46" y="24"/>
                </a:lnTo>
                <a:lnTo>
                  <a:pt x="50" y="28"/>
                </a:lnTo>
                <a:lnTo>
                  <a:pt x="58" y="32"/>
                </a:lnTo>
                <a:lnTo>
                  <a:pt x="58" y="38"/>
                </a:lnTo>
                <a:lnTo>
                  <a:pt x="52" y="44"/>
                </a:lnTo>
                <a:lnTo>
                  <a:pt x="46" y="46"/>
                </a:lnTo>
                <a:lnTo>
                  <a:pt x="40" y="54"/>
                </a:lnTo>
                <a:lnTo>
                  <a:pt x="44" y="64"/>
                </a:lnTo>
                <a:lnTo>
                  <a:pt x="54" y="64"/>
                </a:lnTo>
                <a:lnTo>
                  <a:pt x="58" y="70"/>
                </a:lnTo>
                <a:lnTo>
                  <a:pt x="65" y="74"/>
                </a:lnTo>
                <a:lnTo>
                  <a:pt x="65" y="84"/>
                </a:lnTo>
                <a:lnTo>
                  <a:pt x="42" y="100"/>
                </a:lnTo>
                <a:lnTo>
                  <a:pt x="42" y="116"/>
                </a:lnTo>
                <a:lnTo>
                  <a:pt x="34" y="122"/>
                </a:lnTo>
                <a:lnTo>
                  <a:pt x="28" y="120"/>
                </a:lnTo>
                <a:lnTo>
                  <a:pt x="26" y="108"/>
                </a:lnTo>
                <a:lnTo>
                  <a:pt x="24" y="92"/>
                </a:lnTo>
                <a:lnTo>
                  <a:pt x="10" y="76"/>
                </a:lnTo>
                <a:lnTo>
                  <a:pt x="0" y="64"/>
                </a:lnTo>
                <a:lnTo>
                  <a:pt x="0" y="56"/>
                </a:lnTo>
                <a:lnTo>
                  <a:pt x="12" y="46"/>
                </a:lnTo>
                <a:lnTo>
                  <a:pt x="12" y="10"/>
                </a:lnTo>
                <a:lnTo>
                  <a:pt x="16" y="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96" name="Freeform 133">
            <a:extLst>
              <a:ext uri="{FF2B5EF4-FFF2-40B4-BE49-F238E27FC236}">
                <a16:creationId xmlns:a16="http://schemas.microsoft.com/office/drawing/2014/main" id="{7750F201-C35D-4B01-ADC3-5C88D73A3A97}"/>
              </a:ext>
            </a:extLst>
          </p:cNvPr>
          <p:cNvSpPr>
            <a:spLocks/>
          </p:cNvSpPr>
          <p:nvPr/>
        </p:nvSpPr>
        <p:spPr bwMode="gray">
          <a:xfrm>
            <a:off x="2511362" y="1991545"/>
            <a:ext cx="240385" cy="206960"/>
          </a:xfrm>
          <a:custGeom>
            <a:avLst/>
            <a:gdLst>
              <a:gd name="T0" fmla="*/ 0 w 331"/>
              <a:gd name="T1" fmla="*/ 164 h 310"/>
              <a:gd name="T2" fmla="*/ 0 w 331"/>
              <a:gd name="T3" fmla="*/ 146 h 310"/>
              <a:gd name="T4" fmla="*/ 32 w 331"/>
              <a:gd name="T5" fmla="*/ 126 h 310"/>
              <a:gd name="T6" fmla="*/ 54 w 331"/>
              <a:gd name="T7" fmla="*/ 124 h 310"/>
              <a:gd name="T8" fmla="*/ 78 w 331"/>
              <a:gd name="T9" fmla="*/ 104 h 310"/>
              <a:gd name="T10" fmla="*/ 80 w 331"/>
              <a:gd name="T11" fmla="*/ 96 h 310"/>
              <a:gd name="T12" fmla="*/ 96 w 331"/>
              <a:gd name="T13" fmla="*/ 86 h 310"/>
              <a:gd name="T14" fmla="*/ 120 w 331"/>
              <a:gd name="T15" fmla="*/ 84 h 310"/>
              <a:gd name="T16" fmla="*/ 120 w 331"/>
              <a:gd name="T17" fmla="*/ 76 h 310"/>
              <a:gd name="T18" fmla="*/ 112 w 331"/>
              <a:gd name="T19" fmla="*/ 66 h 310"/>
              <a:gd name="T20" fmla="*/ 112 w 331"/>
              <a:gd name="T21" fmla="*/ 40 h 310"/>
              <a:gd name="T22" fmla="*/ 110 w 331"/>
              <a:gd name="T23" fmla="*/ 34 h 310"/>
              <a:gd name="T24" fmla="*/ 126 w 331"/>
              <a:gd name="T25" fmla="*/ 22 h 310"/>
              <a:gd name="T26" fmla="*/ 138 w 331"/>
              <a:gd name="T27" fmla="*/ 20 h 310"/>
              <a:gd name="T28" fmla="*/ 154 w 331"/>
              <a:gd name="T29" fmla="*/ 10 h 310"/>
              <a:gd name="T30" fmla="*/ 180 w 331"/>
              <a:gd name="T31" fmla="*/ 6 h 310"/>
              <a:gd name="T32" fmla="*/ 204 w 331"/>
              <a:gd name="T33" fmla="*/ 2 h 310"/>
              <a:gd name="T34" fmla="*/ 218 w 331"/>
              <a:gd name="T35" fmla="*/ 4 h 310"/>
              <a:gd name="T36" fmla="*/ 226 w 331"/>
              <a:gd name="T37" fmla="*/ 6 h 310"/>
              <a:gd name="T38" fmla="*/ 238 w 331"/>
              <a:gd name="T39" fmla="*/ 0 h 310"/>
              <a:gd name="T40" fmla="*/ 254 w 331"/>
              <a:gd name="T41" fmla="*/ 0 h 310"/>
              <a:gd name="T42" fmla="*/ 262 w 331"/>
              <a:gd name="T43" fmla="*/ 0 h 310"/>
              <a:gd name="T44" fmla="*/ 270 w 331"/>
              <a:gd name="T45" fmla="*/ 4 h 310"/>
              <a:gd name="T46" fmla="*/ 270 w 331"/>
              <a:gd name="T47" fmla="*/ 40 h 310"/>
              <a:gd name="T48" fmla="*/ 258 w 331"/>
              <a:gd name="T49" fmla="*/ 50 h 310"/>
              <a:gd name="T50" fmla="*/ 258 w 331"/>
              <a:gd name="T51" fmla="*/ 58 h 310"/>
              <a:gd name="T52" fmla="*/ 282 w 331"/>
              <a:gd name="T53" fmla="*/ 86 h 310"/>
              <a:gd name="T54" fmla="*/ 286 w 331"/>
              <a:gd name="T55" fmla="*/ 114 h 310"/>
              <a:gd name="T56" fmla="*/ 292 w 331"/>
              <a:gd name="T57" fmla="*/ 116 h 310"/>
              <a:gd name="T58" fmla="*/ 294 w 331"/>
              <a:gd name="T59" fmla="*/ 132 h 310"/>
              <a:gd name="T60" fmla="*/ 296 w 331"/>
              <a:gd name="T61" fmla="*/ 180 h 310"/>
              <a:gd name="T62" fmla="*/ 288 w 331"/>
              <a:gd name="T63" fmla="*/ 184 h 310"/>
              <a:gd name="T64" fmla="*/ 292 w 331"/>
              <a:gd name="T65" fmla="*/ 194 h 310"/>
              <a:gd name="T66" fmla="*/ 302 w 331"/>
              <a:gd name="T67" fmla="*/ 216 h 310"/>
              <a:gd name="T68" fmla="*/ 321 w 331"/>
              <a:gd name="T69" fmla="*/ 218 h 310"/>
              <a:gd name="T70" fmla="*/ 325 w 331"/>
              <a:gd name="T71" fmla="*/ 226 h 310"/>
              <a:gd name="T72" fmla="*/ 331 w 331"/>
              <a:gd name="T73" fmla="*/ 232 h 310"/>
              <a:gd name="T74" fmla="*/ 264 w 331"/>
              <a:gd name="T75" fmla="*/ 272 h 310"/>
              <a:gd name="T76" fmla="*/ 226 w 331"/>
              <a:gd name="T77" fmla="*/ 304 h 310"/>
              <a:gd name="T78" fmla="*/ 206 w 331"/>
              <a:gd name="T79" fmla="*/ 308 h 310"/>
              <a:gd name="T80" fmla="*/ 188 w 331"/>
              <a:gd name="T81" fmla="*/ 310 h 310"/>
              <a:gd name="T82" fmla="*/ 190 w 331"/>
              <a:gd name="T83" fmla="*/ 294 h 310"/>
              <a:gd name="T84" fmla="*/ 170 w 331"/>
              <a:gd name="T85" fmla="*/ 286 h 310"/>
              <a:gd name="T86" fmla="*/ 160 w 331"/>
              <a:gd name="T87" fmla="*/ 276 h 310"/>
              <a:gd name="T88" fmla="*/ 0 w 331"/>
              <a:gd name="T89" fmla="*/ 164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31" h="310">
                <a:moveTo>
                  <a:pt x="0" y="164"/>
                </a:moveTo>
                <a:lnTo>
                  <a:pt x="0" y="146"/>
                </a:lnTo>
                <a:lnTo>
                  <a:pt x="32" y="126"/>
                </a:lnTo>
                <a:lnTo>
                  <a:pt x="54" y="124"/>
                </a:lnTo>
                <a:lnTo>
                  <a:pt x="78" y="104"/>
                </a:lnTo>
                <a:lnTo>
                  <a:pt x="80" y="96"/>
                </a:lnTo>
                <a:lnTo>
                  <a:pt x="96" y="86"/>
                </a:lnTo>
                <a:lnTo>
                  <a:pt x="120" y="84"/>
                </a:lnTo>
                <a:lnTo>
                  <a:pt x="120" y="76"/>
                </a:lnTo>
                <a:lnTo>
                  <a:pt x="112" y="66"/>
                </a:lnTo>
                <a:lnTo>
                  <a:pt x="112" y="40"/>
                </a:lnTo>
                <a:lnTo>
                  <a:pt x="110" y="34"/>
                </a:lnTo>
                <a:lnTo>
                  <a:pt x="126" y="22"/>
                </a:lnTo>
                <a:lnTo>
                  <a:pt x="138" y="20"/>
                </a:lnTo>
                <a:lnTo>
                  <a:pt x="154" y="10"/>
                </a:lnTo>
                <a:lnTo>
                  <a:pt x="180" y="6"/>
                </a:lnTo>
                <a:lnTo>
                  <a:pt x="204" y="2"/>
                </a:lnTo>
                <a:lnTo>
                  <a:pt x="218" y="4"/>
                </a:lnTo>
                <a:lnTo>
                  <a:pt x="226" y="6"/>
                </a:lnTo>
                <a:lnTo>
                  <a:pt x="238" y="0"/>
                </a:lnTo>
                <a:lnTo>
                  <a:pt x="254" y="0"/>
                </a:lnTo>
                <a:lnTo>
                  <a:pt x="262" y="0"/>
                </a:lnTo>
                <a:lnTo>
                  <a:pt x="270" y="4"/>
                </a:lnTo>
                <a:lnTo>
                  <a:pt x="270" y="40"/>
                </a:lnTo>
                <a:lnTo>
                  <a:pt x="258" y="50"/>
                </a:lnTo>
                <a:lnTo>
                  <a:pt x="258" y="58"/>
                </a:lnTo>
                <a:lnTo>
                  <a:pt x="282" y="86"/>
                </a:lnTo>
                <a:lnTo>
                  <a:pt x="286" y="114"/>
                </a:lnTo>
                <a:lnTo>
                  <a:pt x="292" y="116"/>
                </a:lnTo>
                <a:lnTo>
                  <a:pt x="294" y="132"/>
                </a:lnTo>
                <a:lnTo>
                  <a:pt x="296" y="180"/>
                </a:lnTo>
                <a:lnTo>
                  <a:pt x="288" y="184"/>
                </a:lnTo>
                <a:lnTo>
                  <a:pt x="292" y="194"/>
                </a:lnTo>
                <a:lnTo>
                  <a:pt x="302" y="216"/>
                </a:lnTo>
                <a:lnTo>
                  <a:pt x="321" y="218"/>
                </a:lnTo>
                <a:lnTo>
                  <a:pt x="325" y="226"/>
                </a:lnTo>
                <a:lnTo>
                  <a:pt x="331" y="232"/>
                </a:lnTo>
                <a:lnTo>
                  <a:pt x="264" y="272"/>
                </a:lnTo>
                <a:lnTo>
                  <a:pt x="226" y="304"/>
                </a:lnTo>
                <a:lnTo>
                  <a:pt x="206" y="308"/>
                </a:lnTo>
                <a:lnTo>
                  <a:pt x="188" y="310"/>
                </a:lnTo>
                <a:lnTo>
                  <a:pt x="190" y="294"/>
                </a:lnTo>
                <a:lnTo>
                  <a:pt x="170" y="286"/>
                </a:lnTo>
                <a:lnTo>
                  <a:pt x="160" y="276"/>
                </a:lnTo>
                <a:lnTo>
                  <a:pt x="0" y="16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97" name="Freeform 134">
            <a:extLst>
              <a:ext uri="{FF2B5EF4-FFF2-40B4-BE49-F238E27FC236}">
                <a16:creationId xmlns:a16="http://schemas.microsoft.com/office/drawing/2014/main" id="{845D6436-CB07-40C1-84F1-E4F7F6E1E630}"/>
              </a:ext>
            </a:extLst>
          </p:cNvPr>
          <p:cNvSpPr>
            <a:spLocks/>
          </p:cNvSpPr>
          <p:nvPr/>
        </p:nvSpPr>
        <p:spPr bwMode="gray">
          <a:xfrm>
            <a:off x="2461977" y="2004897"/>
            <a:ext cx="136533" cy="96136"/>
          </a:xfrm>
          <a:custGeom>
            <a:avLst/>
            <a:gdLst>
              <a:gd name="T0" fmla="*/ 68 w 188"/>
              <a:gd name="T1" fmla="*/ 144 h 144"/>
              <a:gd name="T2" fmla="*/ 0 w 188"/>
              <a:gd name="T3" fmla="*/ 144 h 144"/>
              <a:gd name="T4" fmla="*/ 10 w 188"/>
              <a:gd name="T5" fmla="*/ 138 h 144"/>
              <a:gd name="T6" fmla="*/ 28 w 188"/>
              <a:gd name="T7" fmla="*/ 128 h 144"/>
              <a:gd name="T8" fmla="*/ 50 w 188"/>
              <a:gd name="T9" fmla="*/ 110 h 144"/>
              <a:gd name="T10" fmla="*/ 52 w 188"/>
              <a:gd name="T11" fmla="*/ 104 h 144"/>
              <a:gd name="T12" fmla="*/ 52 w 188"/>
              <a:gd name="T13" fmla="*/ 68 h 144"/>
              <a:gd name="T14" fmla="*/ 62 w 188"/>
              <a:gd name="T15" fmla="*/ 56 h 144"/>
              <a:gd name="T16" fmla="*/ 74 w 188"/>
              <a:gd name="T17" fmla="*/ 44 h 144"/>
              <a:gd name="T18" fmla="*/ 88 w 188"/>
              <a:gd name="T19" fmla="*/ 40 h 144"/>
              <a:gd name="T20" fmla="*/ 102 w 188"/>
              <a:gd name="T21" fmla="*/ 30 h 144"/>
              <a:gd name="T22" fmla="*/ 108 w 188"/>
              <a:gd name="T23" fmla="*/ 14 h 144"/>
              <a:gd name="T24" fmla="*/ 112 w 188"/>
              <a:gd name="T25" fmla="*/ 4 h 144"/>
              <a:gd name="T26" fmla="*/ 116 w 188"/>
              <a:gd name="T27" fmla="*/ 0 h 144"/>
              <a:gd name="T28" fmla="*/ 122 w 188"/>
              <a:gd name="T29" fmla="*/ 0 h 144"/>
              <a:gd name="T30" fmla="*/ 126 w 188"/>
              <a:gd name="T31" fmla="*/ 8 h 144"/>
              <a:gd name="T32" fmla="*/ 132 w 188"/>
              <a:gd name="T33" fmla="*/ 12 h 144"/>
              <a:gd name="T34" fmla="*/ 154 w 188"/>
              <a:gd name="T35" fmla="*/ 10 h 144"/>
              <a:gd name="T36" fmla="*/ 164 w 188"/>
              <a:gd name="T37" fmla="*/ 10 h 144"/>
              <a:gd name="T38" fmla="*/ 168 w 188"/>
              <a:gd name="T39" fmla="*/ 14 h 144"/>
              <a:gd name="T40" fmla="*/ 178 w 188"/>
              <a:gd name="T41" fmla="*/ 14 h 144"/>
              <a:gd name="T42" fmla="*/ 180 w 188"/>
              <a:gd name="T43" fmla="*/ 20 h 144"/>
              <a:gd name="T44" fmla="*/ 180 w 188"/>
              <a:gd name="T45" fmla="*/ 46 h 144"/>
              <a:gd name="T46" fmla="*/ 188 w 188"/>
              <a:gd name="T47" fmla="*/ 56 h 144"/>
              <a:gd name="T48" fmla="*/ 188 w 188"/>
              <a:gd name="T49" fmla="*/ 64 h 144"/>
              <a:gd name="T50" fmla="*/ 164 w 188"/>
              <a:gd name="T51" fmla="*/ 66 h 144"/>
              <a:gd name="T52" fmla="*/ 148 w 188"/>
              <a:gd name="T53" fmla="*/ 76 h 144"/>
              <a:gd name="T54" fmla="*/ 146 w 188"/>
              <a:gd name="T55" fmla="*/ 84 h 144"/>
              <a:gd name="T56" fmla="*/ 122 w 188"/>
              <a:gd name="T57" fmla="*/ 104 h 144"/>
              <a:gd name="T58" fmla="*/ 100 w 188"/>
              <a:gd name="T59" fmla="*/ 106 h 144"/>
              <a:gd name="T60" fmla="*/ 68 w 188"/>
              <a:gd name="T61" fmla="*/ 126 h 144"/>
              <a:gd name="T62" fmla="*/ 68 w 188"/>
              <a:gd name="T63" fmla="*/ 144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88" h="144">
                <a:moveTo>
                  <a:pt x="68" y="144"/>
                </a:moveTo>
                <a:lnTo>
                  <a:pt x="0" y="144"/>
                </a:lnTo>
                <a:lnTo>
                  <a:pt x="10" y="138"/>
                </a:lnTo>
                <a:lnTo>
                  <a:pt x="28" y="128"/>
                </a:lnTo>
                <a:lnTo>
                  <a:pt x="50" y="110"/>
                </a:lnTo>
                <a:lnTo>
                  <a:pt x="52" y="104"/>
                </a:lnTo>
                <a:lnTo>
                  <a:pt x="52" y="68"/>
                </a:lnTo>
                <a:lnTo>
                  <a:pt x="62" y="56"/>
                </a:lnTo>
                <a:lnTo>
                  <a:pt x="74" y="44"/>
                </a:lnTo>
                <a:lnTo>
                  <a:pt x="88" y="40"/>
                </a:lnTo>
                <a:lnTo>
                  <a:pt x="102" y="30"/>
                </a:lnTo>
                <a:lnTo>
                  <a:pt x="108" y="14"/>
                </a:lnTo>
                <a:lnTo>
                  <a:pt x="112" y="4"/>
                </a:lnTo>
                <a:lnTo>
                  <a:pt x="116" y="0"/>
                </a:lnTo>
                <a:lnTo>
                  <a:pt x="122" y="0"/>
                </a:lnTo>
                <a:lnTo>
                  <a:pt x="126" y="8"/>
                </a:lnTo>
                <a:lnTo>
                  <a:pt x="132" y="12"/>
                </a:lnTo>
                <a:lnTo>
                  <a:pt x="154" y="10"/>
                </a:lnTo>
                <a:lnTo>
                  <a:pt x="164" y="10"/>
                </a:lnTo>
                <a:lnTo>
                  <a:pt x="168" y="14"/>
                </a:lnTo>
                <a:lnTo>
                  <a:pt x="178" y="14"/>
                </a:lnTo>
                <a:lnTo>
                  <a:pt x="180" y="20"/>
                </a:lnTo>
                <a:lnTo>
                  <a:pt x="180" y="46"/>
                </a:lnTo>
                <a:lnTo>
                  <a:pt x="188" y="56"/>
                </a:lnTo>
                <a:lnTo>
                  <a:pt x="188" y="64"/>
                </a:lnTo>
                <a:lnTo>
                  <a:pt x="164" y="66"/>
                </a:lnTo>
                <a:lnTo>
                  <a:pt x="148" y="76"/>
                </a:lnTo>
                <a:lnTo>
                  <a:pt x="146" y="84"/>
                </a:lnTo>
                <a:lnTo>
                  <a:pt x="122" y="104"/>
                </a:lnTo>
                <a:lnTo>
                  <a:pt x="100" y="106"/>
                </a:lnTo>
                <a:lnTo>
                  <a:pt x="68" y="126"/>
                </a:lnTo>
                <a:lnTo>
                  <a:pt x="68" y="14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98" name="Freeform 135">
            <a:extLst>
              <a:ext uri="{FF2B5EF4-FFF2-40B4-BE49-F238E27FC236}">
                <a16:creationId xmlns:a16="http://schemas.microsoft.com/office/drawing/2014/main" id="{941229CB-AC33-4DBF-B9A4-1AEE312C540D}"/>
              </a:ext>
            </a:extLst>
          </p:cNvPr>
          <p:cNvSpPr>
            <a:spLocks/>
          </p:cNvSpPr>
          <p:nvPr/>
        </p:nvSpPr>
        <p:spPr bwMode="gray">
          <a:xfrm>
            <a:off x="2415498" y="2101033"/>
            <a:ext cx="95864" cy="70767"/>
          </a:xfrm>
          <a:custGeom>
            <a:avLst/>
            <a:gdLst>
              <a:gd name="T0" fmla="*/ 0 w 132"/>
              <a:gd name="T1" fmla="*/ 106 h 106"/>
              <a:gd name="T2" fmla="*/ 4 w 132"/>
              <a:gd name="T3" fmla="*/ 94 h 106"/>
              <a:gd name="T4" fmla="*/ 14 w 132"/>
              <a:gd name="T5" fmla="*/ 78 h 106"/>
              <a:gd name="T6" fmla="*/ 20 w 132"/>
              <a:gd name="T7" fmla="*/ 62 h 106"/>
              <a:gd name="T8" fmla="*/ 30 w 132"/>
              <a:gd name="T9" fmla="*/ 54 h 106"/>
              <a:gd name="T10" fmla="*/ 36 w 132"/>
              <a:gd name="T11" fmla="*/ 38 h 106"/>
              <a:gd name="T12" fmla="*/ 46 w 132"/>
              <a:gd name="T13" fmla="*/ 24 h 106"/>
              <a:gd name="T14" fmla="*/ 52 w 132"/>
              <a:gd name="T15" fmla="*/ 18 h 106"/>
              <a:gd name="T16" fmla="*/ 60 w 132"/>
              <a:gd name="T17" fmla="*/ 8 h 106"/>
              <a:gd name="T18" fmla="*/ 64 w 132"/>
              <a:gd name="T19" fmla="*/ 0 h 106"/>
              <a:gd name="T20" fmla="*/ 132 w 132"/>
              <a:gd name="T21" fmla="*/ 0 h 106"/>
              <a:gd name="T22" fmla="*/ 132 w 132"/>
              <a:gd name="T23" fmla="*/ 28 h 106"/>
              <a:gd name="T24" fmla="*/ 82 w 132"/>
              <a:gd name="T25" fmla="*/ 28 h 106"/>
              <a:gd name="T26" fmla="*/ 82 w 132"/>
              <a:gd name="T27" fmla="*/ 70 h 106"/>
              <a:gd name="T28" fmla="*/ 72 w 132"/>
              <a:gd name="T29" fmla="*/ 70 h 106"/>
              <a:gd name="T30" fmla="*/ 64 w 132"/>
              <a:gd name="T31" fmla="*/ 74 h 106"/>
              <a:gd name="T32" fmla="*/ 64 w 132"/>
              <a:gd name="T33" fmla="*/ 82 h 106"/>
              <a:gd name="T34" fmla="*/ 64 w 132"/>
              <a:gd name="T35" fmla="*/ 106 h 106"/>
              <a:gd name="T36" fmla="*/ 0 w 132"/>
              <a:gd name="T37" fmla="*/ 106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2" h="106">
                <a:moveTo>
                  <a:pt x="0" y="106"/>
                </a:moveTo>
                <a:lnTo>
                  <a:pt x="4" y="94"/>
                </a:lnTo>
                <a:lnTo>
                  <a:pt x="14" y="78"/>
                </a:lnTo>
                <a:lnTo>
                  <a:pt x="20" y="62"/>
                </a:lnTo>
                <a:lnTo>
                  <a:pt x="30" y="54"/>
                </a:lnTo>
                <a:lnTo>
                  <a:pt x="36" y="38"/>
                </a:lnTo>
                <a:lnTo>
                  <a:pt x="46" y="24"/>
                </a:lnTo>
                <a:lnTo>
                  <a:pt x="52" y="18"/>
                </a:lnTo>
                <a:lnTo>
                  <a:pt x="60" y="8"/>
                </a:lnTo>
                <a:lnTo>
                  <a:pt x="64" y="0"/>
                </a:lnTo>
                <a:lnTo>
                  <a:pt x="132" y="0"/>
                </a:lnTo>
                <a:lnTo>
                  <a:pt x="132" y="28"/>
                </a:lnTo>
                <a:lnTo>
                  <a:pt x="82" y="28"/>
                </a:lnTo>
                <a:lnTo>
                  <a:pt x="82" y="70"/>
                </a:lnTo>
                <a:lnTo>
                  <a:pt x="72" y="70"/>
                </a:lnTo>
                <a:lnTo>
                  <a:pt x="64" y="74"/>
                </a:lnTo>
                <a:lnTo>
                  <a:pt x="64" y="82"/>
                </a:lnTo>
                <a:lnTo>
                  <a:pt x="64" y="106"/>
                </a:lnTo>
                <a:lnTo>
                  <a:pt x="0" y="10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199" name="Freeform 136">
            <a:extLst>
              <a:ext uri="{FF2B5EF4-FFF2-40B4-BE49-F238E27FC236}">
                <a16:creationId xmlns:a16="http://schemas.microsoft.com/office/drawing/2014/main" id="{BF0603D7-9F84-4BE8-8258-ED12112CEE70}"/>
              </a:ext>
            </a:extLst>
          </p:cNvPr>
          <p:cNvSpPr>
            <a:spLocks/>
          </p:cNvSpPr>
          <p:nvPr/>
        </p:nvSpPr>
        <p:spPr bwMode="gray">
          <a:xfrm>
            <a:off x="2421308" y="2265265"/>
            <a:ext cx="34860" cy="18693"/>
          </a:xfrm>
          <a:custGeom>
            <a:avLst/>
            <a:gdLst>
              <a:gd name="T0" fmla="*/ 0 w 48"/>
              <a:gd name="T1" fmla="*/ 6 h 28"/>
              <a:gd name="T2" fmla="*/ 18 w 48"/>
              <a:gd name="T3" fmla="*/ 4 h 28"/>
              <a:gd name="T4" fmla="*/ 22 w 48"/>
              <a:gd name="T5" fmla="*/ 0 h 28"/>
              <a:gd name="T6" fmla="*/ 48 w 48"/>
              <a:gd name="T7" fmla="*/ 0 h 28"/>
              <a:gd name="T8" fmla="*/ 44 w 48"/>
              <a:gd name="T9" fmla="*/ 10 h 28"/>
              <a:gd name="T10" fmla="*/ 42 w 48"/>
              <a:gd name="T11" fmla="*/ 16 h 28"/>
              <a:gd name="T12" fmla="*/ 30 w 48"/>
              <a:gd name="T13" fmla="*/ 20 h 28"/>
              <a:gd name="T14" fmla="*/ 22 w 48"/>
              <a:gd name="T15" fmla="*/ 28 h 28"/>
              <a:gd name="T16" fmla="*/ 16 w 48"/>
              <a:gd name="T17" fmla="*/ 22 h 28"/>
              <a:gd name="T18" fmla="*/ 8 w 48"/>
              <a:gd name="T19" fmla="*/ 14 h 28"/>
              <a:gd name="T20" fmla="*/ 6 w 48"/>
              <a:gd name="T21" fmla="*/ 12 h 28"/>
              <a:gd name="T22" fmla="*/ 0 w 48"/>
              <a:gd name="T23" fmla="*/ 6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8" h="28">
                <a:moveTo>
                  <a:pt x="0" y="6"/>
                </a:moveTo>
                <a:lnTo>
                  <a:pt x="18" y="4"/>
                </a:lnTo>
                <a:lnTo>
                  <a:pt x="22" y="0"/>
                </a:lnTo>
                <a:lnTo>
                  <a:pt x="48" y="0"/>
                </a:lnTo>
                <a:lnTo>
                  <a:pt x="44" y="10"/>
                </a:lnTo>
                <a:lnTo>
                  <a:pt x="42" y="16"/>
                </a:lnTo>
                <a:lnTo>
                  <a:pt x="30" y="20"/>
                </a:lnTo>
                <a:lnTo>
                  <a:pt x="22" y="28"/>
                </a:lnTo>
                <a:lnTo>
                  <a:pt x="16" y="22"/>
                </a:lnTo>
                <a:lnTo>
                  <a:pt x="8" y="14"/>
                </a:lnTo>
                <a:lnTo>
                  <a:pt x="6" y="12"/>
                </a:lnTo>
                <a:lnTo>
                  <a:pt x="0" y="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00" name="Freeform 137">
            <a:extLst>
              <a:ext uri="{FF2B5EF4-FFF2-40B4-BE49-F238E27FC236}">
                <a16:creationId xmlns:a16="http://schemas.microsoft.com/office/drawing/2014/main" id="{837188A4-B765-402A-BEC6-42EC5EF99384}"/>
              </a:ext>
            </a:extLst>
          </p:cNvPr>
          <p:cNvSpPr>
            <a:spLocks/>
          </p:cNvSpPr>
          <p:nvPr/>
        </p:nvSpPr>
        <p:spPr bwMode="gray">
          <a:xfrm>
            <a:off x="2460525" y="2294640"/>
            <a:ext cx="31955" cy="32045"/>
          </a:xfrm>
          <a:custGeom>
            <a:avLst/>
            <a:gdLst>
              <a:gd name="T0" fmla="*/ 0 w 44"/>
              <a:gd name="T1" fmla="*/ 16 h 48"/>
              <a:gd name="T2" fmla="*/ 8 w 44"/>
              <a:gd name="T3" fmla="*/ 8 h 48"/>
              <a:gd name="T4" fmla="*/ 16 w 44"/>
              <a:gd name="T5" fmla="*/ 2 h 48"/>
              <a:gd name="T6" fmla="*/ 30 w 44"/>
              <a:gd name="T7" fmla="*/ 0 h 48"/>
              <a:gd name="T8" fmla="*/ 38 w 44"/>
              <a:gd name="T9" fmla="*/ 8 h 48"/>
              <a:gd name="T10" fmla="*/ 44 w 44"/>
              <a:gd name="T11" fmla="*/ 16 h 48"/>
              <a:gd name="T12" fmla="*/ 42 w 44"/>
              <a:gd name="T13" fmla="*/ 24 h 48"/>
              <a:gd name="T14" fmla="*/ 40 w 44"/>
              <a:gd name="T15" fmla="*/ 32 h 48"/>
              <a:gd name="T16" fmla="*/ 34 w 44"/>
              <a:gd name="T17" fmla="*/ 40 h 48"/>
              <a:gd name="T18" fmla="*/ 24 w 44"/>
              <a:gd name="T19" fmla="*/ 48 h 48"/>
              <a:gd name="T20" fmla="*/ 16 w 44"/>
              <a:gd name="T21" fmla="*/ 44 h 48"/>
              <a:gd name="T22" fmla="*/ 4 w 44"/>
              <a:gd name="T23" fmla="*/ 32 h 48"/>
              <a:gd name="T24" fmla="*/ 0 w 44"/>
              <a:gd name="T25" fmla="*/ 24 h 48"/>
              <a:gd name="T26" fmla="*/ 0 w 44"/>
              <a:gd name="T27" fmla="*/ 16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4" h="48">
                <a:moveTo>
                  <a:pt x="0" y="16"/>
                </a:moveTo>
                <a:lnTo>
                  <a:pt x="8" y="8"/>
                </a:lnTo>
                <a:lnTo>
                  <a:pt x="16" y="2"/>
                </a:lnTo>
                <a:lnTo>
                  <a:pt x="30" y="0"/>
                </a:lnTo>
                <a:lnTo>
                  <a:pt x="38" y="8"/>
                </a:lnTo>
                <a:lnTo>
                  <a:pt x="44" y="16"/>
                </a:lnTo>
                <a:lnTo>
                  <a:pt x="42" y="24"/>
                </a:lnTo>
                <a:lnTo>
                  <a:pt x="40" y="32"/>
                </a:lnTo>
                <a:lnTo>
                  <a:pt x="34" y="40"/>
                </a:lnTo>
                <a:lnTo>
                  <a:pt x="24" y="48"/>
                </a:lnTo>
                <a:lnTo>
                  <a:pt x="16" y="44"/>
                </a:lnTo>
                <a:lnTo>
                  <a:pt x="4" y="32"/>
                </a:lnTo>
                <a:lnTo>
                  <a:pt x="0" y="24"/>
                </a:lnTo>
                <a:lnTo>
                  <a:pt x="0" y="1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01" name="Freeform 138">
            <a:extLst>
              <a:ext uri="{FF2B5EF4-FFF2-40B4-BE49-F238E27FC236}">
                <a16:creationId xmlns:a16="http://schemas.microsoft.com/office/drawing/2014/main" id="{1CD147E7-0A4B-4890-916B-C211FA76BB7C}"/>
              </a:ext>
            </a:extLst>
          </p:cNvPr>
          <p:cNvSpPr>
            <a:spLocks/>
          </p:cNvSpPr>
          <p:nvPr/>
        </p:nvSpPr>
        <p:spPr bwMode="gray">
          <a:xfrm>
            <a:off x="2415498" y="2101033"/>
            <a:ext cx="143796" cy="142869"/>
          </a:xfrm>
          <a:custGeom>
            <a:avLst/>
            <a:gdLst>
              <a:gd name="T0" fmla="*/ 0 w 198"/>
              <a:gd name="T1" fmla="*/ 106 h 214"/>
              <a:gd name="T2" fmla="*/ 64 w 198"/>
              <a:gd name="T3" fmla="*/ 106 h 214"/>
              <a:gd name="T4" fmla="*/ 64 w 198"/>
              <a:gd name="T5" fmla="*/ 82 h 214"/>
              <a:gd name="T6" fmla="*/ 64 w 198"/>
              <a:gd name="T7" fmla="*/ 74 h 214"/>
              <a:gd name="T8" fmla="*/ 68 w 198"/>
              <a:gd name="T9" fmla="*/ 72 h 214"/>
              <a:gd name="T10" fmla="*/ 72 w 198"/>
              <a:gd name="T11" fmla="*/ 70 h 214"/>
              <a:gd name="T12" fmla="*/ 82 w 198"/>
              <a:gd name="T13" fmla="*/ 70 h 214"/>
              <a:gd name="T14" fmla="*/ 82 w 198"/>
              <a:gd name="T15" fmla="*/ 28 h 214"/>
              <a:gd name="T16" fmla="*/ 132 w 198"/>
              <a:gd name="T17" fmla="*/ 28 h 214"/>
              <a:gd name="T18" fmla="*/ 132 w 198"/>
              <a:gd name="T19" fmla="*/ 0 h 214"/>
              <a:gd name="T20" fmla="*/ 198 w 198"/>
              <a:gd name="T21" fmla="*/ 48 h 214"/>
              <a:gd name="T22" fmla="*/ 168 w 198"/>
              <a:gd name="T23" fmla="*/ 48 h 214"/>
              <a:gd name="T24" fmla="*/ 180 w 198"/>
              <a:gd name="T25" fmla="*/ 184 h 214"/>
              <a:gd name="T26" fmla="*/ 186 w 198"/>
              <a:gd name="T27" fmla="*/ 192 h 214"/>
              <a:gd name="T28" fmla="*/ 184 w 198"/>
              <a:gd name="T29" fmla="*/ 202 h 214"/>
              <a:gd name="T30" fmla="*/ 84 w 198"/>
              <a:gd name="T31" fmla="*/ 200 h 214"/>
              <a:gd name="T32" fmla="*/ 78 w 198"/>
              <a:gd name="T33" fmla="*/ 214 h 214"/>
              <a:gd name="T34" fmla="*/ 68 w 198"/>
              <a:gd name="T35" fmla="*/ 206 h 214"/>
              <a:gd name="T36" fmla="*/ 60 w 198"/>
              <a:gd name="T37" fmla="*/ 194 h 214"/>
              <a:gd name="T38" fmla="*/ 52 w 198"/>
              <a:gd name="T39" fmla="*/ 188 h 214"/>
              <a:gd name="T40" fmla="*/ 40 w 198"/>
              <a:gd name="T41" fmla="*/ 182 h 214"/>
              <a:gd name="T42" fmla="*/ 26 w 198"/>
              <a:gd name="T43" fmla="*/ 182 h 214"/>
              <a:gd name="T44" fmla="*/ 12 w 198"/>
              <a:gd name="T45" fmla="*/ 184 h 214"/>
              <a:gd name="T46" fmla="*/ 12 w 198"/>
              <a:gd name="T47" fmla="*/ 172 h 214"/>
              <a:gd name="T48" fmla="*/ 18 w 198"/>
              <a:gd name="T49" fmla="*/ 152 h 214"/>
              <a:gd name="T50" fmla="*/ 12 w 198"/>
              <a:gd name="T51" fmla="*/ 144 h 214"/>
              <a:gd name="T52" fmla="*/ 8 w 198"/>
              <a:gd name="T53" fmla="*/ 138 h 214"/>
              <a:gd name="T54" fmla="*/ 12 w 198"/>
              <a:gd name="T55" fmla="*/ 130 h 214"/>
              <a:gd name="T56" fmla="*/ 12 w 198"/>
              <a:gd name="T57" fmla="*/ 122 h 214"/>
              <a:gd name="T58" fmla="*/ 8 w 198"/>
              <a:gd name="T59" fmla="*/ 116 h 214"/>
              <a:gd name="T60" fmla="*/ 0 w 198"/>
              <a:gd name="T61" fmla="*/ 112 h 214"/>
              <a:gd name="T62" fmla="*/ 0 w 198"/>
              <a:gd name="T63" fmla="*/ 106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98" h="214">
                <a:moveTo>
                  <a:pt x="0" y="106"/>
                </a:moveTo>
                <a:lnTo>
                  <a:pt x="64" y="106"/>
                </a:lnTo>
                <a:lnTo>
                  <a:pt x="64" y="82"/>
                </a:lnTo>
                <a:lnTo>
                  <a:pt x="64" y="74"/>
                </a:lnTo>
                <a:lnTo>
                  <a:pt x="68" y="72"/>
                </a:lnTo>
                <a:lnTo>
                  <a:pt x="72" y="70"/>
                </a:lnTo>
                <a:lnTo>
                  <a:pt x="82" y="70"/>
                </a:lnTo>
                <a:lnTo>
                  <a:pt x="82" y="28"/>
                </a:lnTo>
                <a:lnTo>
                  <a:pt x="132" y="28"/>
                </a:lnTo>
                <a:lnTo>
                  <a:pt x="132" y="0"/>
                </a:lnTo>
                <a:lnTo>
                  <a:pt x="198" y="48"/>
                </a:lnTo>
                <a:lnTo>
                  <a:pt x="168" y="48"/>
                </a:lnTo>
                <a:lnTo>
                  <a:pt x="180" y="184"/>
                </a:lnTo>
                <a:lnTo>
                  <a:pt x="186" y="192"/>
                </a:lnTo>
                <a:lnTo>
                  <a:pt x="184" y="202"/>
                </a:lnTo>
                <a:lnTo>
                  <a:pt x="84" y="200"/>
                </a:lnTo>
                <a:lnTo>
                  <a:pt x="78" y="214"/>
                </a:lnTo>
                <a:lnTo>
                  <a:pt x="68" y="206"/>
                </a:lnTo>
                <a:lnTo>
                  <a:pt x="60" y="194"/>
                </a:lnTo>
                <a:lnTo>
                  <a:pt x="52" y="188"/>
                </a:lnTo>
                <a:lnTo>
                  <a:pt x="40" y="182"/>
                </a:lnTo>
                <a:lnTo>
                  <a:pt x="26" y="182"/>
                </a:lnTo>
                <a:lnTo>
                  <a:pt x="12" y="184"/>
                </a:lnTo>
                <a:lnTo>
                  <a:pt x="12" y="172"/>
                </a:lnTo>
                <a:lnTo>
                  <a:pt x="18" y="152"/>
                </a:lnTo>
                <a:lnTo>
                  <a:pt x="12" y="144"/>
                </a:lnTo>
                <a:lnTo>
                  <a:pt x="8" y="138"/>
                </a:lnTo>
                <a:lnTo>
                  <a:pt x="12" y="130"/>
                </a:lnTo>
                <a:lnTo>
                  <a:pt x="12" y="122"/>
                </a:lnTo>
                <a:lnTo>
                  <a:pt x="8" y="116"/>
                </a:lnTo>
                <a:lnTo>
                  <a:pt x="0" y="112"/>
                </a:lnTo>
                <a:lnTo>
                  <a:pt x="0" y="10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02" name="Freeform 139">
            <a:extLst>
              <a:ext uri="{FF2B5EF4-FFF2-40B4-BE49-F238E27FC236}">
                <a16:creationId xmlns:a16="http://schemas.microsoft.com/office/drawing/2014/main" id="{FD57D50E-FA1B-478D-87DC-C276D9E6B61A}"/>
              </a:ext>
            </a:extLst>
          </p:cNvPr>
          <p:cNvSpPr>
            <a:spLocks/>
          </p:cNvSpPr>
          <p:nvPr/>
        </p:nvSpPr>
        <p:spPr bwMode="gray">
          <a:xfrm>
            <a:off x="2437285" y="2265265"/>
            <a:ext cx="84244" cy="58750"/>
          </a:xfrm>
          <a:custGeom>
            <a:avLst/>
            <a:gdLst>
              <a:gd name="T0" fmla="*/ 60 w 116"/>
              <a:gd name="T1" fmla="*/ 6 h 88"/>
              <a:gd name="T2" fmla="*/ 60 w 116"/>
              <a:gd name="T3" fmla="*/ 8 h 88"/>
              <a:gd name="T4" fmla="*/ 72 w 116"/>
              <a:gd name="T5" fmla="*/ 12 h 88"/>
              <a:gd name="T6" fmla="*/ 84 w 116"/>
              <a:gd name="T7" fmla="*/ 8 h 88"/>
              <a:gd name="T8" fmla="*/ 98 w 116"/>
              <a:gd name="T9" fmla="*/ 6 h 88"/>
              <a:gd name="T10" fmla="*/ 100 w 116"/>
              <a:gd name="T11" fmla="*/ 14 h 88"/>
              <a:gd name="T12" fmla="*/ 106 w 116"/>
              <a:gd name="T13" fmla="*/ 24 h 88"/>
              <a:gd name="T14" fmla="*/ 112 w 116"/>
              <a:gd name="T15" fmla="*/ 38 h 88"/>
              <a:gd name="T16" fmla="*/ 110 w 116"/>
              <a:gd name="T17" fmla="*/ 46 h 88"/>
              <a:gd name="T18" fmla="*/ 112 w 116"/>
              <a:gd name="T19" fmla="*/ 50 h 88"/>
              <a:gd name="T20" fmla="*/ 114 w 116"/>
              <a:gd name="T21" fmla="*/ 54 h 88"/>
              <a:gd name="T22" fmla="*/ 116 w 116"/>
              <a:gd name="T23" fmla="*/ 68 h 88"/>
              <a:gd name="T24" fmla="*/ 110 w 116"/>
              <a:gd name="T25" fmla="*/ 70 h 88"/>
              <a:gd name="T26" fmla="*/ 112 w 116"/>
              <a:gd name="T27" fmla="*/ 80 h 88"/>
              <a:gd name="T28" fmla="*/ 106 w 116"/>
              <a:gd name="T29" fmla="*/ 84 h 88"/>
              <a:gd name="T30" fmla="*/ 100 w 116"/>
              <a:gd name="T31" fmla="*/ 82 h 88"/>
              <a:gd name="T32" fmla="*/ 96 w 116"/>
              <a:gd name="T33" fmla="*/ 88 h 88"/>
              <a:gd name="T34" fmla="*/ 90 w 116"/>
              <a:gd name="T35" fmla="*/ 86 h 88"/>
              <a:gd name="T36" fmla="*/ 88 w 116"/>
              <a:gd name="T37" fmla="*/ 72 h 88"/>
              <a:gd name="T38" fmla="*/ 82 w 116"/>
              <a:gd name="T39" fmla="*/ 70 h 88"/>
              <a:gd name="T40" fmla="*/ 74 w 116"/>
              <a:gd name="T41" fmla="*/ 68 h 88"/>
              <a:gd name="T42" fmla="*/ 76 w 116"/>
              <a:gd name="T43" fmla="*/ 60 h 88"/>
              <a:gd name="T44" fmla="*/ 70 w 116"/>
              <a:gd name="T45" fmla="*/ 52 h 88"/>
              <a:gd name="T46" fmla="*/ 62 w 116"/>
              <a:gd name="T47" fmla="*/ 44 h 88"/>
              <a:gd name="T48" fmla="*/ 48 w 116"/>
              <a:gd name="T49" fmla="*/ 46 h 88"/>
              <a:gd name="T50" fmla="*/ 40 w 116"/>
              <a:gd name="T51" fmla="*/ 52 h 88"/>
              <a:gd name="T52" fmla="*/ 32 w 116"/>
              <a:gd name="T53" fmla="*/ 60 h 88"/>
              <a:gd name="T54" fmla="*/ 24 w 116"/>
              <a:gd name="T55" fmla="*/ 50 h 88"/>
              <a:gd name="T56" fmla="*/ 14 w 116"/>
              <a:gd name="T57" fmla="*/ 40 h 88"/>
              <a:gd name="T58" fmla="*/ 6 w 116"/>
              <a:gd name="T59" fmla="*/ 38 h 88"/>
              <a:gd name="T60" fmla="*/ 0 w 116"/>
              <a:gd name="T61" fmla="*/ 28 h 88"/>
              <a:gd name="T62" fmla="*/ 8 w 116"/>
              <a:gd name="T63" fmla="*/ 20 h 88"/>
              <a:gd name="T64" fmla="*/ 20 w 116"/>
              <a:gd name="T65" fmla="*/ 16 h 88"/>
              <a:gd name="T66" fmla="*/ 22 w 116"/>
              <a:gd name="T67" fmla="*/ 10 h 88"/>
              <a:gd name="T68" fmla="*/ 26 w 116"/>
              <a:gd name="T69" fmla="*/ 0 h 88"/>
              <a:gd name="T70" fmla="*/ 32 w 116"/>
              <a:gd name="T71" fmla="*/ 0 h 88"/>
              <a:gd name="T72" fmla="*/ 38 w 116"/>
              <a:gd name="T73" fmla="*/ 4 h 88"/>
              <a:gd name="T74" fmla="*/ 50 w 116"/>
              <a:gd name="T75" fmla="*/ 4 h 88"/>
              <a:gd name="T76" fmla="*/ 60 w 116"/>
              <a:gd name="T77" fmla="*/ 6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16" h="88">
                <a:moveTo>
                  <a:pt x="60" y="6"/>
                </a:moveTo>
                <a:lnTo>
                  <a:pt x="60" y="8"/>
                </a:lnTo>
                <a:lnTo>
                  <a:pt x="72" y="12"/>
                </a:lnTo>
                <a:lnTo>
                  <a:pt x="84" y="8"/>
                </a:lnTo>
                <a:lnTo>
                  <a:pt x="98" y="6"/>
                </a:lnTo>
                <a:lnTo>
                  <a:pt x="100" y="14"/>
                </a:lnTo>
                <a:lnTo>
                  <a:pt x="106" y="24"/>
                </a:lnTo>
                <a:lnTo>
                  <a:pt x="112" y="38"/>
                </a:lnTo>
                <a:lnTo>
                  <a:pt x="110" y="46"/>
                </a:lnTo>
                <a:lnTo>
                  <a:pt x="112" y="50"/>
                </a:lnTo>
                <a:lnTo>
                  <a:pt x="114" y="54"/>
                </a:lnTo>
                <a:lnTo>
                  <a:pt x="116" y="68"/>
                </a:lnTo>
                <a:lnTo>
                  <a:pt x="110" y="70"/>
                </a:lnTo>
                <a:lnTo>
                  <a:pt x="112" y="80"/>
                </a:lnTo>
                <a:lnTo>
                  <a:pt x="106" y="84"/>
                </a:lnTo>
                <a:lnTo>
                  <a:pt x="100" y="82"/>
                </a:lnTo>
                <a:lnTo>
                  <a:pt x="96" y="88"/>
                </a:lnTo>
                <a:lnTo>
                  <a:pt x="90" y="86"/>
                </a:lnTo>
                <a:lnTo>
                  <a:pt x="88" y="72"/>
                </a:lnTo>
                <a:lnTo>
                  <a:pt x="82" y="70"/>
                </a:lnTo>
                <a:lnTo>
                  <a:pt x="74" y="68"/>
                </a:lnTo>
                <a:lnTo>
                  <a:pt x="76" y="60"/>
                </a:lnTo>
                <a:lnTo>
                  <a:pt x="70" y="52"/>
                </a:lnTo>
                <a:lnTo>
                  <a:pt x="62" y="44"/>
                </a:lnTo>
                <a:lnTo>
                  <a:pt x="48" y="46"/>
                </a:lnTo>
                <a:lnTo>
                  <a:pt x="40" y="52"/>
                </a:lnTo>
                <a:lnTo>
                  <a:pt x="32" y="60"/>
                </a:lnTo>
                <a:lnTo>
                  <a:pt x="24" y="50"/>
                </a:lnTo>
                <a:lnTo>
                  <a:pt x="14" y="40"/>
                </a:lnTo>
                <a:lnTo>
                  <a:pt x="6" y="38"/>
                </a:lnTo>
                <a:lnTo>
                  <a:pt x="0" y="28"/>
                </a:lnTo>
                <a:lnTo>
                  <a:pt x="8" y="20"/>
                </a:lnTo>
                <a:lnTo>
                  <a:pt x="20" y="16"/>
                </a:lnTo>
                <a:lnTo>
                  <a:pt x="22" y="10"/>
                </a:lnTo>
                <a:lnTo>
                  <a:pt x="26" y="0"/>
                </a:lnTo>
                <a:lnTo>
                  <a:pt x="32" y="0"/>
                </a:lnTo>
                <a:lnTo>
                  <a:pt x="38" y="4"/>
                </a:lnTo>
                <a:lnTo>
                  <a:pt x="50" y="4"/>
                </a:lnTo>
                <a:lnTo>
                  <a:pt x="60" y="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03" name="Freeform 140">
            <a:extLst>
              <a:ext uri="{FF2B5EF4-FFF2-40B4-BE49-F238E27FC236}">
                <a16:creationId xmlns:a16="http://schemas.microsoft.com/office/drawing/2014/main" id="{34462ADF-0A31-4ACA-AB47-E66334374B52}"/>
              </a:ext>
            </a:extLst>
          </p:cNvPr>
          <p:cNvSpPr>
            <a:spLocks/>
          </p:cNvSpPr>
          <p:nvPr/>
        </p:nvSpPr>
        <p:spPr bwMode="gray">
          <a:xfrm>
            <a:off x="2477954" y="2310663"/>
            <a:ext cx="47932" cy="44062"/>
          </a:xfrm>
          <a:custGeom>
            <a:avLst/>
            <a:gdLst>
              <a:gd name="T0" fmla="*/ 50 w 66"/>
              <a:gd name="T1" fmla="*/ 16 h 66"/>
              <a:gd name="T2" fmla="*/ 50 w 66"/>
              <a:gd name="T3" fmla="*/ 26 h 66"/>
              <a:gd name="T4" fmla="*/ 50 w 66"/>
              <a:gd name="T5" fmla="*/ 34 h 66"/>
              <a:gd name="T6" fmla="*/ 58 w 66"/>
              <a:gd name="T7" fmla="*/ 36 h 66"/>
              <a:gd name="T8" fmla="*/ 64 w 66"/>
              <a:gd name="T9" fmla="*/ 40 h 66"/>
              <a:gd name="T10" fmla="*/ 66 w 66"/>
              <a:gd name="T11" fmla="*/ 46 h 66"/>
              <a:gd name="T12" fmla="*/ 66 w 66"/>
              <a:gd name="T13" fmla="*/ 54 h 66"/>
              <a:gd name="T14" fmla="*/ 62 w 66"/>
              <a:gd name="T15" fmla="*/ 66 h 66"/>
              <a:gd name="T16" fmla="*/ 50 w 66"/>
              <a:gd name="T17" fmla="*/ 62 h 66"/>
              <a:gd name="T18" fmla="*/ 38 w 66"/>
              <a:gd name="T19" fmla="*/ 54 h 66"/>
              <a:gd name="T20" fmla="*/ 30 w 66"/>
              <a:gd name="T21" fmla="*/ 44 h 66"/>
              <a:gd name="T22" fmla="*/ 18 w 66"/>
              <a:gd name="T23" fmla="*/ 36 h 66"/>
              <a:gd name="T24" fmla="*/ 8 w 66"/>
              <a:gd name="T25" fmla="*/ 32 h 66"/>
              <a:gd name="T26" fmla="*/ 0 w 66"/>
              <a:gd name="T27" fmla="*/ 24 h 66"/>
              <a:gd name="T28" fmla="*/ 16 w 66"/>
              <a:gd name="T29" fmla="*/ 8 h 66"/>
              <a:gd name="T30" fmla="*/ 18 w 66"/>
              <a:gd name="T31" fmla="*/ 0 h 66"/>
              <a:gd name="T32" fmla="*/ 24 w 66"/>
              <a:gd name="T33" fmla="*/ 0 h 66"/>
              <a:gd name="T34" fmla="*/ 32 w 66"/>
              <a:gd name="T35" fmla="*/ 4 h 66"/>
              <a:gd name="T36" fmla="*/ 34 w 66"/>
              <a:gd name="T37" fmla="*/ 18 h 66"/>
              <a:gd name="T38" fmla="*/ 40 w 66"/>
              <a:gd name="T39" fmla="*/ 20 h 66"/>
              <a:gd name="T40" fmla="*/ 44 w 66"/>
              <a:gd name="T41" fmla="*/ 14 h 66"/>
              <a:gd name="T42" fmla="*/ 50 w 66"/>
              <a:gd name="T43" fmla="*/ 16 h 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6" h="66">
                <a:moveTo>
                  <a:pt x="50" y="16"/>
                </a:moveTo>
                <a:lnTo>
                  <a:pt x="50" y="26"/>
                </a:lnTo>
                <a:lnTo>
                  <a:pt x="50" y="34"/>
                </a:lnTo>
                <a:lnTo>
                  <a:pt x="58" y="36"/>
                </a:lnTo>
                <a:lnTo>
                  <a:pt x="64" y="40"/>
                </a:lnTo>
                <a:lnTo>
                  <a:pt x="66" y="46"/>
                </a:lnTo>
                <a:lnTo>
                  <a:pt x="66" y="54"/>
                </a:lnTo>
                <a:lnTo>
                  <a:pt x="62" y="66"/>
                </a:lnTo>
                <a:lnTo>
                  <a:pt x="50" y="62"/>
                </a:lnTo>
                <a:lnTo>
                  <a:pt x="38" y="54"/>
                </a:lnTo>
                <a:lnTo>
                  <a:pt x="30" y="44"/>
                </a:lnTo>
                <a:lnTo>
                  <a:pt x="18" y="36"/>
                </a:lnTo>
                <a:lnTo>
                  <a:pt x="8" y="32"/>
                </a:lnTo>
                <a:lnTo>
                  <a:pt x="0" y="24"/>
                </a:lnTo>
                <a:lnTo>
                  <a:pt x="16" y="8"/>
                </a:lnTo>
                <a:lnTo>
                  <a:pt x="18" y="0"/>
                </a:lnTo>
                <a:lnTo>
                  <a:pt x="24" y="0"/>
                </a:lnTo>
                <a:lnTo>
                  <a:pt x="32" y="4"/>
                </a:lnTo>
                <a:lnTo>
                  <a:pt x="34" y="18"/>
                </a:lnTo>
                <a:lnTo>
                  <a:pt x="40" y="20"/>
                </a:lnTo>
                <a:lnTo>
                  <a:pt x="44" y="14"/>
                </a:lnTo>
                <a:lnTo>
                  <a:pt x="50" y="1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04" name="Freeform 141">
            <a:extLst>
              <a:ext uri="{FF2B5EF4-FFF2-40B4-BE49-F238E27FC236}">
                <a16:creationId xmlns:a16="http://schemas.microsoft.com/office/drawing/2014/main" id="{A5566B29-60FB-4F7A-A639-DCB5722E4F9F}"/>
              </a:ext>
            </a:extLst>
          </p:cNvPr>
          <p:cNvSpPr>
            <a:spLocks/>
          </p:cNvSpPr>
          <p:nvPr/>
        </p:nvSpPr>
        <p:spPr bwMode="gray">
          <a:xfrm>
            <a:off x="2766272" y="2149101"/>
            <a:ext cx="122008" cy="172244"/>
          </a:xfrm>
          <a:custGeom>
            <a:avLst/>
            <a:gdLst>
              <a:gd name="T0" fmla="*/ 166 w 168"/>
              <a:gd name="T1" fmla="*/ 128 h 258"/>
              <a:gd name="T2" fmla="*/ 152 w 168"/>
              <a:gd name="T3" fmla="*/ 130 h 258"/>
              <a:gd name="T4" fmla="*/ 148 w 168"/>
              <a:gd name="T5" fmla="*/ 142 h 258"/>
              <a:gd name="T6" fmla="*/ 136 w 168"/>
              <a:gd name="T7" fmla="*/ 170 h 258"/>
              <a:gd name="T8" fmla="*/ 144 w 168"/>
              <a:gd name="T9" fmla="*/ 178 h 258"/>
              <a:gd name="T10" fmla="*/ 148 w 168"/>
              <a:gd name="T11" fmla="*/ 204 h 258"/>
              <a:gd name="T12" fmla="*/ 136 w 168"/>
              <a:gd name="T13" fmla="*/ 206 h 258"/>
              <a:gd name="T14" fmla="*/ 112 w 168"/>
              <a:gd name="T15" fmla="*/ 230 h 258"/>
              <a:gd name="T16" fmla="*/ 88 w 168"/>
              <a:gd name="T17" fmla="*/ 234 h 258"/>
              <a:gd name="T18" fmla="*/ 86 w 168"/>
              <a:gd name="T19" fmla="*/ 246 h 258"/>
              <a:gd name="T20" fmla="*/ 40 w 168"/>
              <a:gd name="T21" fmla="*/ 258 h 258"/>
              <a:gd name="T22" fmla="*/ 30 w 168"/>
              <a:gd name="T23" fmla="*/ 246 h 258"/>
              <a:gd name="T24" fmla="*/ 10 w 168"/>
              <a:gd name="T25" fmla="*/ 226 h 258"/>
              <a:gd name="T26" fmla="*/ 12 w 168"/>
              <a:gd name="T27" fmla="*/ 216 h 258"/>
              <a:gd name="T28" fmla="*/ 32 w 168"/>
              <a:gd name="T29" fmla="*/ 216 h 258"/>
              <a:gd name="T30" fmla="*/ 26 w 168"/>
              <a:gd name="T31" fmla="*/ 206 h 258"/>
              <a:gd name="T32" fmla="*/ 24 w 168"/>
              <a:gd name="T33" fmla="*/ 182 h 258"/>
              <a:gd name="T34" fmla="*/ 16 w 168"/>
              <a:gd name="T35" fmla="*/ 170 h 258"/>
              <a:gd name="T36" fmla="*/ 2 w 168"/>
              <a:gd name="T37" fmla="*/ 156 h 258"/>
              <a:gd name="T38" fmla="*/ 0 w 168"/>
              <a:gd name="T39" fmla="*/ 144 h 258"/>
              <a:gd name="T40" fmla="*/ 32 w 168"/>
              <a:gd name="T41" fmla="*/ 106 h 258"/>
              <a:gd name="T42" fmla="*/ 36 w 168"/>
              <a:gd name="T43" fmla="*/ 66 h 258"/>
              <a:gd name="T44" fmla="*/ 40 w 168"/>
              <a:gd name="T45" fmla="*/ 50 h 258"/>
              <a:gd name="T46" fmla="*/ 28 w 168"/>
              <a:gd name="T47" fmla="*/ 6 h 258"/>
              <a:gd name="T48" fmla="*/ 34 w 168"/>
              <a:gd name="T49" fmla="*/ 0 h 258"/>
              <a:gd name="T50" fmla="*/ 168 w 168"/>
              <a:gd name="T51" fmla="*/ 54 h 258"/>
              <a:gd name="T52" fmla="*/ 166 w 168"/>
              <a:gd name="T53" fmla="*/ 128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68" h="258">
                <a:moveTo>
                  <a:pt x="166" y="128"/>
                </a:moveTo>
                <a:lnTo>
                  <a:pt x="152" y="130"/>
                </a:lnTo>
                <a:lnTo>
                  <a:pt x="148" y="142"/>
                </a:lnTo>
                <a:lnTo>
                  <a:pt x="136" y="170"/>
                </a:lnTo>
                <a:lnTo>
                  <a:pt x="144" y="178"/>
                </a:lnTo>
                <a:lnTo>
                  <a:pt x="148" y="204"/>
                </a:lnTo>
                <a:lnTo>
                  <a:pt x="136" y="206"/>
                </a:lnTo>
                <a:lnTo>
                  <a:pt x="112" y="230"/>
                </a:lnTo>
                <a:lnTo>
                  <a:pt x="88" y="234"/>
                </a:lnTo>
                <a:lnTo>
                  <a:pt x="86" y="246"/>
                </a:lnTo>
                <a:lnTo>
                  <a:pt x="40" y="258"/>
                </a:lnTo>
                <a:lnTo>
                  <a:pt x="30" y="246"/>
                </a:lnTo>
                <a:lnTo>
                  <a:pt x="10" y="226"/>
                </a:lnTo>
                <a:lnTo>
                  <a:pt x="12" y="216"/>
                </a:lnTo>
                <a:lnTo>
                  <a:pt x="32" y="216"/>
                </a:lnTo>
                <a:lnTo>
                  <a:pt x="26" y="206"/>
                </a:lnTo>
                <a:lnTo>
                  <a:pt x="24" y="182"/>
                </a:lnTo>
                <a:lnTo>
                  <a:pt x="16" y="170"/>
                </a:lnTo>
                <a:lnTo>
                  <a:pt x="2" y="156"/>
                </a:lnTo>
                <a:lnTo>
                  <a:pt x="0" y="144"/>
                </a:lnTo>
                <a:lnTo>
                  <a:pt x="32" y="106"/>
                </a:lnTo>
                <a:lnTo>
                  <a:pt x="36" y="66"/>
                </a:lnTo>
                <a:lnTo>
                  <a:pt x="40" y="50"/>
                </a:lnTo>
                <a:lnTo>
                  <a:pt x="28" y="6"/>
                </a:lnTo>
                <a:lnTo>
                  <a:pt x="34" y="0"/>
                </a:lnTo>
                <a:lnTo>
                  <a:pt x="168" y="54"/>
                </a:lnTo>
                <a:lnTo>
                  <a:pt x="166" y="128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05" name="Freeform 142">
            <a:extLst>
              <a:ext uri="{FF2B5EF4-FFF2-40B4-BE49-F238E27FC236}">
                <a16:creationId xmlns:a16="http://schemas.microsoft.com/office/drawing/2014/main" id="{22C784C8-8CB0-4D68-AA68-DF5E0B960D70}"/>
              </a:ext>
            </a:extLst>
          </p:cNvPr>
          <p:cNvSpPr>
            <a:spLocks/>
          </p:cNvSpPr>
          <p:nvPr/>
        </p:nvSpPr>
        <p:spPr bwMode="gray">
          <a:xfrm>
            <a:off x="2613035" y="2146431"/>
            <a:ext cx="182286" cy="129517"/>
          </a:xfrm>
          <a:custGeom>
            <a:avLst/>
            <a:gdLst>
              <a:gd name="T0" fmla="*/ 4 w 251"/>
              <a:gd name="T1" fmla="*/ 142 h 194"/>
              <a:gd name="T2" fmla="*/ 18 w 251"/>
              <a:gd name="T3" fmla="*/ 142 h 194"/>
              <a:gd name="T4" fmla="*/ 52 w 251"/>
              <a:gd name="T5" fmla="*/ 136 h 194"/>
              <a:gd name="T6" fmla="*/ 64 w 251"/>
              <a:gd name="T7" fmla="*/ 118 h 194"/>
              <a:gd name="T8" fmla="*/ 66 w 251"/>
              <a:gd name="T9" fmla="*/ 76 h 194"/>
              <a:gd name="T10" fmla="*/ 86 w 251"/>
              <a:gd name="T11" fmla="*/ 72 h 194"/>
              <a:gd name="T12" fmla="*/ 124 w 251"/>
              <a:gd name="T13" fmla="*/ 40 h 194"/>
              <a:gd name="T14" fmla="*/ 191 w 251"/>
              <a:gd name="T15" fmla="*/ 0 h 194"/>
              <a:gd name="T16" fmla="*/ 199 w 251"/>
              <a:gd name="T17" fmla="*/ 2 h 194"/>
              <a:gd name="T18" fmla="*/ 207 w 251"/>
              <a:gd name="T19" fmla="*/ 4 h 194"/>
              <a:gd name="T20" fmla="*/ 217 w 251"/>
              <a:gd name="T21" fmla="*/ 8 h 194"/>
              <a:gd name="T22" fmla="*/ 227 w 251"/>
              <a:gd name="T23" fmla="*/ 16 h 194"/>
              <a:gd name="T24" fmla="*/ 239 w 251"/>
              <a:gd name="T25" fmla="*/ 10 h 194"/>
              <a:gd name="T26" fmla="*/ 251 w 251"/>
              <a:gd name="T27" fmla="*/ 54 h 194"/>
              <a:gd name="T28" fmla="*/ 247 w 251"/>
              <a:gd name="T29" fmla="*/ 70 h 194"/>
              <a:gd name="T30" fmla="*/ 243 w 251"/>
              <a:gd name="T31" fmla="*/ 110 h 194"/>
              <a:gd name="T32" fmla="*/ 211 w 251"/>
              <a:gd name="T33" fmla="*/ 148 h 194"/>
              <a:gd name="T34" fmla="*/ 213 w 251"/>
              <a:gd name="T35" fmla="*/ 160 h 194"/>
              <a:gd name="T36" fmla="*/ 191 w 251"/>
              <a:gd name="T37" fmla="*/ 174 h 194"/>
              <a:gd name="T38" fmla="*/ 156 w 251"/>
              <a:gd name="T39" fmla="*/ 170 h 194"/>
              <a:gd name="T40" fmla="*/ 150 w 251"/>
              <a:gd name="T41" fmla="*/ 178 h 194"/>
              <a:gd name="T42" fmla="*/ 122 w 251"/>
              <a:gd name="T43" fmla="*/ 168 h 194"/>
              <a:gd name="T44" fmla="*/ 112 w 251"/>
              <a:gd name="T45" fmla="*/ 174 h 194"/>
              <a:gd name="T46" fmla="*/ 96 w 251"/>
              <a:gd name="T47" fmla="*/ 162 h 194"/>
              <a:gd name="T48" fmla="*/ 66 w 251"/>
              <a:gd name="T49" fmla="*/ 162 h 194"/>
              <a:gd name="T50" fmla="*/ 54 w 251"/>
              <a:gd name="T51" fmla="*/ 194 h 194"/>
              <a:gd name="T52" fmla="*/ 44 w 251"/>
              <a:gd name="T53" fmla="*/ 184 h 194"/>
              <a:gd name="T54" fmla="*/ 30 w 251"/>
              <a:gd name="T55" fmla="*/ 186 h 194"/>
              <a:gd name="T56" fmla="*/ 16 w 251"/>
              <a:gd name="T57" fmla="*/ 178 h 194"/>
              <a:gd name="T58" fmla="*/ 12 w 251"/>
              <a:gd name="T59" fmla="*/ 176 h 194"/>
              <a:gd name="T60" fmla="*/ 14 w 251"/>
              <a:gd name="T61" fmla="*/ 170 h 194"/>
              <a:gd name="T62" fmla="*/ 4 w 251"/>
              <a:gd name="T63" fmla="*/ 158 h 194"/>
              <a:gd name="T64" fmla="*/ 0 w 251"/>
              <a:gd name="T65" fmla="*/ 150 h 194"/>
              <a:gd name="T66" fmla="*/ 4 w 251"/>
              <a:gd name="T67" fmla="*/ 142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51" h="194">
                <a:moveTo>
                  <a:pt x="4" y="142"/>
                </a:moveTo>
                <a:lnTo>
                  <a:pt x="18" y="142"/>
                </a:lnTo>
                <a:lnTo>
                  <a:pt x="52" y="136"/>
                </a:lnTo>
                <a:lnTo>
                  <a:pt x="64" y="118"/>
                </a:lnTo>
                <a:lnTo>
                  <a:pt x="66" y="76"/>
                </a:lnTo>
                <a:lnTo>
                  <a:pt x="86" y="72"/>
                </a:lnTo>
                <a:lnTo>
                  <a:pt x="124" y="40"/>
                </a:lnTo>
                <a:lnTo>
                  <a:pt x="191" y="0"/>
                </a:lnTo>
                <a:lnTo>
                  <a:pt x="199" y="2"/>
                </a:lnTo>
                <a:lnTo>
                  <a:pt x="207" y="4"/>
                </a:lnTo>
                <a:lnTo>
                  <a:pt x="217" y="8"/>
                </a:lnTo>
                <a:lnTo>
                  <a:pt x="227" y="16"/>
                </a:lnTo>
                <a:lnTo>
                  <a:pt x="239" y="10"/>
                </a:lnTo>
                <a:lnTo>
                  <a:pt x="251" y="54"/>
                </a:lnTo>
                <a:lnTo>
                  <a:pt x="247" y="70"/>
                </a:lnTo>
                <a:lnTo>
                  <a:pt x="243" y="110"/>
                </a:lnTo>
                <a:lnTo>
                  <a:pt x="211" y="148"/>
                </a:lnTo>
                <a:lnTo>
                  <a:pt x="213" y="160"/>
                </a:lnTo>
                <a:lnTo>
                  <a:pt x="191" y="174"/>
                </a:lnTo>
                <a:lnTo>
                  <a:pt x="156" y="170"/>
                </a:lnTo>
                <a:lnTo>
                  <a:pt x="150" y="178"/>
                </a:lnTo>
                <a:lnTo>
                  <a:pt x="122" y="168"/>
                </a:lnTo>
                <a:lnTo>
                  <a:pt x="112" y="174"/>
                </a:lnTo>
                <a:lnTo>
                  <a:pt x="96" y="162"/>
                </a:lnTo>
                <a:lnTo>
                  <a:pt x="66" y="162"/>
                </a:lnTo>
                <a:lnTo>
                  <a:pt x="54" y="194"/>
                </a:lnTo>
                <a:lnTo>
                  <a:pt x="44" y="184"/>
                </a:lnTo>
                <a:lnTo>
                  <a:pt x="30" y="186"/>
                </a:lnTo>
                <a:lnTo>
                  <a:pt x="16" y="178"/>
                </a:lnTo>
                <a:lnTo>
                  <a:pt x="12" y="176"/>
                </a:lnTo>
                <a:lnTo>
                  <a:pt x="14" y="170"/>
                </a:lnTo>
                <a:lnTo>
                  <a:pt x="4" y="158"/>
                </a:lnTo>
                <a:lnTo>
                  <a:pt x="0" y="150"/>
                </a:lnTo>
                <a:lnTo>
                  <a:pt x="4" y="14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06" name="Freeform 143">
            <a:extLst>
              <a:ext uri="{FF2B5EF4-FFF2-40B4-BE49-F238E27FC236}">
                <a16:creationId xmlns:a16="http://schemas.microsoft.com/office/drawing/2014/main" id="{5C4404AE-48C3-4C0B-B3FB-684CE012ABA9}"/>
              </a:ext>
            </a:extLst>
          </p:cNvPr>
          <p:cNvSpPr>
            <a:spLocks/>
          </p:cNvSpPr>
          <p:nvPr/>
        </p:nvSpPr>
        <p:spPr bwMode="gray">
          <a:xfrm>
            <a:off x="2780797" y="2285294"/>
            <a:ext cx="146700" cy="85454"/>
          </a:xfrm>
          <a:custGeom>
            <a:avLst/>
            <a:gdLst>
              <a:gd name="T0" fmla="*/ 20 w 202"/>
              <a:gd name="T1" fmla="*/ 54 h 128"/>
              <a:gd name="T2" fmla="*/ 66 w 202"/>
              <a:gd name="T3" fmla="*/ 42 h 128"/>
              <a:gd name="T4" fmla="*/ 68 w 202"/>
              <a:gd name="T5" fmla="*/ 30 h 128"/>
              <a:gd name="T6" fmla="*/ 92 w 202"/>
              <a:gd name="T7" fmla="*/ 26 h 128"/>
              <a:gd name="T8" fmla="*/ 116 w 202"/>
              <a:gd name="T9" fmla="*/ 2 h 128"/>
              <a:gd name="T10" fmla="*/ 128 w 202"/>
              <a:gd name="T11" fmla="*/ 0 h 128"/>
              <a:gd name="T12" fmla="*/ 140 w 202"/>
              <a:gd name="T13" fmla="*/ 8 h 128"/>
              <a:gd name="T14" fmla="*/ 142 w 202"/>
              <a:gd name="T15" fmla="*/ 22 h 128"/>
              <a:gd name="T16" fmla="*/ 142 w 202"/>
              <a:gd name="T17" fmla="*/ 34 h 128"/>
              <a:gd name="T18" fmla="*/ 180 w 202"/>
              <a:gd name="T19" fmla="*/ 60 h 128"/>
              <a:gd name="T20" fmla="*/ 202 w 202"/>
              <a:gd name="T21" fmla="*/ 92 h 128"/>
              <a:gd name="T22" fmla="*/ 172 w 202"/>
              <a:gd name="T23" fmla="*/ 90 h 128"/>
              <a:gd name="T24" fmla="*/ 138 w 202"/>
              <a:gd name="T25" fmla="*/ 100 h 128"/>
              <a:gd name="T26" fmla="*/ 126 w 202"/>
              <a:gd name="T27" fmla="*/ 108 h 128"/>
              <a:gd name="T28" fmla="*/ 104 w 202"/>
              <a:gd name="T29" fmla="*/ 106 h 128"/>
              <a:gd name="T30" fmla="*/ 92 w 202"/>
              <a:gd name="T31" fmla="*/ 102 h 128"/>
              <a:gd name="T32" fmla="*/ 78 w 202"/>
              <a:gd name="T33" fmla="*/ 88 h 128"/>
              <a:gd name="T34" fmla="*/ 64 w 202"/>
              <a:gd name="T35" fmla="*/ 104 h 128"/>
              <a:gd name="T36" fmla="*/ 62 w 202"/>
              <a:gd name="T37" fmla="*/ 118 h 128"/>
              <a:gd name="T38" fmla="*/ 32 w 202"/>
              <a:gd name="T39" fmla="*/ 116 h 128"/>
              <a:gd name="T40" fmla="*/ 24 w 202"/>
              <a:gd name="T41" fmla="*/ 128 h 128"/>
              <a:gd name="T42" fmla="*/ 10 w 202"/>
              <a:gd name="T43" fmla="*/ 112 h 128"/>
              <a:gd name="T44" fmla="*/ 0 w 202"/>
              <a:gd name="T45" fmla="*/ 86 h 128"/>
              <a:gd name="T46" fmla="*/ 0 w 202"/>
              <a:gd name="T47" fmla="*/ 70 h 128"/>
              <a:gd name="T48" fmla="*/ 20 w 202"/>
              <a:gd name="T49" fmla="*/ 54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02" h="128">
                <a:moveTo>
                  <a:pt x="20" y="54"/>
                </a:moveTo>
                <a:lnTo>
                  <a:pt x="66" y="42"/>
                </a:lnTo>
                <a:lnTo>
                  <a:pt x="68" y="30"/>
                </a:lnTo>
                <a:lnTo>
                  <a:pt x="92" y="26"/>
                </a:lnTo>
                <a:lnTo>
                  <a:pt x="116" y="2"/>
                </a:lnTo>
                <a:lnTo>
                  <a:pt x="128" y="0"/>
                </a:lnTo>
                <a:lnTo>
                  <a:pt x="140" y="8"/>
                </a:lnTo>
                <a:lnTo>
                  <a:pt x="142" y="22"/>
                </a:lnTo>
                <a:lnTo>
                  <a:pt x="142" y="34"/>
                </a:lnTo>
                <a:lnTo>
                  <a:pt x="180" y="60"/>
                </a:lnTo>
                <a:lnTo>
                  <a:pt x="202" y="92"/>
                </a:lnTo>
                <a:lnTo>
                  <a:pt x="172" y="90"/>
                </a:lnTo>
                <a:lnTo>
                  <a:pt x="138" y="100"/>
                </a:lnTo>
                <a:lnTo>
                  <a:pt x="126" y="108"/>
                </a:lnTo>
                <a:lnTo>
                  <a:pt x="104" y="106"/>
                </a:lnTo>
                <a:lnTo>
                  <a:pt x="92" y="102"/>
                </a:lnTo>
                <a:lnTo>
                  <a:pt x="78" y="88"/>
                </a:lnTo>
                <a:lnTo>
                  <a:pt x="64" y="104"/>
                </a:lnTo>
                <a:lnTo>
                  <a:pt x="62" y="118"/>
                </a:lnTo>
                <a:lnTo>
                  <a:pt x="32" y="116"/>
                </a:lnTo>
                <a:lnTo>
                  <a:pt x="24" y="128"/>
                </a:lnTo>
                <a:lnTo>
                  <a:pt x="10" y="112"/>
                </a:lnTo>
                <a:lnTo>
                  <a:pt x="0" y="86"/>
                </a:lnTo>
                <a:lnTo>
                  <a:pt x="0" y="70"/>
                </a:lnTo>
                <a:lnTo>
                  <a:pt x="20" y="5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07" name="Freeform 144">
            <a:extLst>
              <a:ext uri="{FF2B5EF4-FFF2-40B4-BE49-F238E27FC236}">
                <a16:creationId xmlns:a16="http://schemas.microsoft.com/office/drawing/2014/main" id="{8E0168AC-5D5E-4A88-B0CC-3BC583FCB6A8}"/>
              </a:ext>
            </a:extLst>
          </p:cNvPr>
          <p:cNvSpPr>
            <a:spLocks/>
          </p:cNvSpPr>
          <p:nvPr/>
        </p:nvSpPr>
        <p:spPr bwMode="gray">
          <a:xfrm>
            <a:off x="2865040" y="2154442"/>
            <a:ext cx="191727" cy="205624"/>
          </a:xfrm>
          <a:custGeom>
            <a:avLst/>
            <a:gdLst>
              <a:gd name="T0" fmla="*/ 188 w 264"/>
              <a:gd name="T1" fmla="*/ 20 h 308"/>
              <a:gd name="T2" fmla="*/ 208 w 264"/>
              <a:gd name="T3" fmla="*/ 0 h 308"/>
              <a:gd name="T4" fmla="*/ 216 w 264"/>
              <a:gd name="T5" fmla="*/ 0 h 308"/>
              <a:gd name="T6" fmla="*/ 238 w 264"/>
              <a:gd name="T7" fmla="*/ 18 h 308"/>
              <a:gd name="T8" fmla="*/ 242 w 264"/>
              <a:gd name="T9" fmla="*/ 32 h 308"/>
              <a:gd name="T10" fmla="*/ 240 w 264"/>
              <a:gd name="T11" fmla="*/ 60 h 308"/>
              <a:gd name="T12" fmla="*/ 264 w 264"/>
              <a:gd name="T13" fmla="*/ 86 h 308"/>
              <a:gd name="T14" fmla="*/ 236 w 264"/>
              <a:gd name="T15" fmla="*/ 98 h 308"/>
              <a:gd name="T16" fmla="*/ 230 w 264"/>
              <a:gd name="T17" fmla="*/ 128 h 308"/>
              <a:gd name="T18" fmla="*/ 230 w 264"/>
              <a:gd name="T19" fmla="*/ 142 h 308"/>
              <a:gd name="T20" fmla="*/ 206 w 264"/>
              <a:gd name="T21" fmla="*/ 180 h 308"/>
              <a:gd name="T22" fmla="*/ 206 w 264"/>
              <a:gd name="T23" fmla="*/ 196 h 308"/>
              <a:gd name="T24" fmla="*/ 194 w 264"/>
              <a:gd name="T25" fmla="*/ 198 h 308"/>
              <a:gd name="T26" fmla="*/ 194 w 264"/>
              <a:gd name="T27" fmla="*/ 234 h 308"/>
              <a:gd name="T28" fmla="*/ 174 w 264"/>
              <a:gd name="T29" fmla="*/ 234 h 308"/>
              <a:gd name="T30" fmla="*/ 178 w 264"/>
              <a:gd name="T31" fmla="*/ 248 h 308"/>
              <a:gd name="T32" fmla="*/ 188 w 264"/>
              <a:gd name="T33" fmla="*/ 250 h 308"/>
              <a:gd name="T34" fmla="*/ 212 w 264"/>
              <a:gd name="T35" fmla="*/ 282 h 308"/>
              <a:gd name="T36" fmla="*/ 218 w 264"/>
              <a:gd name="T37" fmla="*/ 282 h 308"/>
              <a:gd name="T38" fmla="*/ 218 w 264"/>
              <a:gd name="T39" fmla="*/ 296 h 308"/>
              <a:gd name="T40" fmla="*/ 198 w 264"/>
              <a:gd name="T41" fmla="*/ 296 h 308"/>
              <a:gd name="T42" fmla="*/ 190 w 264"/>
              <a:gd name="T43" fmla="*/ 304 h 308"/>
              <a:gd name="T44" fmla="*/ 138 w 264"/>
              <a:gd name="T45" fmla="*/ 308 h 308"/>
              <a:gd name="T46" fmla="*/ 122 w 264"/>
              <a:gd name="T47" fmla="*/ 296 h 308"/>
              <a:gd name="T48" fmla="*/ 94 w 264"/>
              <a:gd name="T49" fmla="*/ 298 h 308"/>
              <a:gd name="T50" fmla="*/ 86 w 264"/>
              <a:gd name="T51" fmla="*/ 288 h 308"/>
              <a:gd name="T52" fmla="*/ 64 w 264"/>
              <a:gd name="T53" fmla="*/ 256 h 308"/>
              <a:gd name="T54" fmla="*/ 26 w 264"/>
              <a:gd name="T55" fmla="*/ 230 h 308"/>
              <a:gd name="T56" fmla="*/ 24 w 264"/>
              <a:gd name="T57" fmla="*/ 204 h 308"/>
              <a:gd name="T58" fmla="*/ 12 w 264"/>
              <a:gd name="T59" fmla="*/ 196 h 308"/>
              <a:gd name="T60" fmla="*/ 8 w 264"/>
              <a:gd name="T61" fmla="*/ 170 h 308"/>
              <a:gd name="T62" fmla="*/ 0 w 264"/>
              <a:gd name="T63" fmla="*/ 162 h 308"/>
              <a:gd name="T64" fmla="*/ 16 w 264"/>
              <a:gd name="T65" fmla="*/ 122 h 308"/>
              <a:gd name="T66" fmla="*/ 30 w 264"/>
              <a:gd name="T67" fmla="*/ 120 h 308"/>
              <a:gd name="T68" fmla="*/ 32 w 264"/>
              <a:gd name="T69" fmla="*/ 46 h 308"/>
              <a:gd name="T70" fmla="*/ 50 w 264"/>
              <a:gd name="T71" fmla="*/ 46 h 308"/>
              <a:gd name="T72" fmla="*/ 50 w 264"/>
              <a:gd name="T73" fmla="*/ 12 h 308"/>
              <a:gd name="T74" fmla="*/ 178 w 264"/>
              <a:gd name="T75" fmla="*/ 14 h 308"/>
              <a:gd name="T76" fmla="*/ 188 w 264"/>
              <a:gd name="T77" fmla="*/ 2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64" h="308">
                <a:moveTo>
                  <a:pt x="188" y="20"/>
                </a:moveTo>
                <a:lnTo>
                  <a:pt x="208" y="0"/>
                </a:lnTo>
                <a:lnTo>
                  <a:pt x="216" y="0"/>
                </a:lnTo>
                <a:lnTo>
                  <a:pt x="238" y="18"/>
                </a:lnTo>
                <a:lnTo>
                  <a:pt x="242" y="32"/>
                </a:lnTo>
                <a:lnTo>
                  <a:pt x="240" y="60"/>
                </a:lnTo>
                <a:lnTo>
                  <a:pt x="264" y="86"/>
                </a:lnTo>
                <a:lnTo>
                  <a:pt x="236" y="98"/>
                </a:lnTo>
                <a:lnTo>
                  <a:pt x="230" y="128"/>
                </a:lnTo>
                <a:lnTo>
                  <a:pt x="230" y="142"/>
                </a:lnTo>
                <a:lnTo>
                  <a:pt x="206" y="180"/>
                </a:lnTo>
                <a:lnTo>
                  <a:pt x="206" y="196"/>
                </a:lnTo>
                <a:lnTo>
                  <a:pt x="194" y="198"/>
                </a:lnTo>
                <a:lnTo>
                  <a:pt x="194" y="234"/>
                </a:lnTo>
                <a:lnTo>
                  <a:pt x="174" y="234"/>
                </a:lnTo>
                <a:lnTo>
                  <a:pt x="178" y="248"/>
                </a:lnTo>
                <a:lnTo>
                  <a:pt x="188" y="250"/>
                </a:lnTo>
                <a:lnTo>
                  <a:pt x="212" y="282"/>
                </a:lnTo>
                <a:lnTo>
                  <a:pt x="218" y="282"/>
                </a:lnTo>
                <a:lnTo>
                  <a:pt x="218" y="296"/>
                </a:lnTo>
                <a:lnTo>
                  <a:pt x="198" y="296"/>
                </a:lnTo>
                <a:lnTo>
                  <a:pt x="190" y="304"/>
                </a:lnTo>
                <a:lnTo>
                  <a:pt x="138" y="308"/>
                </a:lnTo>
                <a:lnTo>
                  <a:pt x="122" y="296"/>
                </a:lnTo>
                <a:lnTo>
                  <a:pt x="94" y="298"/>
                </a:lnTo>
                <a:lnTo>
                  <a:pt x="86" y="288"/>
                </a:lnTo>
                <a:lnTo>
                  <a:pt x="64" y="256"/>
                </a:lnTo>
                <a:lnTo>
                  <a:pt x="26" y="230"/>
                </a:lnTo>
                <a:lnTo>
                  <a:pt x="24" y="204"/>
                </a:lnTo>
                <a:lnTo>
                  <a:pt x="12" y="196"/>
                </a:lnTo>
                <a:lnTo>
                  <a:pt x="8" y="170"/>
                </a:lnTo>
                <a:lnTo>
                  <a:pt x="0" y="162"/>
                </a:lnTo>
                <a:lnTo>
                  <a:pt x="16" y="122"/>
                </a:lnTo>
                <a:lnTo>
                  <a:pt x="30" y="120"/>
                </a:lnTo>
                <a:lnTo>
                  <a:pt x="32" y="46"/>
                </a:lnTo>
                <a:lnTo>
                  <a:pt x="50" y="46"/>
                </a:lnTo>
                <a:lnTo>
                  <a:pt x="50" y="12"/>
                </a:lnTo>
                <a:lnTo>
                  <a:pt x="178" y="14"/>
                </a:lnTo>
                <a:lnTo>
                  <a:pt x="188" y="2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08" name="Freeform 145">
            <a:extLst>
              <a:ext uri="{FF2B5EF4-FFF2-40B4-BE49-F238E27FC236}">
                <a16:creationId xmlns:a16="http://schemas.microsoft.com/office/drawing/2014/main" id="{128622B1-5742-4A2D-B7F3-4766C7FE6717}"/>
              </a:ext>
            </a:extLst>
          </p:cNvPr>
          <p:cNvSpPr>
            <a:spLocks/>
          </p:cNvSpPr>
          <p:nvPr/>
        </p:nvSpPr>
        <p:spPr bwMode="gray">
          <a:xfrm>
            <a:off x="3032076" y="2211856"/>
            <a:ext cx="72624" cy="57415"/>
          </a:xfrm>
          <a:custGeom>
            <a:avLst/>
            <a:gdLst>
              <a:gd name="T0" fmla="*/ 34 w 100"/>
              <a:gd name="T1" fmla="*/ 0 h 86"/>
              <a:gd name="T2" fmla="*/ 42 w 100"/>
              <a:gd name="T3" fmla="*/ 12 h 86"/>
              <a:gd name="T4" fmla="*/ 48 w 100"/>
              <a:gd name="T5" fmla="*/ 26 h 86"/>
              <a:gd name="T6" fmla="*/ 50 w 100"/>
              <a:gd name="T7" fmla="*/ 44 h 86"/>
              <a:gd name="T8" fmla="*/ 64 w 100"/>
              <a:gd name="T9" fmla="*/ 44 h 86"/>
              <a:gd name="T10" fmla="*/ 100 w 100"/>
              <a:gd name="T11" fmla="*/ 76 h 86"/>
              <a:gd name="T12" fmla="*/ 94 w 100"/>
              <a:gd name="T13" fmla="*/ 86 h 86"/>
              <a:gd name="T14" fmla="*/ 76 w 100"/>
              <a:gd name="T15" fmla="*/ 68 h 86"/>
              <a:gd name="T16" fmla="*/ 58 w 100"/>
              <a:gd name="T17" fmla="*/ 52 h 86"/>
              <a:gd name="T18" fmla="*/ 24 w 100"/>
              <a:gd name="T19" fmla="*/ 50 h 86"/>
              <a:gd name="T20" fmla="*/ 22 w 100"/>
              <a:gd name="T21" fmla="*/ 56 h 86"/>
              <a:gd name="T22" fmla="*/ 0 w 100"/>
              <a:gd name="T23" fmla="*/ 56 h 86"/>
              <a:gd name="T24" fmla="*/ 0 w 100"/>
              <a:gd name="T25" fmla="*/ 42 h 86"/>
              <a:gd name="T26" fmla="*/ 4 w 100"/>
              <a:gd name="T27" fmla="*/ 28 h 86"/>
              <a:gd name="T28" fmla="*/ 6 w 100"/>
              <a:gd name="T29" fmla="*/ 12 h 86"/>
              <a:gd name="T30" fmla="*/ 34 w 100"/>
              <a:gd name="T31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00" h="86">
                <a:moveTo>
                  <a:pt x="34" y="0"/>
                </a:moveTo>
                <a:lnTo>
                  <a:pt x="42" y="12"/>
                </a:lnTo>
                <a:lnTo>
                  <a:pt x="48" y="26"/>
                </a:lnTo>
                <a:lnTo>
                  <a:pt x="50" y="44"/>
                </a:lnTo>
                <a:lnTo>
                  <a:pt x="64" y="44"/>
                </a:lnTo>
                <a:lnTo>
                  <a:pt x="100" y="76"/>
                </a:lnTo>
                <a:lnTo>
                  <a:pt x="94" y="86"/>
                </a:lnTo>
                <a:lnTo>
                  <a:pt x="76" y="68"/>
                </a:lnTo>
                <a:lnTo>
                  <a:pt x="58" y="52"/>
                </a:lnTo>
                <a:lnTo>
                  <a:pt x="24" y="50"/>
                </a:lnTo>
                <a:lnTo>
                  <a:pt x="22" y="56"/>
                </a:lnTo>
                <a:lnTo>
                  <a:pt x="0" y="56"/>
                </a:lnTo>
                <a:lnTo>
                  <a:pt x="0" y="42"/>
                </a:lnTo>
                <a:lnTo>
                  <a:pt x="4" y="28"/>
                </a:lnTo>
                <a:lnTo>
                  <a:pt x="6" y="12"/>
                </a:lnTo>
                <a:lnTo>
                  <a:pt x="34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09" name="Freeform 146">
            <a:extLst>
              <a:ext uri="{FF2B5EF4-FFF2-40B4-BE49-F238E27FC236}">
                <a16:creationId xmlns:a16="http://schemas.microsoft.com/office/drawing/2014/main" id="{A280314B-D77E-4B2E-8032-E191E59DF49C}"/>
              </a:ext>
            </a:extLst>
          </p:cNvPr>
          <p:cNvSpPr>
            <a:spLocks/>
          </p:cNvSpPr>
          <p:nvPr/>
        </p:nvSpPr>
        <p:spPr bwMode="gray">
          <a:xfrm>
            <a:off x="3094532" y="2262595"/>
            <a:ext cx="15977" cy="22699"/>
          </a:xfrm>
          <a:custGeom>
            <a:avLst/>
            <a:gdLst>
              <a:gd name="T0" fmla="*/ 22 w 22"/>
              <a:gd name="T1" fmla="*/ 16 h 34"/>
              <a:gd name="T2" fmla="*/ 14 w 22"/>
              <a:gd name="T3" fmla="*/ 22 h 34"/>
              <a:gd name="T4" fmla="*/ 16 w 22"/>
              <a:gd name="T5" fmla="*/ 34 h 34"/>
              <a:gd name="T6" fmla="*/ 0 w 22"/>
              <a:gd name="T7" fmla="*/ 32 h 34"/>
              <a:gd name="T8" fmla="*/ 0 w 22"/>
              <a:gd name="T9" fmla="*/ 20 h 34"/>
              <a:gd name="T10" fmla="*/ 8 w 22"/>
              <a:gd name="T11" fmla="*/ 10 h 34"/>
              <a:gd name="T12" fmla="*/ 14 w 22"/>
              <a:gd name="T13" fmla="*/ 0 h 34"/>
              <a:gd name="T14" fmla="*/ 22 w 22"/>
              <a:gd name="T15" fmla="*/ 16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" h="34">
                <a:moveTo>
                  <a:pt x="22" y="16"/>
                </a:moveTo>
                <a:lnTo>
                  <a:pt x="14" y="22"/>
                </a:lnTo>
                <a:lnTo>
                  <a:pt x="16" y="34"/>
                </a:lnTo>
                <a:lnTo>
                  <a:pt x="0" y="32"/>
                </a:lnTo>
                <a:lnTo>
                  <a:pt x="0" y="20"/>
                </a:lnTo>
                <a:lnTo>
                  <a:pt x="8" y="10"/>
                </a:lnTo>
                <a:lnTo>
                  <a:pt x="14" y="0"/>
                </a:lnTo>
                <a:lnTo>
                  <a:pt x="22" y="1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10" name="Freeform 147">
            <a:extLst>
              <a:ext uri="{FF2B5EF4-FFF2-40B4-BE49-F238E27FC236}">
                <a16:creationId xmlns:a16="http://schemas.microsoft.com/office/drawing/2014/main" id="{38525421-1318-4DCC-A26C-4CB4CCC6A509}"/>
              </a:ext>
            </a:extLst>
          </p:cNvPr>
          <p:cNvSpPr>
            <a:spLocks/>
          </p:cNvSpPr>
          <p:nvPr/>
        </p:nvSpPr>
        <p:spPr bwMode="gray">
          <a:xfrm>
            <a:off x="3082912" y="2274612"/>
            <a:ext cx="120556" cy="144204"/>
          </a:xfrm>
          <a:custGeom>
            <a:avLst/>
            <a:gdLst>
              <a:gd name="T0" fmla="*/ 60 w 166"/>
              <a:gd name="T1" fmla="*/ 26 h 216"/>
              <a:gd name="T2" fmla="*/ 78 w 166"/>
              <a:gd name="T3" fmla="*/ 18 h 216"/>
              <a:gd name="T4" fmla="*/ 146 w 166"/>
              <a:gd name="T5" fmla="*/ 8 h 216"/>
              <a:gd name="T6" fmla="*/ 164 w 166"/>
              <a:gd name="T7" fmla="*/ 0 h 216"/>
              <a:gd name="T8" fmla="*/ 166 w 166"/>
              <a:gd name="T9" fmla="*/ 22 h 216"/>
              <a:gd name="T10" fmla="*/ 158 w 166"/>
              <a:gd name="T11" fmla="*/ 30 h 216"/>
              <a:gd name="T12" fmla="*/ 132 w 166"/>
              <a:gd name="T13" fmla="*/ 80 h 216"/>
              <a:gd name="T14" fmla="*/ 80 w 166"/>
              <a:gd name="T15" fmla="*/ 152 h 216"/>
              <a:gd name="T16" fmla="*/ 12 w 166"/>
              <a:gd name="T17" fmla="*/ 216 h 216"/>
              <a:gd name="T18" fmla="*/ 2 w 166"/>
              <a:gd name="T19" fmla="*/ 202 h 216"/>
              <a:gd name="T20" fmla="*/ 0 w 166"/>
              <a:gd name="T21" fmla="*/ 146 h 216"/>
              <a:gd name="T22" fmla="*/ 16 w 166"/>
              <a:gd name="T23" fmla="*/ 136 h 216"/>
              <a:gd name="T24" fmla="*/ 16 w 166"/>
              <a:gd name="T25" fmla="*/ 126 h 216"/>
              <a:gd name="T26" fmla="*/ 40 w 166"/>
              <a:gd name="T27" fmla="*/ 112 h 216"/>
              <a:gd name="T28" fmla="*/ 66 w 166"/>
              <a:gd name="T29" fmla="*/ 108 h 216"/>
              <a:gd name="T30" fmla="*/ 108 w 166"/>
              <a:gd name="T31" fmla="*/ 62 h 216"/>
              <a:gd name="T32" fmla="*/ 52 w 166"/>
              <a:gd name="T33" fmla="*/ 48 h 216"/>
              <a:gd name="T34" fmla="*/ 32 w 166"/>
              <a:gd name="T35" fmla="*/ 26 h 216"/>
              <a:gd name="T36" fmla="*/ 32 w 166"/>
              <a:gd name="T37" fmla="*/ 16 h 216"/>
              <a:gd name="T38" fmla="*/ 40 w 166"/>
              <a:gd name="T39" fmla="*/ 8 h 216"/>
              <a:gd name="T40" fmla="*/ 60 w 166"/>
              <a:gd name="T41" fmla="*/ 26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66" h="216">
                <a:moveTo>
                  <a:pt x="60" y="26"/>
                </a:moveTo>
                <a:lnTo>
                  <a:pt x="78" y="18"/>
                </a:lnTo>
                <a:lnTo>
                  <a:pt x="146" y="8"/>
                </a:lnTo>
                <a:lnTo>
                  <a:pt x="164" y="0"/>
                </a:lnTo>
                <a:lnTo>
                  <a:pt x="166" y="22"/>
                </a:lnTo>
                <a:lnTo>
                  <a:pt x="158" y="30"/>
                </a:lnTo>
                <a:lnTo>
                  <a:pt x="132" y="80"/>
                </a:lnTo>
                <a:lnTo>
                  <a:pt x="80" y="152"/>
                </a:lnTo>
                <a:lnTo>
                  <a:pt x="12" y="216"/>
                </a:lnTo>
                <a:lnTo>
                  <a:pt x="2" y="202"/>
                </a:lnTo>
                <a:lnTo>
                  <a:pt x="0" y="146"/>
                </a:lnTo>
                <a:lnTo>
                  <a:pt x="16" y="136"/>
                </a:lnTo>
                <a:lnTo>
                  <a:pt x="16" y="126"/>
                </a:lnTo>
                <a:lnTo>
                  <a:pt x="40" y="112"/>
                </a:lnTo>
                <a:lnTo>
                  <a:pt x="66" y="108"/>
                </a:lnTo>
                <a:lnTo>
                  <a:pt x="108" y="62"/>
                </a:lnTo>
                <a:lnTo>
                  <a:pt x="52" y="48"/>
                </a:lnTo>
                <a:lnTo>
                  <a:pt x="32" y="26"/>
                </a:lnTo>
                <a:lnTo>
                  <a:pt x="32" y="16"/>
                </a:lnTo>
                <a:lnTo>
                  <a:pt x="40" y="8"/>
                </a:lnTo>
                <a:lnTo>
                  <a:pt x="60" y="2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11" name="Freeform 148">
            <a:extLst>
              <a:ext uri="{FF2B5EF4-FFF2-40B4-BE49-F238E27FC236}">
                <a16:creationId xmlns:a16="http://schemas.microsoft.com/office/drawing/2014/main" id="{56333DCA-E473-432D-98D9-ED9691FA1D6F}"/>
              </a:ext>
            </a:extLst>
          </p:cNvPr>
          <p:cNvSpPr>
            <a:spLocks/>
          </p:cNvSpPr>
          <p:nvPr/>
        </p:nvSpPr>
        <p:spPr bwMode="gray">
          <a:xfrm>
            <a:off x="2991406" y="2245237"/>
            <a:ext cx="169940" cy="118835"/>
          </a:xfrm>
          <a:custGeom>
            <a:avLst/>
            <a:gdLst>
              <a:gd name="T0" fmla="*/ 56 w 234"/>
              <a:gd name="T1" fmla="*/ 6 h 178"/>
              <a:gd name="T2" fmla="*/ 78 w 234"/>
              <a:gd name="T3" fmla="*/ 6 h 178"/>
              <a:gd name="T4" fmla="*/ 80 w 234"/>
              <a:gd name="T5" fmla="*/ 0 h 178"/>
              <a:gd name="T6" fmla="*/ 114 w 234"/>
              <a:gd name="T7" fmla="*/ 2 h 178"/>
              <a:gd name="T8" fmla="*/ 150 w 234"/>
              <a:gd name="T9" fmla="*/ 36 h 178"/>
              <a:gd name="T10" fmla="*/ 142 w 234"/>
              <a:gd name="T11" fmla="*/ 46 h 178"/>
              <a:gd name="T12" fmla="*/ 142 w 234"/>
              <a:gd name="T13" fmla="*/ 58 h 178"/>
              <a:gd name="T14" fmla="*/ 158 w 234"/>
              <a:gd name="T15" fmla="*/ 60 h 178"/>
              <a:gd name="T16" fmla="*/ 158 w 234"/>
              <a:gd name="T17" fmla="*/ 70 h 178"/>
              <a:gd name="T18" fmla="*/ 178 w 234"/>
              <a:gd name="T19" fmla="*/ 92 h 178"/>
              <a:gd name="T20" fmla="*/ 234 w 234"/>
              <a:gd name="T21" fmla="*/ 106 h 178"/>
              <a:gd name="T22" fmla="*/ 192 w 234"/>
              <a:gd name="T23" fmla="*/ 152 h 178"/>
              <a:gd name="T24" fmla="*/ 166 w 234"/>
              <a:gd name="T25" fmla="*/ 156 h 178"/>
              <a:gd name="T26" fmla="*/ 142 w 234"/>
              <a:gd name="T27" fmla="*/ 170 h 178"/>
              <a:gd name="T28" fmla="*/ 130 w 234"/>
              <a:gd name="T29" fmla="*/ 174 h 178"/>
              <a:gd name="T30" fmla="*/ 124 w 234"/>
              <a:gd name="T31" fmla="*/ 166 h 178"/>
              <a:gd name="T32" fmla="*/ 104 w 234"/>
              <a:gd name="T33" fmla="*/ 178 h 178"/>
              <a:gd name="T34" fmla="*/ 80 w 234"/>
              <a:gd name="T35" fmla="*/ 176 h 178"/>
              <a:gd name="T36" fmla="*/ 44 w 234"/>
              <a:gd name="T37" fmla="*/ 160 h 178"/>
              <a:gd name="T38" fmla="*/ 44 w 234"/>
              <a:gd name="T39" fmla="*/ 146 h 178"/>
              <a:gd name="T40" fmla="*/ 38 w 234"/>
              <a:gd name="T41" fmla="*/ 146 h 178"/>
              <a:gd name="T42" fmla="*/ 14 w 234"/>
              <a:gd name="T43" fmla="*/ 114 h 178"/>
              <a:gd name="T44" fmla="*/ 4 w 234"/>
              <a:gd name="T45" fmla="*/ 112 h 178"/>
              <a:gd name="T46" fmla="*/ 0 w 234"/>
              <a:gd name="T47" fmla="*/ 98 h 178"/>
              <a:gd name="T48" fmla="*/ 20 w 234"/>
              <a:gd name="T49" fmla="*/ 98 h 178"/>
              <a:gd name="T50" fmla="*/ 20 w 234"/>
              <a:gd name="T51" fmla="*/ 62 h 178"/>
              <a:gd name="T52" fmla="*/ 32 w 234"/>
              <a:gd name="T53" fmla="*/ 60 h 178"/>
              <a:gd name="T54" fmla="*/ 32 w 234"/>
              <a:gd name="T55" fmla="*/ 44 h 178"/>
              <a:gd name="T56" fmla="*/ 56 w 234"/>
              <a:gd name="T57" fmla="*/ 6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34" h="178">
                <a:moveTo>
                  <a:pt x="56" y="6"/>
                </a:moveTo>
                <a:lnTo>
                  <a:pt x="78" y="6"/>
                </a:lnTo>
                <a:lnTo>
                  <a:pt x="80" y="0"/>
                </a:lnTo>
                <a:lnTo>
                  <a:pt x="114" y="2"/>
                </a:lnTo>
                <a:lnTo>
                  <a:pt x="150" y="36"/>
                </a:lnTo>
                <a:lnTo>
                  <a:pt x="142" y="46"/>
                </a:lnTo>
                <a:lnTo>
                  <a:pt x="142" y="58"/>
                </a:lnTo>
                <a:lnTo>
                  <a:pt x="158" y="60"/>
                </a:lnTo>
                <a:lnTo>
                  <a:pt x="158" y="70"/>
                </a:lnTo>
                <a:lnTo>
                  <a:pt x="178" y="92"/>
                </a:lnTo>
                <a:lnTo>
                  <a:pt x="234" y="106"/>
                </a:lnTo>
                <a:lnTo>
                  <a:pt x="192" y="152"/>
                </a:lnTo>
                <a:lnTo>
                  <a:pt x="166" y="156"/>
                </a:lnTo>
                <a:lnTo>
                  <a:pt x="142" y="170"/>
                </a:lnTo>
                <a:lnTo>
                  <a:pt x="130" y="174"/>
                </a:lnTo>
                <a:lnTo>
                  <a:pt x="124" y="166"/>
                </a:lnTo>
                <a:lnTo>
                  <a:pt x="104" y="178"/>
                </a:lnTo>
                <a:lnTo>
                  <a:pt x="80" y="176"/>
                </a:lnTo>
                <a:lnTo>
                  <a:pt x="44" y="160"/>
                </a:lnTo>
                <a:lnTo>
                  <a:pt x="44" y="146"/>
                </a:lnTo>
                <a:lnTo>
                  <a:pt x="38" y="146"/>
                </a:lnTo>
                <a:lnTo>
                  <a:pt x="14" y="114"/>
                </a:lnTo>
                <a:lnTo>
                  <a:pt x="4" y="112"/>
                </a:lnTo>
                <a:lnTo>
                  <a:pt x="0" y="98"/>
                </a:lnTo>
                <a:lnTo>
                  <a:pt x="20" y="98"/>
                </a:lnTo>
                <a:lnTo>
                  <a:pt x="20" y="62"/>
                </a:lnTo>
                <a:lnTo>
                  <a:pt x="32" y="60"/>
                </a:lnTo>
                <a:lnTo>
                  <a:pt x="32" y="44"/>
                </a:lnTo>
                <a:lnTo>
                  <a:pt x="56" y="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12" name="Freeform 149">
            <a:extLst>
              <a:ext uri="{FF2B5EF4-FFF2-40B4-BE49-F238E27FC236}">
                <a16:creationId xmlns:a16="http://schemas.microsoft.com/office/drawing/2014/main" id="{BBF63641-1A14-4B3E-865E-3DFEBDDF5B0C}"/>
              </a:ext>
            </a:extLst>
          </p:cNvPr>
          <p:cNvSpPr>
            <a:spLocks/>
          </p:cNvSpPr>
          <p:nvPr/>
        </p:nvSpPr>
        <p:spPr bwMode="gray">
          <a:xfrm>
            <a:off x="2711804" y="2262595"/>
            <a:ext cx="86423" cy="118835"/>
          </a:xfrm>
          <a:custGeom>
            <a:avLst/>
            <a:gdLst>
              <a:gd name="T0" fmla="*/ 91 w 119"/>
              <a:gd name="T1" fmla="*/ 0 h 178"/>
              <a:gd name="T2" fmla="*/ 99 w 119"/>
              <a:gd name="T3" fmla="*/ 12 h 178"/>
              <a:gd name="T4" fmla="*/ 101 w 119"/>
              <a:gd name="T5" fmla="*/ 36 h 178"/>
              <a:gd name="T6" fmla="*/ 107 w 119"/>
              <a:gd name="T7" fmla="*/ 46 h 178"/>
              <a:gd name="T8" fmla="*/ 87 w 119"/>
              <a:gd name="T9" fmla="*/ 46 h 178"/>
              <a:gd name="T10" fmla="*/ 85 w 119"/>
              <a:gd name="T11" fmla="*/ 56 h 178"/>
              <a:gd name="T12" fmla="*/ 115 w 119"/>
              <a:gd name="T13" fmla="*/ 88 h 178"/>
              <a:gd name="T14" fmla="*/ 95 w 119"/>
              <a:gd name="T15" fmla="*/ 104 h 178"/>
              <a:gd name="T16" fmla="*/ 95 w 119"/>
              <a:gd name="T17" fmla="*/ 120 h 178"/>
              <a:gd name="T18" fmla="*/ 105 w 119"/>
              <a:gd name="T19" fmla="*/ 146 h 178"/>
              <a:gd name="T20" fmla="*/ 119 w 119"/>
              <a:gd name="T21" fmla="*/ 162 h 178"/>
              <a:gd name="T22" fmla="*/ 117 w 119"/>
              <a:gd name="T23" fmla="*/ 176 h 178"/>
              <a:gd name="T24" fmla="*/ 99 w 119"/>
              <a:gd name="T25" fmla="*/ 178 h 178"/>
              <a:gd name="T26" fmla="*/ 99 w 119"/>
              <a:gd name="T27" fmla="*/ 170 h 178"/>
              <a:gd name="T28" fmla="*/ 18 w 119"/>
              <a:gd name="T29" fmla="*/ 170 h 178"/>
              <a:gd name="T30" fmla="*/ 18 w 119"/>
              <a:gd name="T31" fmla="*/ 146 h 178"/>
              <a:gd name="T32" fmla="*/ 10 w 119"/>
              <a:gd name="T33" fmla="*/ 138 h 178"/>
              <a:gd name="T34" fmla="*/ 0 w 119"/>
              <a:gd name="T35" fmla="*/ 132 h 178"/>
              <a:gd name="T36" fmla="*/ 2 w 119"/>
              <a:gd name="T37" fmla="*/ 114 h 178"/>
              <a:gd name="T38" fmla="*/ 22 w 119"/>
              <a:gd name="T39" fmla="*/ 96 h 178"/>
              <a:gd name="T40" fmla="*/ 32 w 119"/>
              <a:gd name="T41" fmla="*/ 96 h 178"/>
              <a:gd name="T42" fmla="*/ 43 w 119"/>
              <a:gd name="T43" fmla="*/ 104 h 178"/>
              <a:gd name="T44" fmla="*/ 83 w 119"/>
              <a:gd name="T45" fmla="*/ 28 h 178"/>
              <a:gd name="T46" fmla="*/ 93 w 119"/>
              <a:gd name="T47" fmla="*/ 26 h 178"/>
              <a:gd name="T48" fmla="*/ 91 w 119"/>
              <a:gd name="T49" fmla="*/ 12 h 178"/>
              <a:gd name="T50" fmla="*/ 91 w 119"/>
              <a:gd name="T51" fmla="*/ 0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19" h="178">
                <a:moveTo>
                  <a:pt x="91" y="0"/>
                </a:moveTo>
                <a:lnTo>
                  <a:pt x="99" y="12"/>
                </a:lnTo>
                <a:lnTo>
                  <a:pt x="101" y="36"/>
                </a:lnTo>
                <a:lnTo>
                  <a:pt x="107" y="46"/>
                </a:lnTo>
                <a:lnTo>
                  <a:pt x="87" y="46"/>
                </a:lnTo>
                <a:lnTo>
                  <a:pt x="85" y="56"/>
                </a:lnTo>
                <a:lnTo>
                  <a:pt x="115" y="88"/>
                </a:lnTo>
                <a:lnTo>
                  <a:pt x="95" y="104"/>
                </a:lnTo>
                <a:lnTo>
                  <a:pt x="95" y="120"/>
                </a:lnTo>
                <a:lnTo>
                  <a:pt x="105" y="146"/>
                </a:lnTo>
                <a:lnTo>
                  <a:pt x="119" y="162"/>
                </a:lnTo>
                <a:lnTo>
                  <a:pt x="117" y="176"/>
                </a:lnTo>
                <a:lnTo>
                  <a:pt x="99" y="178"/>
                </a:lnTo>
                <a:lnTo>
                  <a:pt x="99" y="170"/>
                </a:lnTo>
                <a:lnTo>
                  <a:pt x="18" y="170"/>
                </a:lnTo>
                <a:lnTo>
                  <a:pt x="18" y="146"/>
                </a:lnTo>
                <a:lnTo>
                  <a:pt x="10" y="138"/>
                </a:lnTo>
                <a:lnTo>
                  <a:pt x="0" y="132"/>
                </a:lnTo>
                <a:lnTo>
                  <a:pt x="2" y="114"/>
                </a:lnTo>
                <a:lnTo>
                  <a:pt x="22" y="96"/>
                </a:lnTo>
                <a:lnTo>
                  <a:pt x="32" y="96"/>
                </a:lnTo>
                <a:lnTo>
                  <a:pt x="43" y="104"/>
                </a:lnTo>
                <a:lnTo>
                  <a:pt x="83" y="28"/>
                </a:lnTo>
                <a:lnTo>
                  <a:pt x="93" y="26"/>
                </a:lnTo>
                <a:lnTo>
                  <a:pt x="91" y="12"/>
                </a:lnTo>
                <a:lnTo>
                  <a:pt x="91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13" name="Freeform 150">
            <a:extLst>
              <a:ext uri="{FF2B5EF4-FFF2-40B4-BE49-F238E27FC236}">
                <a16:creationId xmlns:a16="http://schemas.microsoft.com/office/drawing/2014/main" id="{A4A43678-7359-402B-AE0C-A3D41BD142BF}"/>
              </a:ext>
            </a:extLst>
          </p:cNvPr>
          <p:cNvSpPr>
            <a:spLocks/>
          </p:cNvSpPr>
          <p:nvPr/>
        </p:nvSpPr>
        <p:spPr bwMode="gray">
          <a:xfrm>
            <a:off x="2643537" y="2253248"/>
            <a:ext cx="135807" cy="100142"/>
          </a:xfrm>
          <a:custGeom>
            <a:avLst/>
            <a:gdLst>
              <a:gd name="T0" fmla="*/ 94 w 187"/>
              <a:gd name="T1" fmla="*/ 146 h 150"/>
              <a:gd name="T2" fmla="*/ 64 w 187"/>
              <a:gd name="T3" fmla="*/ 150 h 150"/>
              <a:gd name="T4" fmla="*/ 44 w 187"/>
              <a:gd name="T5" fmla="*/ 148 h 150"/>
              <a:gd name="T6" fmla="*/ 46 w 187"/>
              <a:gd name="T7" fmla="*/ 132 h 150"/>
              <a:gd name="T8" fmla="*/ 22 w 187"/>
              <a:gd name="T9" fmla="*/ 118 h 150"/>
              <a:gd name="T10" fmla="*/ 2 w 187"/>
              <a:gd name="T11" fmla="*/ 116 h 150"/>
              <a:gd name="T12" fmla="*/ 0 w 187"/>
              <a:gd name="T13" fmla="*/ 78 h 150"/>
              <a:gd name="T14" fmla="*/ 22 w 187"/>
              <a:gd name="T15" fmla="*/ 52 h 150"/>
              <a:gd name="T16" fmla="*/ 10 w 187"/>
              <a:gd name="T17" fmla="*/ 42 h 150"/>
              <a:gd name="T18" fmla="*/ 12 w 187"/>
              <a:gd name="T19" fmla="*/ 34 h 150"/>
              <a:gd name="T20" fmla="*/ 24 w 187"/>
              <a:gd name="T21" fmla="*/ 2 h 150"/>
              <a:gd name="T22" fmla="*/ 54 w 187"/>
              <a:gd name="T23" fmla="*/ 2 h 150"/>
              <a:gd name="T24" fmla="*/ 70 w 187"/>
              <a:gd name="T25" fmla="*/ 14 h 150"/>
              <a:gd name="T26" fmla="*/ 80 w 187"/>
              <a:gd name="T27" fmla="*/ 8 h 150"/>
              <a:gd name="T28" fmla="*/ 108 w 187"/>
              <a:gd name="T29" fmla="*/ 18 h 150"/>
              <a:gd name="T30" fmla="*/ 114 w 187"/>
              <a:gd name="T31" fmla="*/ 10 h 150"/>
              <a:gd name="T32" fmla="*/ 149 w 187"/>
              <a:gd name="T33" fmla="*/ 14 h 150"/>
              <a:gd name="T34" fmla="*/ 171 w 187"/>
              <a:gd name="T35" fmla="*/ 0 h 150"/>
              <a:gd name="T36" fmla="*/ 185 w 187"/>
              <a:gd name="T37" fmla="*/ 14 h 150"/>
              <a:gd name="T38" fmla="*/ 187 w 187"/>
              <a:gd name="T39" fmla="*/ 40 h 150"/>
              <a:gd name="T40" fmla="*/ 177 w 187"/>
              <a:gd name="T41" fmla="*/ 42 h 150"/>
              <a:gd name="T42" fmla="*/ 137 w 187"/>
              <a:gd name="T43" fmla="*/ 118 h 150"/>
              <a:gd name="T44" fmla="*/ 126 w 187"/>
              <a:gd name="T45" fmla="*/ 110 h 150"/>
              <a:gd name="T46" fmla="*/ 116 w 187"/>
              <a:gd name="T47" fmla="*/ 110 h 150"/>
              <a:gd name="T48" fmla="*/ 96 w 187"/>
              <a:gd name="T49" fmla="*/ 128 h 150"/>
              <a:gd name="T50" fmla="*/ 94 w 187"/>
              <a:gd name="T51" fmla="*/ 146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87" h="150">
                <a:moveTo>
                  <a:pt x="94" y="146"/>
                </a:moveTo>
                <a:lnTo>
                  <a:pt x="64" y="150"/>
                </a:lnTo>
                <a:lnTo>
                  <a:pt x="44" y="148"/>
                </a:lnTo>
                <a:lnTo>
                  <a:pt x="46" y="132"/>
                </a:lnTo>
                <a:lnTo>
                  <a:pt x="22" y="118"/>
                </a:lnTo>
                <a:lnTo>
                  <a:pt x="2" y="116"/>
                </a:lnTo>
                <a:lnTo>
                  <a:pt x="0" y="78"/>
                </a:lnTo>
                <a:lnTo>
                  <a:pt x="22" y="52"/>
                </a:lnTo>
                <a:lnTo>
                  <a:pt x="10" y="42"/>
                </a:lnTo>
                <a:lnTo>
                  <a:pt x="12" y="34"/>
                </a:lnTo>
                <a:lnTo>
                  <a:pt x="24" y="2"/>
                </a:lnTo>
                <a:lnTo>
                  <a:pt x="54" y="2"/>
                </a:lnTo>
                <a:lnTo>
                  <a:pt x="70" y="14"/>
                </a:lnTo>
                <a:lnTo>
                  <a:pt x="80" y="8"/>
                </a:lnTo>
                <a:lnTo>
                  <a:pt x="108" y="18"/>
                </a:lnTo>
                <a:lnTo>
                  <a:pt x="114" y="10"/>
                </a:lnTo>
                <a:lnTo>
                  <a:pt x="149" y="14"/>
                </a:lnTo>
                <a:lnTo>
                  <a:pt x="171" y="0"/>
                </a:lnTo>
                <a:lnTo>
                  <a:pt x="185" y="14"/>
                </a:lnTo>
                <a:lnTo>
                  <a:pt x="187" y="40"/>
                </a:lnTo>
                <a:lnTo>
                  <a:pt x="177" y="42"/>
                </a:lnTo>
                <a:lnTo>
                  <a:pt x="137" y="118"/>
                </a:lnTo>
                <a:lnTo>
                  <a:pt x="126" y="110"/>
                </a:lnTo>
                <a:lnTo>
                  <a:pt x="116" y="110"/>
                </a:lnTo>
                <a:lnTo>
                  <a:pt x="96" y="128"/>
                </a:lnTo>
                <a:lnTo>
                  <a:pt x="94" y="14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14" name="Freeform 151">
            <a:extLst>
              <a:ext uri="{FF2B5EF4-FFF2-40B4-BE49-F238E27FC236}">
                <a16:creationId xmlns:a16="http://schemas.microsoft.com/office/drawing/2014/main" id="{6F7913A7-53E7-40DC-B31C-7C2E450A38F2}"/>
              </a:ext>
            </a:extLst>
          </p:cNvPr>
          <p:cNvSpPr>
            <a:spLocks/>
          </p:cNvSpPr>
          <p:nvPr/>
        </p:nvSpPr>
        <p:spPr bwMode="gray">
          <a:xfrm>
            <a:off x="2620298" y="2269271"/>
            <a:ext cx="39217" cy="64091"/>
          </a:xfrm>
          <a:custGeom>
            <a:avLst/>
            <a:gdLst>
              <a:gd name="T0" fmla="*/ 20 w 54"/>
              <a:gd name="T1" fmla="*/ 2 h 96"/>
              <a:gd name="T2" fmla="*/ 34 w 54"/>
              <a:gd name="T3" fmla="*/ 0 h 96"/>
              <a:gd name="T4" fmla="*/ 44 w 54"/>
              <a:gd name="T5" fmla="*/ 10 h 96"/>
              <a:gd name="T6" fmla="*/ 42 w 54"/>
              <a:gd name="T7" fmla="*/ 18 h 96"/>
              <a:gd name="T8" fmla="*/ 54 w 54"/>
              <a:gd name="T9" fmla="*/ 28 h 96"/>
              <a:gd name="T10" fmla="*/ 32 w 54"/>
              <a:gd name="T11" fmla="*/ 54 h 96"/>
              <a:gd name="T12" fmla="*/ 34 w 54"/>
              <a:gd name="T13" fmla="*/ 92 h 96"/>
              <a:gd name="T14" fmla="*/ 12 w 54"/>
              <a:gd name="T15" fmla="*/ 96 h 96"/>
              <a:gd name="T16" fmla="*/ 12 w 54"/>
              <a:gd name="T17" fmla="*/ 48 h 96"/>
              <a:gd name="T18" fmla="*/ 0 w 54"/>
              <a:gd name="T19" fmla="*/ 32 h 96"/>
              <a:gd name="T20" fmla="*/ 4 w 54"/>
              <a:gd name="T21" fmla="*/ 20 h 96"/>
              <a:gd name="T22" fmla="*/ 20 w 54"/>
              <a:gd name="T23" fmla="*/ 16 h 96"/>
              <a:gd name="T24" fmla="*/ 20 w 54"/>
              <a:gd name="T25" fmla="*/ 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4" h="96">
                <a:moveTo>
                  <a:pt x="20" y="2"/>
                </a:moveTo>
                <a:lnTo>
                  <a:pt x="34" y="0"/>
                </a:lnTo>
                <a:lnTo>
                  <a:pt x="44" y="10"/>
                </a:lnTo>
                <a:lnTo>
                  <a:pt x="42" y="18"/>
                </a:lnTo>
                <a:lnTo>
                  <a:pt x="54" y="28"/>
                </a:lnTo>
                <a:lnTo>
                  <a:pt x="32" y="54"/>
                </a:lnTo>
                <a:lnTo>
                  <a:pt x="34" y="92"/>
                </a:lnTo>
                <a:lnTo>
                  <a:pt x="12" y="96"/>
                </a:lnTo>
                <a:lnTo>
                  <a:pt x="12" y="48"/>
                </a:lnTo>
                <a:lnTo>
                  <a:pt x="0" y="32"/>
                </a:lnTo>
                <a:lnTo>
                  <a:pt x="4" y="20"/>
                </a:lnTo>
                <a:lnTo>
                  <a:pt x="20" y="16"/>
                </a:lnTo>
                <a:lnTo>
                  <a:pt x="20" y="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15" name="Freeform 152">
            <a:extLst>
              <a:ext uri="{FF2B5EF4-FFF2-40B4-BE49-F238E27FC236}">
                <a16:creationId xmlns:a16="http://schemas.microsoft.com/office/drawing/2014/main" id="{44CC63A9-B21E-4513-8997-C01CA3AF8AE2}"/>
              </a:ext>
            </a:extLst>
          </p:cNvPr>
          <p:cNvSpPr>
            <a:spLocks/>
          </p:cNvSpPr>
          <p:nvPr/>
        </p:nvSpPr>
        <p:spPr bwMode="gray">
          <a:xfrm>
            <a:off x="2607225" y="2282623"/>
            <a:ext cx="21787" cy="53409"/>
          </a:xfrm>
          <a:custGeom>
            <a:avLst/>
            <a:gdLst>
              <a:gd name="T0" fmla="*/ 30 w 30"/>
              <a:gd name="T1" fmla="*/ 76 h 80"/>
              <a:gd name="T2" fmla="*/ 16 w 30"/>
              <a:gd name="T3" fmla="*/ 80 h 80"/>
              <a:gd name="T4" fmla="*/ 12 w 30"/>
              <a:gd name="T5" fmla="*/ 48 h 80"/>
              <a:gd name="T6" fmla="*/ 8 w 30"/>
              <a:gd name="T7" fmla="*/ 34 h 80"/>
              <a:gd name="T8" fmla="*/ 12 w 30"/>
              <a:gd name="T9" fmla="*/ 18 h 80"/>
              <a:gd name="T10" fmla="*/ 0 w 30"/>
              <a:gd name="T11" fmla="*/ 0 h 80"/>
              <a:gd name="T12" fmla="*/ 22 w 30"/>
              <a:gd name="T13" fmla="*/ 0 h 80"/>
              <a:gd name="T14" fmla="*/ 18 w 30"/>
              <a:gd name="T15" fmla="*/ 12 h 80"/>
              <a:gd name="T16" fmla="*/ 30 w 30"/>
              <a:gd name="T17" fmla="*/ 28 h 80"/>
              <a:gd name="T18" fmla="*/ 30 w 30"/>
              <a:gd name="T19" fmla="*/ 76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0" h="80">
                <a:moveTo>
                  <a:pt x="30" y="76"/>
                </a:moveTo>
                <a:lnTo>
                  <a:pt x="16" y="80"/>
                </a:lnTo>
                <a:lnTo>
                  <a:pt x="12" y="48"/>
                </a:lnTo>
                <a:lnTo>
                  <a:pt x="8" y="34"/>
                </a:lnTo>
                <a:lnTo>
                  <a:pt x="12" y="18"/>
                </a:lnTo>
                <a:lnTo>
                  <a:pt x="0" y="0"/>
                </a:lnTo>
                <a:lnTo>
                  <a:pt x="22" y="0"/>
                </a:lnTo>
                <a:lnTo>
                  <a:pt x="18" y="12"/>
                </a:lnTo>
                <a:lnTo>
                  <a:pt x="30" y="28"/>
                </a:lnTo>
                <a:lnTo>
                  <a:pt x="30" y="7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16" name="Freeform 153">
            <a:extLst>
              <a:ext uri="{FF2B5EF4-FFF2-40B4-BE49-F238E27FC236}">
                <a16:creationId xmlns:a16="http://schemas.microsoft.com/office/drawing/2014/main" id="{C85FCC3A-6BE8-4F2A-AD08-C1EE18AB7C17}"/>
              </a:ext>
            </a:extLst>
          </p:cNvPr>
          <p:cNvSpPr>
            <a:spLocks/>
          </p:cNvSpPr>
          <p:nvPr/>
        </p:nvSpPr>
        <p:spPr bwMode="gray">
          <a:xfrm>
            <a:off x="2472145" y="2133078"/>
            <a:ext cx="187370" cy="157556"/>
          </a:xfrm>
          <a:custGeom>
            <a:avLst/>
            <a:gdLst>
              <a:gd name="T0" fmla="*/ 120 w 258"/>
              <a:gd name="T1" fmla="*/ 0 h 236"/>
              <a:gd name="T2" fmla="*/ 210 w 258"/>
              <a:gd name="T3" fmla="*/ 60 h 236"/>
              <a:gd name="T4" fmla="*/ 224 w 258"/>
              <a:gd name="T5" fmla="*/ 74 h 236"/>
              <a:gd name="T6" fmla="*/ 244 w 258"/>
              <a:gd name="T7" fmla="*/ 82 h 236"/>
              <a:gd name="T8" fmla="*/ 242 w 258"/>
              <a:gd name="T9" fmla="*/ 98 h 236"/>
              <a:gd name="T10" fmla="*/ 258 w 258"/>
              <a:gd name="T11" fmla="*/ 96 h 236"/>
              <a:gd name="T12" fmla="*/ 258 w 258"/>
              <a:gd name="T13" fmla="*/ 138 h 236"/>
              <a:gd name="T14" fmla="*/ 246 w 258"/>
              <a:gd name="T15" fmla="*/ 156 h 236"/>
              <a:gd name="T16" fmla="*/ 212 w 258"/>
              <a:gd name="T17" fmla="*/ 162 h 236"/>
              <a:gd name="T18" fmla="*/ 198 w 258"/>
              <a:gd name="T19" fmla="*/ 162 h 236"/>
              <a:gd name="T20" fmla="*/ 178 w 258"/>
              <a:gd name="T21" fmla="*/ 162 h 236"/>
              <a:gd name="T22" fmla="*/ 154 w 258"/>
              <a:gd name="T23" fmla="*/ 172 h 236"/>
              <a:gd name="T24" fmla="*/ 136 w 258"/>
              <a:gd name="T25" fmla="*/ 190 h 236"/>
              <a:gd name="T26" fmla="*/ 128 w 258"/>
              <a:gd name="T27" fmla="*/ 186 h 236"/>
              <a:gd name="T28" fmla="*/ 118 w 258"/>
              <a:gd name="T29" fmla="*/ 210 h 236"/>
              <a:gd name="T30" fmla="*/ 108 w 258"/>
              <a:gd name="T31" fmla="*/ 212 h 236"/>
              <a:gd name="T32" fmla="*/ 104 w 258"/>
              <a:gd name="T33" fmla="*/ 234 h 236"/>
              <a:gd name="T34" fmla="*/ 64 w 258"/>
              <a:gd name="T35" fmla="*/ 236 h 236"/>
              <a:gd name="T36" fmla="*/ 56 w 258"/>
              <a:gd name="T37" fmla="*/ 218 h 236"/>
              <a:gd name="T38" fmla="*/ 50 w 258"/>
              <a:gd name="T39" fmla="*/ 204 h 236"/>
              <a:gd name="T40" fmla="*/ 24 w 258"/>
              <a:gd name="T41" fmla="*/ 210 h 236"/>
              <a:gd name="T42" fmla="*/ 12 w 258"/>
              <a:gd name="T43" fmla="*/ 206 h 236"/>
              <a:gd name="T44" fmla="*/ 12 w 258"/>
              <a:gd name="T45" fmla="*/ 204 h 236"/>
              <a:gd name="T46" fmla="*/ 12 w 258"/>
              <a:gd name="T47" fmla="*/ 200 h 236"/>
              <a:gd name="T48" fmla="*/ 10 w 258"/>
              <a:gd name="T49" fmla="*/ 192 h 236"/>
              <a:gd name="T50" fmla="*/ 4 w 258"/>
              <a:gd name="T51" fmla="*/ 184 h 236"/>
              <a:gd name="T52" fmla="*/ 2 w 258"/>
              <a:gd name="T53" fmla="*/ 172 h 236"/>
              <a:gd name="T54" fmla="*/ 0 w 258"/>
              <a:gd name="T55" fmla="*/ 166 h 236"/>
              <a:gd name="T56" fmla="*/ 6 w 258"/>
              <a:gd name="T57" fmla="*/ 152 h 236"/>
              <a:gd name="T58" fmla="*/ 106 w 258"/>
              <a:gd name="T59" fmla="*/ 154 h 236"/>
              <a:gd name="T60" fmla="*/ 108 w 258"/>
              <a:gd name="T61" fmla="*/ 144 h 236"/>
              <a:gd name="T62" fmla="*/ 102 w 258"/>
              <a:gd name="T63" fmla="*/ 136 h 236"/>
              <a:gd name="T64" fmla="*/ 90 w 258"/>
              <a:gd name="T65" fmla="*/ 0 h 236"/>
              <a:gd name="T66" fmla="*/ 120 w 258"/>
              <a:gd name="T67" fmla="*/ 0 h 2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58" h="236">
                <a:moveTo>
                  <a:pt x="120" y="0"/>
                </a:moveTo>
                <a:lnTo>
                  <a:pt x="210" y="60"/>
                </a:lnTo>
                <a:lnTo>
                  <a:pt x="224" y="74"/>
                </a:lnTo>
                <a:lnTo>
                  <a:pt x="244" y="82"/>
                </a:lnTo>
                <a:lnTo>
                  <a:pt x="242" y="98"/>
                </a:lnTo>
                <a:lnTo>
                  <a:pt x="258" y="96"/>
                </a:lnTo>
                <a:lnTo>
                  <a:pt x="258" y="138"/>
                </a:lnTo>
                <a:lnTo>
                  <a:pt x="246" y="156"/>
                </a:lnTo>
                <a:lnTo>
                  <a:pt x="212" y="162"/>
                </a:lnTo>
                <a:lnTo>
                  <a:pt x="198" y="162"/>
                </a:lnTo>
                <a:lnTo>
                  <a:pt x="178" y="162"/>
                </a:lnTo>
                <a:lnTo>
                  <a:pt x="154" y="172"/>
                </a:lnTo>
                <a:lnTo>
                  <a:pt x="136" y="190"/>
                </a:lnTo>
                <a:lnTo>
                  <a:pt x="128" y="186"/>
                </a:lnTo>
                <a:lnTo>
                  <a:pt x="118" y="210"/>
                </a:lnTo>
                <a:lnTo>
                  <a:pt x="108" y="212"/>
                </a:lnTo>
                <a:lnTo>
                  <a:pt x="104" y="234"/>
                </a:lnTo>
                <a:lnTo>
                  <a:pt x="64" y="236"/>
                </a:lnTo>
                <a:lnTo>
                  <a:pt x="56" y="218"/>
                </a:lnTo>
                <a:lnTo>
                  <a:pt x="50" y="204"/>
                </a:lnTo>
                <a:lnTo>
                  <a:pt x="24" y="210"/>
                </a:lnTo>
                <a:lnTo>
                  <a:pt x="12" y="206"/>
                </a:lnTo>
                <a:lnTo>
                  <a:pt x="12" y="204"/>
                </a:lnTo>
                <a:lnTo>
                  <a:pt x="12" y="200"/>
                </a:lnTo>
                <a:lnTo>
                  <a:pt x="10" y="192"/>
                </a:lnTo>
                <a:lnTo>
                  <a:pt x="4" y="184"/>
                </a:lnTo>
                <a:lnTo>
                  <a:pt x="2" y="172"/>
                </a:lnTo>
                <a:lnTo>
                  <a:pt x="0" y="166"/>
                </a:lnTo>
                <a:lnTo>
                  <a:pt x="6" y="152"/>
                </a:lnTo>
                <a:lnTo>
                  <a:pt x="106" y="154"/>
                </a:lnTo>
                <a:lnTo>
                  <a:pt x="108" y="144"/>
                </a:lnTo>
                <a:lnTo>
                  <a:pt x="102" y="136"/>
                </a:lnTo>
                <a:lnTo>
                  <a:pt x="90" y="0"/>
                </a:lnTo>
                <a:lnTo>
                  <a:pt x="120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17" name="Freeform 154">
            <a:extLst>
              <a:ext uri="{FF2B5EF4-FFF2-40B4-BE49-F238E27FC236}">
                <a16:creationId xmlns:a16="http://schemas.microsoft.com/office/drawing/2014/main" id="{6E505F4F-074C-454E-A017-92BAA45258EC}"/>
              </a:ext>
            </a:extLst>
          </p:cNvPr>
          <p:cNvSpPr>
            <a:spLocks/>
          </p:cNvSpPr>
          <p:nvPr/>
        </p:nvSpPr>
        <p:spPr bwMode="gray">
          <a:xfrm>
            <a:off x="2547674" y="2241231"/>
            <a:ext cx="87149" cy="57415"/>
          </a:xfrm>
          <a:custGeom>
            <a:avLst/>
            <a:gdLst>
              <a:gd name="T0" fmla="*/ 44 w 120"/>
              <a:gd name="T1" fmla="*/ 62 h 86"/>
              <a:gd name="T2" fmla="*/ 44 w 120"/>
              <a:gd name="T3" fmla="*/ 84 h 86"/>
              <a:gd name="T4" fmla="*/ 30 w 120"/>
              <a:gd name="T5" fmla="*/ 78 h 86"/>
              <a:gd name="T6" fmla="*/ 20 w 120"/>
              <a:gd name="T7" fmla="*/ 86 h 86"/>
              <a:gd name="T8" fmla="*/ 0 w 120"/>
              <a:gd name="T9" fmla="*/ 72 h 86"/>
              <a:gd name="T10" fmla="*/ 4 w 120"/>
              <a:gd name="T11" fmla="*/ 50 h 86"/>
              <a:gd name="T12" fmla="*/ 14 w 120"/>
              <a:gd name="T13" fmla="*/ 48 h 86"/>
              <a:gd name="T14" fmla="*/ 24 w 120"/>
              <a:gd name="T15" fmla="*/ 24 h 86"/>
              <a:gd name="T16" fmla="*/ 32 w 120"/>
              <a:gd name="T17" fmla="*/ 28 h 86"/>
              <a:gd name="T18" fmla="*/ 50 w 120"/>
              <a:gd name="T19" fmla="*/ 10 h 86"/>
              <a:gd name="T20" fmla="*/ 74 w 120"/>
              <a:gd name="T21" fmla="*/ 0 h 86"/>
              <a:gd name="T22" fmla="*/ 94 w 120"/>
              <a:gd name="T23" fmla="*/ 0 h 86"/>
              <a:gd name="T24" fmla="*/ 90 w 120"/>
              <a:gd name="T25" fmla="*/ 8 h 86"/>
              <a:gd name="T26" fmla="*/ 92 w 120"/>
              <a:gd name="T27" fmla="*/ 14 h 86"/>
              <a:gd name="T28" fmla="*/ 104 w 120"/>
              <a:gd name="T29" fmla="*/ 28 h 86"/>
              <a:gd name="T30" fmla="*/ 102 w 120"/>
              <a:gd name="T31" fmla="*/ 34 h 86"/>
              <a:gd name="T32" fmla="*/ 120 w 120"/>
              <a:gd name="T33" fmla="*/ 44 h 86"/>
              <a:gd name="T34" fmla="*/ 120 w 120"/>
              <a:gd name="T35" fmla="*/ 58 h 86"/>
              <a:gd name="T36" fmla="*/ 104 w 120"/>
              <a:gd name="T37" fmla="*/ 62 h 86"/>
              <a:gd name="T38" fmla="*/ 82 w 120"/>
              <a:gd name="T39" fmla="*/ 62 h 86"/>
              <a:gd name="T40" fmla="*/ 44 w 120"/>
              <a:gd name="T41" fmla="*/ 62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0" h="86">
                <a:moveTo>
                  <a:pt x="44" y="62"/>
                </a:moveTo>
                <a:lnTo>
                  <a:pt x="44" y="84"/>
                </a:lnTo>
                <a:lnTo>
                  <a:pt x="30" y="78"/>
                </a:lnTo>
                <a:lnTo>
                  <a:pt x="20" y="86"/>
                </a:lnTo>
                <a:lnTo>
                  <a:pt x="0" y="72"/>
                </a:lnTo>
                <a:lnTo>
                  <a:pt x="4" y="50"/>
                </a:lnTo>
                <a:lnTo>
                  <a:pt x="14" y="48"/>
                </a:lnTo>
                <a:lnTo>
                  <a:pt x="24" y="24"/>
                </a:lnTo>
                <a:lnTo>
                  <a:pt x="32" y="28"/>
                </a:lnTo>
                <a:lnTo>
                  <a:pt x="50" y="10"/>
                </a:lnTo>
                <a:lnTo>
                  <a:pt x="74" y="0"/>
                </a:lnTo>
                <a:lnTo>
                  <a:pt x="94" y="0"/>
                </a:lnTo>
                <a:lnTo>
                  <a:pt x="90" y="8"/>
                </a:lnTo>
                <a:lnTo>
                  <a:pt x="92" y="14"/>
                </a:lnTo>
                <a:lnTo>
                  <a:pt x="104" y="28"/>
                </a:lnTo>
                <a:lnTo>
                  <a:pt x="102" y="34"/>
                </a:lnTo>
                <a:lnTo>
                  <a:pt x="120" y="44"/>
                </a:lnTo>
                <a:lnTo>
                  <a:pt x="120" y="58"/>
                </a:lnTo>
                <a:lnTo>
                  <a:pt x="104" y="62"/>
                </a:lnTo>
                <a:lnTo>
                  <a:pt x="82" y="62"/>
                </a:lnTo>
                <a:lnTo>
                  <a:pt x="44" y="6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18" name="Freeform 155">
            <a:extLst>
              <a:ext uri="{FF2B5EF4-FFF2-40B4-BE49-F238E27FC236}">
                <a16:creationId xmlns:a16="http://schemas.microsoft.com/office/drawing/2014/main" id="{70955CE8-3767-4491-A98E-583E4A27C01A}"/>
              </a:ext>
            </a:extLst>
          </p:cNvPr>
          <p:cNvSpPr>
            <a:spLocks/>
          </p:cNvSpPr>
          <p:nvPr/>
        </p:nvSpPr>
        <p:spPr bwMode="gray">
          <a:xfrm>
            <a:off x="2575271" y="2282623"/>
            <a:ext cx="43574" cy="66761"/>
          </a:xfrm>
          <a:custGeom>
            <a:avLst/>
            <a:gdLst>
              <a:gd name="T0" fmla="*/ 60 w 60"/>
              <a:gd name="T1" fmla="*/ 80 h 100"/>
              <a:gd name="T2" fmla="*/ 48 w 60"/>
              <a:gd name="T3" fmla="*/ 86 h 100"/>
              <a:gd name="T4" fmla="*/ 36 w 60"/>
              <a:gd name="T5" fmla="*/ 96 h 100"/>
              <a:gd name="T6" fmla="*/ 20 w 60"/>
              <a:gd name="T7" fmla="*/ 100 h 100"/>
              <a:gd name="T8" fmla="*/ 8 w 60"/>
              <a:gd name="T9" fmla="*/ 94 h 100"/>
              <a:gd name="T10" fmla="*/ 0 w 60"/>
              <a:gd name="T11" fmla="*/ 72 h 100"/>
              <a:gd name="T12" fmla="*/ 10 w 60"/>
              <a:gd name="T13" fmla="*/ 50 h 100"/>
              <a:gd name="T14" fmla="*/ 6 w 60"/>
              <a:gd name="T15" fmla="*/ 22 h 100"/>
              <a:gd name="T16" fmla="*/ 6 w 60"/>
              <a:gd name="T17" fmla="*/ 0 h 100"/>
              <a:gd name="T18" fmla="*/ 44 w 60"/>
              <a:gd name="T19" fmla="*/ 0 h 100"/>
              <a:gd name="T20" fmla="*/ 56 w 60"/>
              <a:gd name="T21" fmla="*/ 18 h 100"/>
              <a:gd name="T22" fmla="*/ 52 w 60"/>
              <a:gd name="T23" fmla="*/ 30 h 100"/>
              <a:gd name="T24" fmla="*/ 54 w 60"/>
              <a:gd name="T25" fmla="*/ 40 h 100"/>
              <a:gd name="T26" fmla="*/ 56 w 60"/>
              <a:gd name="T27" fmla="*/ 48 h 100"/>
              <a:gd name="T28" fmla="*/ 60 w 60"/>
              <a:gd name="T29" fmla="*/ 8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0" h="100">
                <a:moveTo>
                  <a:pt x="60" y="80"/>
                </a:moveTo>
                <a:lnTo>
                  <a:pt x="48" y="86"/>
                </a:lnTo>
                <a:lnTo>
                  <a:pt x="36" y="96"/>
                </a:lnTo>
                <a:lnTo>
                  <a:pt x="20" y="100"/>
                </a:lnTo>
                <a:lnTo>
                  <a:pt x="8" y="94"/>
                </a:lnTo>
                <a:lnTo>
                  <a:pt x="0" y="72"/>
                </a:lnTo>
                <a:lnTo>
                  <a:pt x="10" y="50"/>
                </a:lnTo>
                <a:lnTo>
                  <a:pt x="6" y="22"/>
                </a:lnTo>
                <a:lnTo>
                  <a:pt x="6" y="0"/>
                </a:lnTo>
                <a:lnTo>
                  <a:pt x="44" y="0"/>
                </a:lnTo>
                <a:lnTo>
                  <a:pt x="56" y="18"/>
                </a:lnTo>
                <a:lnTo>
                  <a:pt x="52" y="30"/>
                </a:lnTo>
                <a:lnTo>
                  <a:pt x="54" y="40"/>
                </a:lnTo>
                <a:lnTo>
                  <a:pt x="56" y="48"/>
                </a:lnTo>
                <a:lnTo>
                  <a:pt x="60" y="8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19" name="Freeform 156">
            <a:extLst>
              <a:ext uri="{FF2B5EF4-FFF2-40B4-BE49-F238E27FC236}">
                <a16:creationId xmlns:a16="http://schemas.microsoft.com/office/drawing/2014/main" id="{2EF41AF5-39F7-4522-A2AF-8F08DF0C784F}"/>
              </a:ext>
            </a:extLst>
          </p:cNvPr>
          <p:cNvSpPr>
            <a:spLocks/>
          </p:cNvSpPr>
          <p:nvPr/>
        </p:nvSpPr>
        <p:spPr bwMode="gray">
          <a:xfrm>
            <a:off x="2514266" y="2289299"/>
            <a:ext cx="68267" cy="65426"/>
          </a:xfrm>
          <a:custGeom>
            <a:avLst/>
            <a:gdLst>
              <a:gd name="T0" fmla="*/ 92 w 94"/>
              <a:gd name="T1" fmla="*/ 84 h 98"/>
              <a:gd name="T2" fmla="*/ 50 w 94"/>
              <a:gd name="T3" fmla="*/ 84 h 98"/>
              <a:gd name="T4" fmla="*/ 24 w 94"/>
              <a:gd name="T5" fmla="*/ 94 h 98"/>
              <a:gd name="T6" fmla="*/ 12 w 94"/>
              <a:gd name="T7" fmla="*/ 98 h 98"/>
              <a:gd name="T8" fmla="*/ 16 w 94"/>
              <a:gd name="T9" fmla="*/ 78 h 98"/>
              <a:gd name="T10" fmla="*/ 14 w 94"/>
              <a:gd name="T11" fmla="*/ 72 h 98"/>
              <a:gd name="T12" fmla="*/ 8 w 94"/>
              <a:gd name="T13" fmla="*/ 68 h 98"/>
              <a:gd name="T14" fmla="*/ 0 w 94"/>
              <a:gd name="T15" fmla="*/ 66 h 98"/>
              <a:gd name="T16" fmla="*/ 0 w 94"/>
              <a:gd name="T17" fmla="*/ 56 h 98"/>
              <a:gd name="T18" fmla="*/ 0 w 94"/>
              <a:gd name="T19" fmla="*/ 48 h 98"/>
              <a:gd name="T20" fmla="*/ 6 w 94"/>
              <a:gd name="T21" fmla="*/ 44 h 98"/>
              <a:gd name="T22" fmla="*/ 4 w 94"/>
              <a:gd name="T23" fmla="*/ 34 h 98"/>
              <a:gd name="T24" fmla="*/ 10 w 94"/>
              <a:gd name="T25" fmla="*/ 32 h 98"/>
              <a:gd name="T26" fmla="*/ 8 w 94"/>
              <a:gd name="T27" fmla="*/ 18 h 98"/>
              <a:gd name="T28" fmla="*/ 4 w 94"/>
              <a:gd name="T29" fmla="*/ 10 h 98"/>
              <a:gd name="T30" fmla="*/ 6 w 94"/>
              <a:gd name="T31" fmla="*/ 2 h 98"/>
              <a:gd name="T32" fmla="*/ 46 w 94"/>
              <a:gd name="T33" fmla="*/ 0 h 98"/>
              <a:gd name="T34" fmla="*/ 66 w 94"/>
              <a:gd name="T35" fmla="*/ 14 h 98"/>
              <a:gd name="T36" fmla="*/ 76 w 94"/>
              <a:gd name="T37" fmla="*/ 6 h 98"/>
              <a:gd name="T38" fmla="*/ 90 w 94"/>
              <a:gd name="T39" fmla="*/ 12 h 98"/>
              <a:gd name="T40" fmla="*/ 94 w 94"/>
              <a:gd name="T41" fmla="*/ 40 h 98"/>
              <a:gd name="T42" fmla="*/ 84 w 94"/>
              <a:gd name="T43" fmla="*/ 62 h 98"/>
              <a:gd name="T44" fmla="*/ 92 w 94"/>
              <a:gd name="T45" fmla="*/ 84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94" h="98">
                <a:moveTo>
                  <a:pt x="92" y="84"/>
                </a:moveTo>
                <a:lnTo>
                  <a:pt x="50" y="84"/>
                </a:lnTo>
                <a:lnTo>
                  <a:pt x="24" y="94"/>
                </a:lnTo>
                <a:lnTo>
                  <a:pt x="12" y="98"/>
                </a:lnTo>
                <a:lnTo>
                  <a:pt x="16" y="78"/>
                </a:lnTo>
                <a:lnTo>
                  <a:pt x="14" y="72"/>
                </a:lnTo>
                <a:lnTo>
                  <a:pt x="8" y="68"/>
                </a:lnTo>
                <a:lnTo>
                  <a:pt x="0" y="66"/>
                </a:lnTo>
                <a:lnTo>
                  <a:pt x="0" y="56"/>
                </a:lnTo>
                <a:lnTo>
                  <a:pt x="0" y="48"/>
                </a:lnTo>
                <a:lnTo>
                  <a:pt x="6" y="44"/>
                </a:lnTo>
                <a:lnTo>
                  <a:pt x="4" y="34"/>
                </a:lnTo>
                <a:lnTo>
                  <a:pt x="10" y="32"/>
                </a:lnTo>
                <a:lnTo>
                  <a:pt x="8" y="18"/>
                </a:lnTo>
                <a:lnTo>
                  <a:pt x="4" y="10"/>
                </a:lnTo>
                <a:lnTo>
                  <a:pt x="6" y="2"/>
                </a:lnTo>
                <a:lnTo>
                  <a:pt x="46" y="0"/>
                </a:lnTo>
                <a:lnTo>
                  <a:pt x="66" y="14"/>
                </a:lnTo>
                <a:lnTo>
                  <a:pt x="76" y="6"/>
                </a:lnTo>
                <a:lnTo>
                  <a:pt x="90" y="12"/>
                </a:lnTo>
                <a:lnTo>
                  <a:pt x="94" y="40"/>
                </a:lnTo>
                <a:lnTo>
                  <a:pt x="84" y="62"/>
                </a:lnTo>
                <a:lnTo>
                  <a:pt x="92" y="8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20" name="Freeform 157">
            <a:extLst>
              <a:ext uri="{FF2B5EF4-FFF2-40B4-BE49-F238E27FC236}">
                <a16:creationId xmlns:a16="http://schemas.microsoft.com/office/drawing/2014/main" id="{99BC83CF-B340-42E8-B888-45F937BA36F6}"/>
              </a:ext>
            </a:extLst>
          </p:cNvPr>
          <p:cNvSpPr>
            <a:spLocks/>
          </p:cNvSpPr>
          <p:nvPr/>
        </p:nvSpPr>
        <p:spPr bwMode="gray">
          <a:xfrm>
            <a:off x="2721971" y="2376089"/>
            <a:ext cx="21061" cy="16023"/>
          </a:xfrm>
          <a:custGeom>
            <a:avLst/>
            <a:gdLst>
              <a:gd name="T0" fmla="*/ 4 w 29"/>
              <a:gd name="T1" fmla="*/ 0 h 24"/>
              <a:gd name="T2" fmla="*/ 29 w 29"/>
              <a:gd name="T3" fmla="*/ 0 h 24"/>
              <a:gd name="T4" fmla="*/ 26 w 29"/>
              <a:gd name="T5" fmla="*/ 22 h 24"/>
              <a:gd name="T6" fmla="*/ 2 w 29"/>
              <a:gd name="T7" fmla="*/ 24 h 24"/>
              <a:gd name="T8" fmla="*/ 0 w 29"/>
              <a:gd name="T9" fmla="*/ 10 h 24"/>
              <a:gd name="T10" fmla="*/ 4 w 29"/>
              <a:gd name="T11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9" h="24">
                <a:moveTo>
                  <a:pt x="4" y="0"/>
                </a:moveTo>
                <a:lnTo>
                  <a:pt x="29" y="0"/>
                </a:lnTo>
                <a:lnTo>
                  <a:pt x="26" y="22"/>
                </a:lnTo>
                <a:lnTo>
                  <a:pt x="2" y="24"/>
                </a:lnTo>
                <a:lnTo>
                  <a:pt x="0" y="10"/>
                </a:lnTo>
                <a:lnTo>
                  <a:pt x="4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21" name="Freeform 158">
            <a:extLst>
              <a:ext uri="{FF2B5EF4-FFF2-40B4-BE49-F238E27FC236}">
                <a16:creationId xmlns:a16="http://schemas.microsoft.com/office/drawing/2014/main" id="{2D5D7D8C-60D0-470E-92E6-996ABB843FC6}"/>
              </a:ext>
            </a:extLst>
          </p:cNvPr>
          <p:cNvSpPr>
            <a:spLocks/>
          </p:cNvSpPr>
          <p:nvPr/>
        </p:nvSpPr>
        <p:spPr bwMode="gray">
          <a:xfrm>
            <a:off x="3110510" y="2528304"/>
            <a:ext cx="82791" cy="149545"/>
          </a:xfrm>
          <a:custGeom>
            <a:avLst/>
            <a:gdLst>
              <a:gd name="T0" fmla="*/ 22 w 114"/>
              <a:gd name="T1" fmla="*/ 70 h 224"/>
              <a:gd name="T2" fmla="*/ 46 w 114"/>
              <a:gd name="T3" fmla="*/ 60 h 224"/>
              <a:gd name="T4" fmla="*/ 70 w 114"/>
              <a:gd name="T5" fmla="*/ 44 h 224"/>
              <a:gd name="T6" fmla="*/ 78 w 114"/>
              <a:gd name="T7" fmla="*/ 30 h 224"/>
              <a:gd name="T8" fmla="*/ 86 w 114"/>
              <a:gd name="T9" fmla="*/ 26 h 224"/>
              <a:gd name="T10" fmla="*/ 94 w 114"/>
              <a:gd name="T11" fmla="*/ 10 h 224"/>
              <a:gd name="T12" fmla="*/ 96 w 114"/>
              <a:gd name="T13" fmla="*/ 0 h 224"/>
              <a:gd name="T14" fmla="*/ 108 w 114"/>
              <a:gd name="T15" fmla="*/ 20 h 224"/>
              <a:gd name="T16" fmla="*/ 112 w 114"/>
              <a:gd name="T17" fmla="*/ 40 h 224"/>
              <a:gd name="T18" fmla="*/ 114 w 114"/>
              <a:gd name="T19" fmla="*/ 52 h 224"/>
              <a:gd name="T20" fmla="*/ 114 w 114"/>
              <a:gd name="T21" fmla="*/ 64 h 224"/>
              <a:gd name="T22" fmla="*/ 102 w 114"/>
              <a:gd name="T23" fmla="*/ 66 h 224"/>
              <a:gd name="T24" fmla="*/ 102 w 114"/>
              <a:gd name="T25" fmla="*/ 82 h 224"/>
              <a:gd name="T26" fmla="*/ 82 w 114"/>
              <a:gd name="T27" fmla="*/ 150 h 224"/>
              <a:gd name="T28" fmla="*/ 74 w 114"/>
              <a:gd name="T29" fmla="*/ 182 h 224"/>
              <a:gd name="T30" fmla="*/ 62 w 114"/>
              <a:gd name="T31" fmla="*/ 214 h 224"/>
              <a:gd name="T32" fmla="*/ 40 w 114"/>
              <a:gd name="T33" fmla="*/ 224 h 224"/>
              <a:gd name="T34" fmla="*/ 18 w 114"/>
              <a:gd name="T35" fmla="*/ 222 h 224"/>
              <a:gd name="T36" fmla="*/ 8 w 114"/>
              <a:gd name="T37" fmla="*/ 202 h 224"/>
              <a:gd name="T38" fmla="*/ 6 w 114"/>
              <a:gd name="T39" fmla="*/ 182 h 224"/>
              <a:gd name="T40" fmla="*/ 0 w 114"/>
              <a:gd name="T41" fmla="*/ 164 h 224"/>
              <a:gd name="T42" fmla="*/ 16 w 114"/>
              <a:gd name="T43" fmla="*/ 142 h 224"/>
              <a:gd name="T44" fmla="*/ 20 w 114"/>
              <a:gd name="T45" fmla="*/ 122 h 224"/>
              <a:gd name="T46" fmla="*/ 16 w 114"/>
              <a:gd name="T47" fmla="*/ 106 h 224"/>
              <a:gd name="T48" fmla="*/ 10 w 114"/>
              <a:gd name="T49" fmla="*/ 90 h 224"/>
              <a:gd name="T50" fmla="*/ 18 w 114"/>
              <a:gd name="T51" fmla="*/ 80 h 224"/>
              <a:gd name="T52" fmla="*/ 22 w 114"/>
              <a:gd name="T53" fmla="*/ 70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14" h="224">
                <a:moveTo>
                  <a:pt x="22" y="70"/>
                </a:moveTo>
                <a:lnTo>
                  <a:pt x="46" y="60"/>
                </a:lnTo>
                <a:lnTo>
                  <a:pt x="70" y="44"/>
                </a:lnTo>
                <a:lnTo>
                  <a:pt x="78" y="30"/>
                </a:lnTo>
                <a:lnTo>
                  <a:pt x="86" y="26"/>
                </a:lnTo>
                <a:lnTo>
                  <a:pt x="94" y="10"/>
                </a:lnTo>
                <a:lnTo>
                  <a:pt x="96" y="0"/>
                </a:lnTo>
                <a:lnTo>
                  <a:pt x="108" y="20"/>
                </a:lnTo>
                <a:lnTo>
                  <a:pt x="112" y="40"/>
                </a:lnTo>
                <a:lnTo>
                  <a:pt x="114" y="52"/>
                </a:lnTo>
                <a:lnTo>
                  <a:pt x="114" y="64"/>
                </a:lnTo>
                <a:lnTo>
                  <a:pt x="102" y="66"/>
                </a:lnTo>
                <a:lnTo>
                  <a:pt x="102" y="82"/>
                </a:lnTo>
                <a:lnTo>
                  <a:pt x="82" y="150"/>
                </a:lnTo>
                <a:lnTo>
                  <a:pt x="74" y="182"/>
                </a:lnTo>
                <a:lnTo>
                  <a:pt x="62" y="214"/>
                </a:lnTo>
                <a:lnTo>
                  <a:pt x="40" y="224"/>
                </a:lnTo>
                <a:lnTo>
                  <a:pt x="18" y="222"/>
                </a:lnTo>
                <a:lnTo>
                  <a:pt x="8" y="202"/>
                </a:lnTo>
                <a:lnTo>
                  <a:pt x="6" y="182"/>
                </a:lnTo>
                <a:lnTo>
                  <a:pt x="0" y="164"/>
                </a:lnTo>
                <a:lnTo>
                  <a:pt x="16" y="142"/>
                </a:lnTo>
                <a:lnTo>
                  <a:pt x="20" y="122"/>
                </a:lnTo>
                <a:lnTo>
                  <a:pt x="16" y="106"/>
                </a:lnTo>
                <a:lnTo>
                  <a:pt x="10" y="90"/>
                </a:lnTo>
                <a:lnTo>
                  <a:pt x="18" y="80"/>
                </a:lnTo>
                <a:lnTo>
                  <a:pt x="22" y="7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22" name="Freeform 159">
            <a:extLst>
              <a:ext uri="{FF2B5EF4-FFF2-40B4-BE49-F238E27FC236}">
                <a16:creationId xmlns:a16="http://schemas.microsoft.com/office/drawing/2014/main" id="{F92313B2-69D6-4C05-80E3-DA00F7C89A18}"/>
              </a:ext>
            </a:extLst>
          </p:cNvPr>
          <p:cNvSpPr>
            <a:spLocks/>
          </p:cNvSpPr>
          <p:nvPr/>
        </p:nvSpPr>
        <p:spPr bwMode="gray">
          <a:xfrm>
            <a:off x="2804036" y="2639128"/>
            <a:ext cx="188822" cy="145539"/>
          </a:xfrm>
          <a:custGeom>
            <a:avLst/>
            <a:gdLst>
              <a:gd name="T0" fmla="*/ 0 w 260"/>
              <a:gd name="T1" fmla="*/ 108 h 218"/>
              <a:gd name="T2" fmla="*/ 2 w 260"/>
              <a:gd name="T3" fmla="*/ 104 h 218"/>
              <a:gd name="T4" fmla="*/ 6 w 260"/>
              <a:gd name="T5" fmla="*/ 102 h 218"/>
              <a:gd name="T6" fmla="*/ 8 w 260"/>
              <a:gd name="T7" fmla="*/ 102 h 218"/>
              <a:gd name="T8" fmla="*/ 14 w 260"/>
              <a:gd name="T9" fmla="*/ 110 h 218"/>
              <a:gd name="T10" fmla="*/ 22 w 260"/>
              <a:gd name="T11" fmla="*/ 114 h 218"/>
              <a:gd name="T12" fmla="*/ 38 w 260"/>
              <a:gd name="T13" fmla="*/ 114 h 218"/>
              <a:gd name="T14" fmla="*/ 54 w 260"/>
              <a:gd name="T15" fmla="*/ 104 h 218"/>
              <a:gd name="T16" fmla="*/ 54 w 260"/>
              <a:gd name="T17" fmla="*/ 46 h 218"/>
              <a:gd name="T18" fmla="*/ 66 w 260"/>
              <a:gd name="T19" fmla="*/ 58 h 218"/>
              <a:gd name="T20" fmla="*/ 66 w 260"/>
              <a:gd name="T21" fmla="*/ 78 h 218"/>
              <a:gd name="T22" fmla="*/ 82 w 260"/>
              <a:gd name="T23" fmla="*/ 78 h 218"/>
              <a:gd name="T24" fmla="*/ 96 w 260"/>
              <a:gd name="T25" fmla="*/ 66 h 218"/>
              <a:gd name="T26" fmla="*/ 100 w 260"/>
              <a:gd name="T27" fmla="*/ 54 h 218"/>
              <a:gd name="T28" fmla="*/ 110 w 260"/>
              <a:gd name="T29" fmla="*/ 54 h 218"/>
              <a:gd name="T30" fmla="*/ 120 w 260"/>
              <a:gd name="T31" fmla="*/ 62 h 218"/>
              <a:gd name="T32" fmla="*/ 140 w 260"/>
              <a:gd name="T33" fmla="*/ 60 h 218"/>
              <a:gd name="T34" fmla="*/ 148 w 260"/>
              <a:gd name="T35" fmla="*/ 46 h 218"/>
              <a:gd name="T36" fmla="*/ 186 w 260"/>
              <a:gd name="T37" fmla="*/ 6 h 218"/>
              <a:gd name="T38" fmla="*/ 196 w 260"/>
              <a:gd name="T39" fmla="*/ 6 h 218"/>
              <a:gd name="T40" fmla="*/ 198 w 260"/>
              <a:gd name="T41" fmla="*/ 0 h 218"/>
              <a:gd name="T42" fmla="*/ 228 w 260"/>
              <a:gd name="T43" fmla="*/ 2 h 218"/>
              <a:gd name="T44" fmla="*/ 236 w 260"/>
              <a:gd name="T45" fmla="*/ 8 h 218"/>
              <a:gd name="T46" fmla="*/ 241 w 260"/>
              <a:gd name="T47" fmla="*/ 31 h 218"/>
              <a:gd name="T48" fmla="*/ 241 w 260"/>
              <a:gd name="T49" fmla="*/ 55 h 218"/>
              <a:gd name="T50" fmla="*/ 217 w 260"/>
              <a:gd name="T51" fmla="*/ 69 h 218"/>
              <a:gd name="T52" fmla="*/ 227 w 260"/>
              <a:gd name="T53" fmla="*/ 93 h 218"/>
              <a:gd name="T54" fmla="*/ 260 w 260"/>
              <a:gd name="T55" fmla="*/ 80 h 218"/>
              <a:gd name="T56" fmla="*/ 254 w 260"/>
              <a:gd name="T57" fmla="*/ 90 h 218"/>
              <a:gd name="T58" fmla="*/ 254 w 260"/>
              <a:gd name="T59" fmla="*/ 104 h 218"/>
              <a:gd name="T60" fmla="*/ 246 w 260"/>
              <a:gd name="T61" fmla="*/ 110 h 218"/>
              <a:gd name="T62" fmla="*/ 230 w 260"/>
              <a:gd name="T63" fmla="*/ 130 h 218"/>
              <a:gd name="T64" fmla="*/ 224 w 260"/>
              <a:gd name="T65" fmla="*/ 142 h 218"/>
              <a:gd name="T66" fmla="*/ 210 w 260"/>
              <a:gd name="T67" fmla="*/ 160 h 218"/>
              <a:gd name="T68" fmla="*/ 188 w 260"/>
              <a:gd name="T69" fmla="*/ 176 h 218"/>
              <a:gd name="T70" fmla="*/ 164 w 260"/>
              <a:gd name="T71" fmla="*/ 198 h 218"/>
              <a:gd name="T72" fmla="*/ 142 w 260"/>
              <a:gd name="T73" fmla="*/ 202 h 218"/>
              <a:gd name="T74" fmla="*/ 128 w 260"/>
              <a:gd name="T75" fmla="*/ 208 h 218"/>
              <a:gd name="T76" fmla="*/ 110 w 260"/>
              <a:gd name="T77" fmla="*/ 206 h 218"/>
              <a:gd name="T78" fmla="*/ 88 w 260"/>
              <a:gd name="T79" fmla="*/ 206 h 218"/>
              <a:gd name="T80" fmla="*/ 70 w 260"/>
              <a:gd name="T81" fmla="*/ 212 h 218"/>
              <a:gd name="T82" fmla="*/ 50 w 260"/>
              <a:gd name="T83" fmla="*/ 218 h 218"/>
              <a:gd name="T84" fmla="*/ 34 w 260"/>
              <a:gd name="T85" fmla="*/ 210 h 218"/>
              <a:gd name="T86" fmla="*/ 28 w 260"/>
              <a:gd name="T87" fmla="*/ 198 h 218"/>
              <a:gd name="T88" fmla="*/ 20 w 260"/>
              <a:gd name="T89" fmla="*/ 184 h 218"/>
              <a:gd name="T90" fmla="*/ 30 w 260"/>
              <a:gd name="T91" fmla="*/ 172 h 218"/>
              <a:gd name="T92" fmla="*/ 22 w 260"/>
              <a:gd name="T93" fmla="*/ 158 h 218"/>
              <a:gd name="T94" fmla="*/ 12 w 260"/>
              <a:gd name="T95" fmla="*/ 144 h 218"/>
              <a:gd name="T96" fmla="*/ 6 w 260"/>
              <a:gd name="T97" fmla="*/ 122 h 218"/>
              <a:gd name="T98" fmla="*/ 0 w 260"/>
              <a:gd name="T99" fmla="*/ 108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60" h="218">
                <a:moveTo>
                  <a:pt x="0" y="108"/>
                </a:moveTo>
                <a:lnTo>
                  <a:pt x="2" y="104"/>
                </a:lnTo>
                <a:lnTo>
                  <a:pt x="6" y="102"/>
                </a:lnTo>
                <a:lnTo>
                  <a:pt x="8" y="102"/>
                </a:lnTo>
                <a:lnTo>
                  <a:pt x="14" y="110"/>
                </a:lnTo>
                <a:lnTo>
                  <a:pt x="22" y="114"/>
                </a:lnTo>
                <a:lnTo>
                  <a:pt x="38" y="114"/>
                </a:lnTo>
                <a:lnTo>
                  <a:pt x="54" y="104"/>
                </a:lnTo>
                <a:lnTo>
                  <a:pt x="54" y="46"/>
                </a:lnTo>
                <a:lnTo>
                  <a:pt x="66" y="58"/>
                </a:lnTo>
                <a:lnTo>
                  <a:pt x="66" y="78"/>
                </a:lnTo>
                <a:lnTo>
                  <a:pt x="82" y="78"/>
                </a:lnTo>
                <a:lnTo>
                  <a:pt x="96" y="66"/>
                </a:lnTo>
                <a:lnTo>
                  <a:pt x="100" y="54"/>
                </a:lnTo>
                <a:lnTo>
                  <a:pt x="110" y="54"/>
                </a:lnTo>
                <a:lnTo>
                  <a:pt x="120" y="62"/>
                </a:lnTo>
                <a:lnTo>
                  <a:pt x="140" y="60"/>
                </a:lnTo>
                <a:lnTo>
                  <a:pt x="148" y="46"/>
                </a:lnTo>
                <a:lnTo>
                  <a:pt x="186" y="6"/>
                </a:lnTo>
                <a:lnTo>
                  <a:pt x="196" y="6"/>
                </a:lnTo>
                <a:lnTo>
                  <a:pt x="198" y="0"/>
                </a:lnTo>
                <a:lnTo>
                  <a:pt x="228" y="2"/>
                </a:lnTo>
                <a:lnTo>
                  <a:pt x="236" y="8"/>
                </a:lnTo>
                <a:lnTo>
                  <a:pt x="241" y="31"/>
                </a:lnTo>
                <a:lnTo>
                  <a:pt x="241" y="55"/>
                </a:lnTo>
                <a:lnTo>
                  <a:pt x="217" y="69"/>
                </a:lnTo>
                <a:lnTo>
                  <a:pt x="227" y="93"/>
                </a:lnTo>
                <a:lnTo>
                  <a:pt x="260" y="80"/>
                </a:lnTo>
                <a:lnTo>
                  <a:pt x="254" y="90"/>
                </a:lnTo>
                <a:lnTo>
                  <a:pt x="254" y="104"/>
                </a:lnTo>
                <a:lnTo>
                  <a:pt x="246" y="110"/>
                </a:lnTo>
                <a:lnTo>
                  <a:pt x="230" y="130"/>
                </a:lnTo>
                <a:lnTo>
                  <a:pt x="224" y="142"/>
                </a:lnTo>
                <a:lnTo>
                  <a:pt x="210" y="160"/>
                </a:lnTo>
                <a:lnTo>
                  <a:pt x="188" y="176"/>
                </a:lnTo>
                <a:lnTo>
                  <a:pt x="164" y="198"/>
                </a:lnTo>
                <a:lnTo>
                  <a:pt x="142" y="202"/>
                </a:lnTo>
                <a:lnTo>
                  <a:pt x="128" y="208"/>
                </a:lnTo>
                <a:lnTo>
                  <a:pt x="110" y="206"/>
                </a:lnTo>
                <a:lnTo>
                  <a:pt x="88" y="206"/>
                </a:lnTo>
                <a:lnTo>
                  <a:pt x="70" y="212"/>
                </a:lnTo>
                <a:lnTo>
                  <a:pt x="50" y="218"/>
                </a:lnTo>
                <a:lnTo>
                  <a:pt x="34" y="210"/>
                </a:lnTo>
                <a:lnTo>
                  <a:pt x="28" y="198"/>
                </a:lnTo>
                <a:lnTo>
                  <a:pt x="20" y="184"/>
                </a:lnTo>
                <a:lnTo>
                  <a:pt x="30" y="172"/>
                </a:lnTo>
                <a:lnTo>
                  <a:pt x="22" y="158"/>
                </a:lnTo>
                <a:lnTo>
                  <a:pt x="12" y="144"/>
                </a:lnTo>
                <a:lnTo>
                  <a:pt x="6" y="122"/>
                </a:lnTo>
                <a:lnTo>
                  <a:pt x="0" y="108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23" name="Freeform 160">
            <a:extLst>
              <a:ext uri="{FF2B5EF4-FFF2-40B4-BE49-F238E27FC236}">
                <a16:creationId xmlns:a16="http://schemas.microsoft.com/office/drawing/2014/main" id="{A44BAA7A-8920-42CE-9C69-ED87970D2FFF}"/>
              </a:ext>
            </a:extLst>
          </p:cNvPr>
          <p:cNvSpPr>
            <a:spLocks/>
          </p:cNvSpPr>
          <p:nvPr/>
        </p:nvSpPr>
        <p:spPr bwMode="gray">
          <a:xfrm>
            <a:off x="2904257" y="2569696"/>
            <a:ext cx="87149" cy="70767"/>
          </a:xfrm>
          <a:custGeom>
            <a:avLst/>
            <a:gdLst>
              <a:gd name="T0" fmla="*/ 60 w 120"/>
              <a:gd name="T1" fmla="*/ 104 h 106"/>
              <a:gd name="T2" fmla="*/ 58 w 120"/>
              <a:gd name="T3" fmla="*/ 98 h 106"/>
              <a:gd name="T4" fmla="*/ 44 w 120"/>
              <a:gd name="T5" fmla="*/ 96 h 106"/>
              <a:gd name="T6" fmla="*/ 36 w 120"/>
              <a:gd name="T7" fmla="*/ 76 h 106"/>
              <a:gd name="T8" fmla="*/ 12 w 120"/>
              <a:gd name="T9" fmla="*/ 64 h 106"/>
              <a:gd name="T10" fmla="*/ 8 w 120"/>
              <a:gd name="T11" fmla="*/ 48 h 106"/>
              <a:gd name="T12" fmla="*/ 0 w 120"/>
              <a:gd name="T13" fmla="*/ 36 h 106"/>
              <a:gd name="T14" fmla="*/ 28 w 120"/>
              <a:gd name="T15" fmla="*/ 34 h 106"/>
              <a:gd name="T16" fmla="*/ 42 w 120"/>
              <a:gd name="T17" fmla="*/ 16 h 106"/>
              <a:gd name="T18" fmla="*/ 54 w 120"/>
              <a:gd name="T19" fmla="*/ 14 h 106"/>
              <a:gd name="T20" fmla="*/ 62 w 120"/>
              <a:gd name="T21" fmla="*/ 0 h 106"/>
              <a:gd name="T22" fmla="*/ 78 w 120"/>
              <a:gd name="T23" fmla="*/ 0 h 106"/>
              <a:gd name="T24" fmla="*/ 118 w 120"/>
              <a:gd name="T25" fmla="*/ 14 h 106"/>
              <a:gd name="T26" fmla="*/ 120 w 120"/>
              <a:gd name="T27" fmla="*/ 42 h 106"/>
              <a:gd name="T28" fmla="*/ 120 w 120"/>
              <a:gd name="T29" fmla="*/ 72 h 106"/>
              <a:gd name="T30" fmla="*/ 112 w 120"/>
              <a:gd name="T31" fmla="*/ 90 h 106"/>
              <a:gd name="T32" fmla="*/ 90 w 120"/>
              <a:gd name="T33" fmla="*/ 106 h 106"/>
              <a:gd name="T34" fmla="*/ 60 w 120"/>
              <a:gd name="T35" fmla="*/ 104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120" h="106">
                <a:moveTo>
                  <a:pt x="60" y="104"/>
                </a:moveTo>
                <a:lnTo>
                  <a:pt x="58" y="98"/>
                </a:lnTo>
                <a:lnTo>
                  <a:pt x="44" y="96"/>
                </a:lnTo>
                <a:lnTo>
                  <a:pt x="36" y="76"/>
                </a:lnTo>
                <a:lnTo>
                  <a:pt x="12" y="64"/>
                </a:lnTo>
                <a:lnTo>
                  <a:pt x="8" y="48"/>
                </a:lnTo>
                <a:lnTo>
                  <a:pt x="0" y="36"/>
                </a:lnTo>
                <a:lnTo>
                  <a:pt x="28" y="34"/>
                </a:lnTo>
                <a:lnTo>
                  <a:pt x="42" y="16"/>
                </a:lnTo>
                <a:lnTo>
                  <a:pt x="54" y="14"/>
                </a:lnTo>
                <a:lnTo>
                  <a:pt x="62" y="0"/>
                </a:lnTo>
                <a:lnTo>
                  <a:pt x="78" y="0"/>
                </a:lnTo>
                <a:lnTo>
                  <a:pt x="118" y="14"/>
                </a:lnTo>
                <a:lnTo>
                  <a:pt x="120" y="42"/>
                </a:lnTo>
                <a:lnTo>
                  <a:pt x="120" y="72"/>
                </a:lnTo>
                <a:lnTo>
                  <a:pt x="112" y="90"/>
                </a:lnTo>
                <a:lnTo>
                  <a:pt x="90" y="106"/>
                </a:lnTo>
                <a:lnTo>
                  <a:pt x="60" y="10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24" name="Freeform 161">
            <a:extLst>
              <a:ext uri="{FF2B5EF4-FFF2-40B4-BE49-F238E27FC236}">
                <a16:creationId xmlns:a16="http://schemas.microsoft.com/office/drawing/2014/main" id="{B9207826-56BC-492C-B648-18AF8E43AF14}"/>
              </a:ext>
            </a:extLst>
          </p:cNvPr>
          <p:cNvSpPr>
            <a:spLocks/>
          </p:cNvSpPr>
          <p:nvPr/>
        </p:nvSpPr>
        <p:spPr bwMode="gray">
          <a:xfrm>
            <a:off x="2843253" y="2593730"/>
            <a:ext cx="104579" cy="97471"/>
          </a:xfrm>
          <a:custGeom>
            <a:avLst/>
            <a:gdLst>
              <a:gd name="T0" fmla="*/ 0 w 144"/>
              <a:gd name="T1" fmla="*/ 114 h 146"/>
              <a:gd name="T2" fmla="*/ 0 w 144"/>
              <a:gd name="T3" fmla="*/ 66 h 146"/>
              <a:gd name="T4" fmla="*/ 14 w 144"/>
              <a:gd name="T5" fmla="*/ 66 h 146"/>
              <a:gd name="T6" fmla="*/ 16 w 144"/>
              <a:gd name="T7" fmla="*/ 4 h 146"/>
              <a:gd name="T8" fmla="*/ 50 w 144"/>
              <a:gd name="T9" fmla="*/ 0 h 146"/>
              <a:gd name="T10" fmla="*/ 56 w 144"/>
              <a:gd name="T11" fmla="*/ 8 h 146"/>
              <a:gd name="T12" fmla="*/ 84 w 144"/>
              <a:gd name="T13" fmla="*/ 0 h 146"/>
              <a:gd name="T14" fmla="*/ 92 w 144"/>
              <a:gd name="T15" fmla="*/ 12 h 146"/>
              <a:gd name="T16" fmla="*/ 96 w 144"/>
              <a:gd name="T17" fmla="*/ 28 h 146"/>
              <a:gd name="T18" fmla="*/ 120 w 144"/>
              <a:gd name="T19" fmla="*/ 40 h 146"/>
              <a:gd name="T20" fmla="*/ 128 w 144"/>
              <a:gd name="T21" fmla="*/ 60 h 146"/>
              <a:gd name="T22" fmla="*/ 142 w 144"/>
              <a:gd name="T23" fmla="*/ 62 h 146"/>
              <a:gd name="T24" fmla="*/ 144 w 144"/>
              <a:gd name="T25" fmla="*/ 70 h 146"/>
              <a:gd name="T26" fmla="*/ 142 w 144"/>
              <a:gd name="T27" fmla="*/ 74 h 146"/>
              <a:gd name="T28" fmla="*/ 132 w 144"/>
              <a:gd name="T29" fmla="*/ 74 h 146"/>
              <a:gd name="T30" fmla="*/ 94 w 144"/>
              <a:gd name="T31" fmla="*/ 114 h 146"/>
              <a:gd name="T32" fmla="*/ 86 w 144"/>
              <a:gd name="T33" fmla="*/ 128 h 146"/>
              <a:gd name="T34" fmla="*/ 66 w 144"/>
              <a:gd name="T35" fmla="*/ 130 h 146"/>
              <a:gd name="T36" fmla="*/ 56 w 144"/>
              <a:gd name="T37" fmla="*/ 122 h 146"/>
              <a:gd name="T38" fmla="*/ 46 w 144"/>
              <a:gd name="T39" fmla="*/ 122 h 146"/>
              <a:gd name="T40" fmla="*/ 42 w 144"/>
              <a:gd name="T41" fmla="*/ 134 h 146"/>
              <a:gd name="T42" fmla="*/ 28 w 144"/>
              <a:gd name="T43" fmla="*/ 146 h 146"/>
              <a:gd name="T44" fmla="*/ 12 w 144"/>
              <a:gd name="T45" fmla="*/ 146 h 146"/>
              <a:gd name="T46" fmla="*/ 12 w 144"/>
              <a:gd name="T47" fmla="*/ 126 h 146"/>
              <a:gd name="T48" fmla="*/ 0 w 144"/>
              <a:gd name="T49" fmla="*/ 114 h 1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44" h="146">
                <a:moveTo>
                  <a:pt x="0" y="114"/>
                </a:moveTo>
                <a:lnTo>
                  <a:pt x="0" y="66"/>
                </a:lnTo>
                <a:lnTo>
                  <a:pt x="14" y="66"/>
                </a:lnTo>
                <a:lnTo>
                  <a:pt x="16" y="4"/>
                </a:lnTo>
                <a:lnTo>
                  <a:pt x="50" y="0"/>
                </a:lnTo>
                <a:lnTo>
                  <a:pt x="56" y="8"/>
                </a:lnTo>
                <a:lnTo>
                  <a:pt x="84" y="0"/>
                </a:lnTo>
                <a:lnTo>
                  <a:pt x="92" y="12"/>
                </a:lnTo>
                <a:lnTo>
                  <a:pt x="96" y="28"/>
                </a:lnTo>
                <a:lnTo>
                  <a:pt x="120" y="40"/>
                </a:lnTo>
                <a:lnTo>
                  <a:pt x="128" y="60"/>
                </a:lnTo>
                <a:lnTo>
                  <a:pt x="142" y="62"/>
                </a:lnTo>
                <a:lnTo>
                  <a:pt x="144" y="70"/>
                </a:lnTo>
                <a:lnTo>
                  <a:pt x="142" y="74"/>
                </a:lnTo>
                <a:lnTo>
                  <a:pt x="132" y="74"/>
                </a:lnTo>
                <a:lnTo>
                  <a:pt x="94" y="114"/>
                </a:lnTo>
                <a:lnTo>
                  <a:pt x="86" y="128"/>
                </a:lnTo>
                <a:lnTo>
                  <a:pt x="66" y="130"/>
                </a:lnTo>
                <a:lnTo>
                  <a:pt x="56" y="122"/>
                </a:lnTo>
                <a:lnTo>
                  <a:pt x="46" y="122"/>
                </a:lnTo>
                <a:lnTo>
                  <a:pt x="42" y="134"/>
                </a:lnTo>
                <a:lnTo>
                  <a:pt x="28" y="146"/>
                </a:lnTo>
                <a:lnTo>
                  <a:pt x="12" y="146"/>
                </a:lnTo>
                <a:lnTo>
                  <a:pt x="12" y="126"/>
                </a:lnTo>
                <a:lnTo>
                  <a:pt x="0" y="11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25" name="Freeform 162">
            <a:extLst>
              <a:ext uri="{FF2B5EF4-FFF2-40B4-BE49-F238E27FC236}">
                <a16:creationId xmlns:a16="http://schemas.microsoft.com/office/drawing/2014/main" id="{5E2E036A-434D-48B2-9D50-61A02CA2602A}"/>
              </a:ext>
            </a:extLst>
          </p:cNvPr>
          <p:cNvSpPr>
            <a:spLocks/>
          </p:cNvSpPr>
          <p:nvPr/>
        </p:nvSpPr>
        <p:spPr bwMode="gray">
          <a:xfrm>
            <a:off x="2751747" y="2587054"/>
            <a:ext cx="103126" cy="128181"/>
          </a:xfrm>
          <a:custGeom>
            <a:avLst/>
            <a:gdLst>
              <a:gd name="T0" fmla="*/ 0 w 142"/>
              <a:gd name="T1" fmla="*/ 0 h 192"/>
              <a:gd name="T2" fmla="*/ 98 w 142"/>
              <a:gd name="T3" fmla="*/ 0 h 192"/>
              <a:gd name="T4" fmla="*/ 106 w 142"/>
              <a:gd name="T5" fmla="*/ 6 h 192"/>
              <a:gd name="T6" fmla="*/ 134 w 142"/>
              <a:gd name="T7" fmla="*/ 8 h 192"/>
              <a:gd name="T8" fmla="*/ 142 w 142"/>
              <a:gd name="T9" fmla="*/ 14 h 192"/>
              <a:gd name="T10" fmla="*/ 140 w 142"/>
              <a:gd name="T11" fmla="*/ 76 h 192"/>
              <a:gd name="T12" fmla="*/ 126 w 142"/>
              <a:gd name="T13" fmla="*/ 76 h 192"/>
              <a:gd name="T14" fmla="*/ 126 w 142"/>
              <a:gd name="T15" fmla="*/ 182 h 192"/>
              <a:gd name="T16" fmla="*/ 110 w 142"/>
              <a:gd name="T17" fmla="*/ 192 h 192"/>
              <a:gd name="T18" fmla="*/ 94 w 142"/>
              <a:gd name="T19" fmla="*/ 192 h 192"/>
              <a:gd name="T20" fmla="*/ 86 w 142"/>
              <a:gd name="T21" fmla="*/ 188 h 192"/>
              <a:gd name="T22" fmla="*/ 80 w 142"/>
              <a:gd name="T23" fmla="*/ 180 h 192"/>
              <a:gd name="T24" fmla="*/ 72 w 142"/>
              <a:gd name="T25" fmla="*/ 186 h 192"/>
              <a:gd name="T26" fmla="*/ 52 w 142"/>
              <a:gd name="T27" fmla="*/ 164 h 192"/>
              <a:gd name="T28" fmla="*/ 44 w 142"/>
              <a:gd name="T29" fmla="*/ 126 h 192"/>
              <a:gd name="T30" fmla="*/ 38 w 142"/>
              <a:gd name="T31" fmla="*/ 114 h 192"/>
              <a:gd name="T32" fmla="*/ 38 w 142"/>
              <a:gd name="T33" fmla="*/ 82 h 192"/>
              <a:gd name="T34" fmla="*/ 12 w 142"/>
              <a:gd name="T35" fmla="*/ 36 h 192"/>
              <a:gd name="T36" fmla="*/ 0 w 142"/>
              <a:gd name="T37" fmla="*/ 16 h 192"/>
              <a:gd name="T38" fmla="*/ 0 w 142"/>
              <a:gd name="T39" fmla="*/ 0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42" h="192">
                <a:moveTo>
                  <a:pt x="0" y="0"/>
                </a:moveTo>
                <a:lnTo>
                  <a:pt x="98" y="0"/>
                </a:lnTo>
                <a:lnTo>
                  <a:pt x="106" y="6"/>
                </a:lnTo>
                <a:lnTo>
                  <a:pt x="134" y="8"/>
                </a:lnTo>
                <a:lnTo>
                  <a:pt x="142" y="14"/>
                </a:lnTo>
                <a:lnTo>
                  <a:pt x="140" y="76"/>
                </a:lnTo>
                <a:lnTo>
                  <a:pt x="126" y="76"/>
                </a:lnTo>
                <a:lnTo>
                  <a:pt x="126" y="182"/>
                </a:lnTo>
                <a:lnTo>
                  <a:pt x="110" y="192"/>
                </a:lnTo>
                <a:lnTo>
                  <a:pt x="94" y="192"/>
                </a:lnTo>
                <a:lnTo>
                  <a:pt x="86" y="188"/>
                </a:lnTo>
                <a:lnTo>
                  <a:pt x="80" y="180"/>
                </a:lnTo>
                <a:lnTo>
                  <a:pt x="72" y="186"/>
                </a:lnTo>
                <a:lnTo>
                  <a:pt x="52" y="164"/>
                </a:lnTo>
                <a:lnTo>
                  <a:pt x="44" y="126"/>
                </a:lnTo>
                <a:lnTo>
                  <a:pt x="38" y="114"/>
                </a:lnTo>
                <a:lnTo>
                  <a:pt x="38" y="82"/>
                </a:lnTo>
                <a:lnTo>
                  <a:pt x="12" y="36"/>
                </a:lnTo>
                <a:lnTo>
                  <a:pt x="0" y="1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26" name="Freeform 163">
            <a:extLst>
              <a:ext uri="{FF2B5EF4-FFF2-40B4-BE49-F238E27FC236}">
                <a16:creationId xmlns:a16="http://schemas.microsoft.com/office/drawing/2014/main" id="{E735400A-3620-41DC-832C-7DDD7997282B}"/>
              </a:ext>
            </a:extLst>
          </p:cNvPr>
          <p:cNvSpPr>
            <a:spLocks/>
          </p:cNvSpPr>
          <p:nvPr/>
        </p:nvSpPr>
        <p:spPr bwMode="gray">
          <a:xfrm>
            <a:off x="2963809" y="2512282"/>
            <a:ext cx="117651" cy="180255"/>
          </a:xfrm>
          <a:custGeom>
            <a:avLst/>
            <a:gdLst>
              <a:gd name="T0" fmla="*/ 0 w 162"/>
              <a:gd name="T1" fmla="*/ 88 h 270"/>
              <a:gd name="T2" fmla="*/ 0 w 162"/>
              <a:gd name="T3" fmla="*/ 72 h 270"/>
              <a:gd name="T4" fmla="*/ 50 w 162"/>
              <a:gd name="T5" fmla="*/ 64 h 270"/>
              <a:gd name="T6" fmla="*/ 66 w 162"/>
              <a:gd name="T7" fmla="*/ 64 h 270"/>
              <a:gd name="T8" fmla="*/ 64 w 162"/>
              <a:gd name="T9" fmla="*/ 94 h 270"/>
              <a:gd name="T10" fmla="*/ 76 w 162"/>
              <a:gd name="T11" fmla="*/ 106 h 270"/>
              <a:gd name="T12" fmla="*/ 86 w 162"/>
              <a:gd name="T13" fmla="*/ 92 h 270"/>
              <a:gd name="T14" fmla="*/ 84 w 162"/>
              <a:gd name="T15" fmla="*/ 64 h 270"/>
              <a:gd name="T16" fmla="*/ 70 w 162"/>
              <a:gd name="T17" fmla="*/ 48 h 270"/>
              <a:gd name="T18" fmla="*/ 64 w 162"/>
              <a:gd name="T19" fmla="*/ 32 h 270"/>
              <a:gd name="T20" fmla="*/ 68 w 162"/>
              <a:gd name="T21" fmla="*/ 16 h 270"/>
              <a:gd name="T22" fmla="*/ 90 w 162"/>
              <a:gd name="T23" fmla="*/ 18 h 270"/>
              <a:gd name="T24" fmla="*/ 116 w 162"/>
              <a:gd name="T25" fmla="*/ 20 h 270"/>
              <a:gd name="T26" fmla="*/ 142 w 162"/>
              <a:gd name="T27" fmla="*/ 10 h 270"/>
              <a:gd name="T28" fmla="*/ 158 w 162"/>
              <a:gd name="T29" fmla="*/ 0 h 270"/>
              <a:gd name="T30" fmla="*/ 158 w 162"/>
              <a:gd name="T31" fmla="*/ 40 h 270"/>
              <a:gd name="T32" fmla="*/ 162 w 162"/>
              <a:gd name="T33" fmla="*/ 80 h 270"/>
              <a:gd name="T34" fmla="*/ 144 w 162"/>
              <a:gd name="T35" fmla="*/ 98 h 270"/>
              <a:gd name="T36" fmla="*/ 112 w 162"/>
              <a:gd name="T37" fmla="*/ 118 h 270"/>
              <a:gd name="T38" fmla="*/ 76 w 162"/>
              <a:gd name="T39" fmla="*/ 150 h 270"/>
              <a:gd name="T40" fmla="*/ 68 w 162"/>
              <a:gd name="T41" fmla="*/ 154 h 270"/>
              <a:gd name="T42" fmla="*/ 70 w 162"/>
              <a:gd name="T43" fmla="*/ 168 h 270"/>
              <a:gd name="T44" fmla="*/ 80 w 162"/>
              <a:gd name="T45" fmla="*/ 196 h 270"/>
              <a:gd name="T46" fmla="*/ 76 w 162"/>
              <a:gd name="T47" fmla="*/ 228 h 270"/>
              <a:gd name="T48" fmla="*/ 38 w 162"/>
              <a:gd name="T49" fmla="*/ 248 h 270"/>
              <a:gd name="T50" fmla="*/ 34 w 162"/>
              <a:gd name="T51" fmla="*/ 256 h 270"/>
              <a:gd name="T52" fmla="*/ 38 w 162"/>
              <a:gd name="T53" fmla="*/ 264 h 270"/>
              <a:gd name="T54" fmla="*/ 40 w 162"/>
              <a:gd name="T55" fmla="*/ 270 h 270"/>
              <a:gd name="T56" fmla="*/ 24 w 162"/>
              <a:gd name="T57" fmla="*/ 268 h 270"/>
              <a:gd name="T58" fmla="*/ 24 w 162"/>
              <a:gd name="T59" fmla="*/ 258 h 270"/>
              <a:gd name="T60" fmla="*/ 24 w 162"/>
              <a:gd name="T61" fmla="*/ 222 h 270"/>
              <a:gd name="T62" fmla="*/ 16 w 162"/>
              <a:gd name="T63" fmla="*/ 198 h 270"/>
              <a:gd name="T64" fmla="*/ 8 w 162"/>
              <a:gd name="T65" fmla="*/ 192 h 270"/>
              <a:gd name="T66" fmla="*/ 30 w 162"/>
              <a:gd name="T67" fmla="*/ 176 h 270"/>
              <a:gd name="T68" fmla="*/ 38 w 162"/>
              <a:gd name="T69" fmla="*/ 158 h 270"/>
              <a:gd name="T70" fmla="*/ 38 w 162"/>
              <a:gd name="T71" fmla="*/ 128 h 270"/>
              <a:gd name="T72" fmla="*/ 36 w 162"/>
              <a:gd name="T73" fmla="*/ 100 h 270"/>
              <a:gd name="T74" fmla="*/ 0 w 162"/>
              <a:gd name="T75" fmla="*/ 88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2" h="270">
                <a:moveTo>
                  <a:pt x="0" y="88"/>
                </a:moveTo>
                <a:lnTo>
                  <a:pt x="0" y="72"/>
                </a:lnTo>
                <a:lnTo>
                  <a:pt x="50" y="64"/>
                </a:lnTo>
                <a:lnTo>
                  <a:pt x="66" y="64"/>
                </a:lnTo>
                <a:lnTo>
                  <a:pt x="64" y="94"/>
                </a:lnTo>
                <a:lnTo>
                  <a:pt x="76" y="106"/>
                </a:lnTo>
                <a:lnTo>
                  <a:pt x="86" y="92"/>
                </a:lnTo>
                <a:lnTo>
                  <a:pt x="84" y="64"/>
                </a:lnTo>
                <a:lnTo>
                  <a:pt x="70" y="48"/>
                </a:lnTo>
                <a:lnTo>
                  <a:pt x="64" y="32"/>
                </a:lnTo>
                <a:lnTo>
                  <a:pt x="68" y="16"/>
                </a:lnTo>
                <a:lnTo>
                  <a:pt x="90" y="18"/>
                </a:lnTo>
                <a:lnTo>
                  <a:pt x="116" y="20"/>
                </a:lnTo>
                <a:lnTo>
                  <a:pt x="142" y="10"/>
                </a:lnTo>
                <a:lnTo>
                  <a:pt x="158" y="0"/>
                </a:lnTo>
                <a:lnTo>
                  <a:pt x="158" y="40"/>
                </a:lnTo>
                <a:lnTo>
                  <a:pt x="162" y="80"/>
                </a:lnTo>
                <a:lnTo>
                  <a:pt x="144" y="98"/>
                </a:lnTo>
                <a:lnTo>
                  <a:pt x="112" y="118"/>
                </a:lnTo>
                <a:lnTo>
                  <a:pt x="76" y="150"/>
                </a:lnTo>
                <a:lnTo>
                  <a:pt x="68" y="154"/>
                </a:lnTo>
                <a:lnTo>
                  <a:pt x="70" y="168"/>
                </a:lnTo>
                <a:lnTo>
                  <a:pt x="80" y="196"/>
                </a:lnTo>
                <a:lnTo>
                  <a:pt x="76" y="228"/>
                </a:lnTo>
                <a:lnTo>
                  <a:pt x="38" y="248"/>
                </a:lnTo>
                <a:lnTo>
                  <a:pt x="34" y="256"/>
                </a:lnTo>
                <a:lnTo>
                  <a:pt x="38" y="264"/>
                </a:lnTo>
                <a:lnTo>
                  <a:pt x="40" y="270"/>
                </a:lnTo>
                <a:lnTo>
                  <a:pt x="24" y="268"/>
                </a:lnTo>
                <a:lnTo>
                  <a:pt x="24" y="258"/>
                </a:lnTo>
                <a:lnTo>
                  <a:pt x="24" y="222"/>
                </a:lnTo>
                <a:lnTo>
                  <a:pt x="16" y="198"/>
                </a:lnTo>
                <a:lnTo>
                  <a:pt x="8" y="192"/>
                </a:lnTo>
                <a:lnTo>
                  <a:pt x="30" y="176"/>
                </a:lnTo>
                <a:lnTo>
                  <a:pt x="38" y="158"/>
                </a:lnTo>
                <a:lnTo>
                  <a:pt x="38" y="128"/>
                </a:lnTo>
                <a:lnTo>
                  <a:pt x="36" y="100"/>
                </a:lnTo>
                <a:lnTo>
                  <a:pt x="0" y="88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27" name="Freeform 164">
            <a:extLst>
              <a:ext uri="{FF2B5EF4-FFF2-40B4-BE49-F238E27FC236}">
                <a16:creationId xmlns:a16="http://schemas.microsoft.com/office/drawing/2014/main" id="{586EF8C4-26C6-4C41-8BA2-03BDDB76D1B3}"/>
              </a:ext>
            </a:extLst>
          </p:cNvPr>
          <p:cNvSpPr>
            <a:spLocks/>
          </p:cNvSpPr>
          <p:nvPr/>
        </p:nvSpPr>
        <p:spPr bwMode="gray">
          <a:xfrm>
            <a:off x="2989954" y="2502935"/>
            <a:ext cx="36312" cy="80113"/>
          </a:xfrm>
          <a:custGeom>
            <a:avLst/>
            <a:gdLst>
              <a:gd name="T0" fmla="*/ 4 w 50"/>
              <a:gd name="T1" fmla="*/ 50 h 120"/>
              <a:gd name="T2" fmla="*/ 10 w 50"/>
              <a:gd name="T3" fmla="*/ 44 h 120"/>
              <a:gd name="T4" fmla="*/ 12 w 50"/>
              <a:gd name="T5" fmla="*/ 18 h 120"/>
              <a:gd name="T6" fmla="*/ 14 w 50"/>
              <a:gd name="T7" fmla="*/ 14 h 120"/>
              <a:gd name="T8" fmla="*/ 8 w 50"/>
              <a:gd name="T9" fmla="*/ 0 h 120"/>
              <a:gd name="T10" fmla="*/ 22 w 50"/>
              <a:gd name="T11" fmla="*/ 0 h 120"/>
              <a:gd name="T12" fmla="*/ 30 w 50"/>
              <a:gd name="T13" fmla="*/ 12 h 120"/>
              <a:gd name="T14" fmla="*/ 32 w 50"/>
              <a:gd name="T15" fmla="*/ 30 h 120"/>
              <a:gd name="T16" fmla="*/ 28 w 50"/>
              <a:gd name="T17" fmla="*/ 46 h 120"/>
              <a:gd name="T18" fmla="*/ 34 w 50"/>
              <a:gd name="T19" fmla="*/ 62 h 120"/>
              <a:gd name="T20" fmla="*/ 48 w 50"/>
              <a:gd name="T21" fmla="*/ 78 h 120"/>
              <a:gd name="T22" fmla="*/ 50 w 50"/>
              <a:gd name="T23" fmla="*/ 106 h 120"/>
              <a:gd name="T24" fmla="*/ 40 w 50"/>
              <a:gd name="T25" fmla="*/ 120 h 120"/>
              <a:gd name="T26" fmla="*/ 28 w 50"/>
              <a:gd name="T27" fmla="*/ 108 h 120"/>
              <a:gd name="T28" fmla="*/ 30 w 50"/>
              <a:gd name="T29" fmla="*/ 78 h 120"/>
              <a:gd name="T30" fmla="*/ 10 w 50"/>
              <a:gd name="T31" fmla="*/ 78 h 120"/>
              <a:gd name="T32" fmla="*/ 0 w 50"/>
              <a:gd name="T33" fmla="*/ 64 h 120"/>
              <a:gd name="T34" fmla="*/ 4 w 50"/>
              <a:gd name="T35" fmla="*/ 5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" h="120">
                <a:moveTo>
                  <a:pt x="4" y="50"/>
                </a:moveTo>
                <a:lnTo>
                  <a:pt x="10" y="44"/>
                </a:lnTo>
                <a:lnTo>
                  <a:pt x="12" y="18"/>
                </a:lnTo>
                <a:lnTo>
                  <a:pt x="14" y="14"/>
                </a:lnTo>
                <a:lnTo>
                  <a:pt x="8" y="0"/>
                </a:lnTo>
                <a:lnTo>
                  <a:pt x="22" y="0"/>
                </a:lnTo>
                <a:lnTo>
                  <a:pt x="30" y="12"/>
                </a:lnTo>
                <a:lnTo>
                  <a:pt x="32" y="30"/>
                </a:lnTo>
                <a:lnTo>
                  <a:pt x="28" y="46"/>
                </a:lnTo>
                <a:lnTo>
                  <a:pt x="34" y="62"/>
                </a:lnTo>
                <a:lnTo>
                  <a:pt x="48" y="78"/>
                </a:lnTo>
                <a:lnTo>
                  <a:pt x="50" y="106"/>
                </a:lnTo>
                <a:lnTo>
                  <a:pt x="40" y="120"/>
                </a:lnTo>
                <a:lnTo>
                  <a:pt x="28" y="108"/>
                </a:lnTo>
                <a:lnTo>
                  <a:pt x="30" y="78"/>
                </a:lnTo>
                <a:lnTo>
                  <a:pt x="10" y="78"/>
                </a:lnTo>
                <a:lnTo>
                  <a:pt x="0" y="64"/>
                </a:lnTo>
                <a:lnTo>
                  <a:pt x="4" y="5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28" name="Freeform 165">
            <a:extLst>
              <a:ext uri="{FF2B5EF4-FFF2-40B4-BE49-F238E27FC236}">
                <a16:creationId xmlns:a16="http://schemas.microsoft.com/office/drawing/2014/main" id="{8322FCA9-76C4-485C-A172-464A07E56A8E}"/>
              </a:ext>
            </a:extLst>
          </p:cNvPr>
          <p:cNvSpPr>
            <a:spLocks/>
          </p:cNvSpPr>
          <p:nvPr/>
        </p:nvSpPr>
        <p:spPr bwMode="gray">
          <a:xfrm>
            <a:off x="2866493" y="2489583"/>
            <a:ext cx="133628" cy="104147"/>
          </a:xfrm>
          <a:custGeom>
            <a:avLst/>
            <a:gdLst>
              <a:gd name="T0" fmla="*/ 52 w 184"/>
              <a:gd name="T1" fmla="*/ 156 h 156"/>
              <a:gd name="T2" fmla="*/ 46 w 184"/>
              <a:gd name="T3" fmla="*/ 150 h 156"/>
              <a:gd name="T4" fmla="*/ 20 w 184"/>
              <a:gd name="T5" fmla="*/ 148 h 156"/>
              <a:gd name="T6" fmla="*/ 2 w 184"/>
              <a:gd name="T7" fmla="*/ 128 h 156"/>
              <a:gd name="T8" fmla="*/ 0 w 184"/>
              <a:gd name="T9" fmla="*/ 76 h 156"/>
              <a:gd name="T10" fmla="*/ 30 w 184"/>
              <a:gd name="T11" fmla="*/ 76 h 156"/>
              <a:gd name="T12" fmla="*/ 30 w 184"/>
              <a:gd name="T13" fmla="*/ 42 h 156"/>
              <a:gd name="T14" fmla="*/ 48 w 184"/>
              <a:gd name="T15" fmla="*/ 50 h 156"/>
              <a:gd name="T16" fmla="*/ 68 w 184"/>
              <a:gd name="T17" fmla="*/ 58 h 156"/>
              <a:gd name="T18" fmla="*/ 82 w 184"/>
              <a:gd name="T19" fmla="*/ 52 h 156"/>
              <a:gd name="T20" fmla="*/ 90 w 184"/>
              <a:gd name="T21" fmla="*/ 64 h 156"/>
              <a:gd name="T22" fmla="*/ 102 w 184"/>
              <a:gd name="T23" fmla="*/ 70 h 156"/>
              <a:gd name="T24" fmla="*/ 110 w 184"/>
              <a:gd name="T25" fmla="*/ 82 h 156"/>
              <a:gd name="T26" fmla="*/ 124 w 184"/>
              <a:gd name="T27" fmla="*/ 82 h 156"/>
              <a:gd name="T28" fmla="*/ 124 w 184"/>
              <a:gd name="T29" fmla="*/ 64 h 156"/>
              <a:gd name="T30" fmla="*/ 110 w 184"/>
              <a:gd name="T31" fmla="*/ 58 h 156"/>
              <a:gd name="T32" fmla="*/ 100 w 184"/>
              <a:gd name="T33" fmla="*/ 48 h 156"/>
              <a:gd name="T34" fmla="*/ 104 w 184"/>
              <a:gd name="T35" fmla="*/ 26 h 156"/>
              <a:gd name="T36" fmla="*/ 102 w 184"/>
              <a:gd name="T37" fmla="*/ 8 h 156"/>
              <a:gd name="T38" fmla="*/ 118 w 184"/>
              <a:gd name="T39" fmla="*/ 0 h 156"/>
              <a:gd name="T40" fmla="*/ 136 w 184"/>
              <a:gd name="T41" fmla="*/ 0 h 156"/>
              <a:gd name="T42" fmla="*/ 178 w 184"/>
              <a:gd name="T43" fmla="*/ 20 h 156"/>
              <a:gd name="T44" fmla="*/ 184 w 184"/>
              <a:gd name="T45" fmla="*/ 34 h 156"/>
              <a:gd name="T46" fmla="*/ 180 w 184"/>
              <a:gd name="T47" fmla="*/ 40 h 156"/>
              <a:gd name="T48" fmla="*/ 180 w 184"/>
              <a:gd name="T49" fmla="*/ 64 h 156"/>
              <a:gd name="T50" fmla="*/ 174 w 184"/>
              <a:gd name="T51" fmla="*/ 70 h 156"/>
              <a:gd name="T52" fmla="*/ 170 w 184"/>
              <a:gd name="T53" fmla="*/ 84 h 156"/>
              <a:gd name="T54" fmla="*/ 180 w 184"/>
              <a:gd name="T55" fmla="*/ 98 h 156"/>
              <a:gd name="T56" fmla="*/ 134 w 184"/>
              <a:gd name="T57" fmla="*/ 106 h 156"/>
              <a:gd name="T58" fmla="*/ 134 w 184"/>
              <a:gd name="T59" fmla="*/ 122 h 156"/>
              <a:gd name="T60" fmla="*/ 114 w 184"/>
              <a:gd name="T61" fmla="*/ 120 h 156"/>
              <a:gd name="T62" fmla="*/ 106 w 184"/>
              <a:gd name="T63" fmla="*/ 134 h 156"/>
              <a:gd name="T64" fmla="*/ 94 w 184"/>
              <a:gd name="T65" fmla="*/ 136 h 156"/>
              <a:gd name="T66" fmla="*/ 80 w 184"/>
              <a:gd name="T67" fmla="*/ 154 h 156"/>
              <a:gd name="T68" fmla="*/ 52 w 184"/>
              <a:gd name="T69" fmla="*/ 156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84" h="156">
                <a:moveTo>
                  <a:pt x="52" y="156"/>
                </a:moveTo>
                <a:lnTo>
                  <a:pt x="46" y="150"/>
                </a:lnTo>
                <a:lnTo>
                  <a:pt x="20" y="148"/>
                </a:lnTo>
                <a:lnTo>
                  <a:pt x="2" y="128"/>
                </a:lnTo>
                <a:lnTo>
                  <a:pt x="0" y="76"/>
                </a:lnTo>
                <a:lnTo>
                  <a:pt x="30" y="76"/>
                </a:lnTo>
                <a:lnTo>
                  <a:pt x="30" y="42"/>
                </a:lnTo>
                <a:lnTo>
                  <a:pt x="48" y="50"/>
                </a:lnTo>
                <a:lnTo>
                  <a:pt x="68" y="58"/>
                </a:lnTo>
                <a:lnTo>
                  <a:pt x="82" y="52"/>
                </a:lnTo>
                <a:lnTo>
                  <a:pt x="90" y="64"/>
                </a:lnTo>
                <a:lnTo>
                  <a:pt x="102" y="70"/>
                </a:lnTo>
                <a:lnTo>
                  <a:pt x="110" y="82"/>
                </a:lnTo>
                <a:lnTo>
                  <a:pt x="124" y="82"/>
                </a:lnTo>
                <a:lnTo>
                  <a:pt x="124" y="64"/>
                </a:lnTo>
                <a:lnTo>
                  <a:pt x="110" y="58"/>
                </a:lnTo>
                <a:lnTo>
                  <a:pt x="100" y="48"/>
                </a:lnTo>
                <a:lnTo>
                  <a:pt x="104" y="26"/>
                </a:lnTo>
                <a:lnTo>
                  <a:pt x="102" y="8"/>
                </a:lnTo>
                <a:lnTo>
                  <a:pt x="118" y="0"/>
                </a:lnTo>
                <a:lnTo>
                  <a:pt x="136" y="0"/>
                </a:lnTo>
                <a:lnTo>
                  <a:pt x="178" y="20"/>
                </a:lnTo>
                <a:lnTo>
                  <a:pt x="184" y="34"/>
                </a:lnTo>
                <a:lnTo>
                  <a:pt x="180" y="40"/>
                </a:lnTo>
                <a:lnTo>
                  <a:pt x="180" y="64"/>
                </a:lnTo>
                <a:lnTo>
                  <a:pt x="174" y="70"/>
                </a:lnTo>
                <a:lnTo>
                  <a:pt x="170" y="84"/>
                </a:lnTo>
                <a:lnTo>
                  <a:pt x="180" y="98"/>
                </a:lnTo>
                <a:lnTo>
                  <a:pt x="134" y="106"/>
                </a:lnTo>
                <a:lnTo>
                  <a:pt x="134" y="122"/>
                </a:lnTo>
                <a:lnTo>
                  <a:pt x="114" y="120"/>
                </a:lnTo>
                <a:lnTo>
                  <a:pt x="106" y="134"/>
                </a:lnTo>
                <a:lnTo>
                  <a:pt x="94" y="136"/>
                </a:lnTo>
                <a:lnTo>
                  <a:pt x="80" y="154"/>
                </a:lnTo>
                <a:lnTo>
                  <a:pt x="52" y="15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29" name="Freeform 166">
            <a:extLst>
              <a:ext uri="{FF2B5EF4-FFF2-40B4-BE49-F238E27FC236}">
                <a16:creationId xmlns:a16="http://schemas.microsoft.com/office/drawing/2014/main" id="{FB3F3387-C3B1-4D72-98C2-2BA776A10DF4}"/>
              </a:ext>
            </a:extLst>
          </p:cNvPr>
          <p:cNvSpPr>
            <a:spLocks/>
          </p:cNvSpPr>
          <p:nvPr/>
        </p:nvSpPr>
        <p:spPr bwMode="gray">
          <a:xfrm>
            <a:off x="2952189" y="2412140"/>
            <a:ext cx="126366" cy="113494"/>
          </a:xfrm>
          <a:custGeom>
            <a:avLst/>
            <a:gdLst>
              <a:gd name="T0" fmla="*/ 18 w 174"/>
              <a:gd name="T1" fmla="*/ 116 h 170"/>
              <a:gd name="T2" fmla="*/ 16 w 174"/>
              <a:gd name="T3" fmla="*/ 100 h 170"/>
              <a:gd name="T4" fmla="*/ 2 w 174"/>
              <a:gd name="T5" fmla="*/ 82 h 170"/>
              <a:gd name="T6" fmla="*/ 0 w 174"/>
              <a:gd name="T7" fmla="*/ 56 h 170"/>
              <a:gd name="T8" fmla="*/ 20 w 174"/>
              <a:gd name="T9" fmla="*/ 34 h 170"/>
              <a:gd name="T10" fmla="*/ 16 w 174"/>
              <a:gd name="T11" fmla="*/ 20 h 170"/>
              <a:gd name="T12" fmla="*/ 22 w 174"/>
              <a:gd name="T13" fmla="*/ 12 h 170"/>
              <a:gd name="T14" fmla="*/ 16 w 174"/>
              <a:gd name="T15" fmla="*/ 0 h 170"/>
              <a:gd name="T16" fmla="*/ 38 w 174"/>
              <a:gd name="T17" fmla="*/ 0 h 170"/>
              <a:gd name="T18" fmla="*/ 76 w 174"/>
              <a:gd name="T19" fmla="*/ 2 h 170"/>
              <a:gd name="T20" fmla="*/ 128 w 174"/>
              <a:gd name="T21" fmla="*/ 30 h 170"/>
              <a:gd name="T22" fmla="*/ 132 w 174"/>
              <a:gd name="T23" fmla="*/ 40 h 170"/>
              <a:gd name="T24" fmla="*/ 156 w 174"/>
              <a:gd name="T25" fmla="*/ 58 h 170"/>
              <a:gd name="T26" fmla="*/ 150 w 174"/>
              <a:gd name="T27" fmla="*/ 72 h 170"/>
              <a:gd name="T28" fmla="*/ 148 w 174"/>
              <a:gd name="T29" fmla="*/ 86 h 170"/>
              <a:gd name="T30" fmla="*/ 156 w 174"/>
              <a:gd name="T31" fmla="*/ 98 h 170"/>
              <a:gd name="T32" fmla="*/ 156 w 174"/>
              <a:gd name="T33" fmla="*/ 126 h 170"/>
              <a:gd name="T34" fmla="*/ 174 w 174"/>
              <a:gd name="T35" fmla="*/ 150 h 170"/>
              <a:gd name="T36" fmla="*/ 158 w 174"/>
              <a:gd name="T37" fmla="*/ 160 h 170"/>
              <a:gd name="T38" fmla="*/ 132 w 174"/>
              <a:gd name="T39" fmla="*/ 170 h 170"/>
              <a:gd name="T40" fmla="*/ 84 w 174"/>
              <a:gd name="T41" fmla="*/ 166 h 170"/>
              <a:gd name="T42" fmla="*/ 82 w 174"/>
              <a:gd name="T43" fmla="*/ 148 h 170"/>
              <a:gd name="T44" fmla="*/ 74 w 174"/>
              <a:gd name="T45" fmla="*/ 136 h 170"/>
              <a:gd name="T46" fmla="*/ 60 w 174"/>
              <a:gd name="T47" fmla="*/ 136 h 170"/>
              <a:gd name="T48" fmla="*/ 18 w 174"/>
              <a:gd name="T49" fmla="*/ 116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74" h="170">
                <a:moveTo>
                  <a:pt x="18" y="116"/>
                </a:moveTo>
                <a:lnTo>
                  <a:pt x="16" y="100"/>
                </a:lnTo>
                <a:lnTo>
                  <a:pt x="2" y="82"/>
                </a:lnTo>
                <a:lnTo>
                  <a:pt x="0" y="56"/>
                </a:lnTo>
                <a:lnTo>
                  <a:pt x="20" y="34"/>
                </a:lnTo>
                <a:lnTo>
                  <a:pt x="16" y="20"/>
                </a:lnTo>
                <a:lnTo>
                  <a:pt x="22" y="12"/>
                </a:lnTo>
                <a:lnTo>
                  <a:pt x="16" y="0"/>
                </a:lnTo>
                <a:lnTo>
                  <a:pt x="38" y="0"/>
                </a:lnTo>
                <a:lnTo>
                  <a:pt x="76" y="2"/>
                </a:lnTo>
                <a:lnTo>
                  <a:pt x="128" y="30"/>
                </a:lnTo>
                <a:lnTo>
                  <a:pt x="132" y="40"/>
                </a:lnTo>
                <a:lnTo>
                  <a:pt x="156" y="58"/>
                </a:lnTo>
                <a:lnTo>
                  <a:pt x="150" y="72"/>
                </a:lnTo>
                <a:lnTo>
                  <a:pt x="148" y="86"/>
                </a:lnTo>
                <a:lnTo>
                  <a:pt x="156" y="98"/>
                </a:lnTo>
                <a:lnTo>
                  <a:pt x="156" y="126"/>
                </a:lnTo>
                <a:lnTo>
                  <a:pt x="174" y="150"/>
                </a:lnTo>
                <a:lnTo>
                  <a:pt x="158" y="160"/>
                </a:lnTo>
                <a:lnTo>
                  <a:pt x="132" y="170"/>
                </a:lnTo>
                <a:lnTo>
                  <a:pt x="84" y="166"/>
                </a:lnTo>
                <a:lnTo>
                  <a:pt x="82" y="148"/>
                </a:lnTo>
                <a:lnTo>
                  <a:pt x="74" y="136"/>
                </a:lnTo>
                <a:lnTo>
                  <a:pt x="60" y="136"/>
                </a:lnTo>
                <a:lnTo>
                  <a:pt x="18" y="11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30" name="Freeform 167">
            <a:extLst>
              <a:ext uri="{FF2B5EF4-FFF2-40B4-BE49-F238E27FC236}">
                <a16:creationId xmlns:a16="http://schemas.microsoft.com/office/drawing/2014/main" id="{BB093507-7A6F-4ED2-9361-1FA6E07A0B85}"/>
              </a:ext>
            </a:extLst>
          </p:cNvPr>
          <p:cNvSpPr>
            <a:spLocks/>
          </p:cNvSpPr>
          <p:nvPr/>
        </p:nvSpPr>
        <p:spPr bwMode="gray">
          <a:xfrm>
            <a:off x="2950737" y="2425492"/>
            <a:ext cx="15977" cy="24034"/>
          </a:xfrm>
          <a:custGeom>
            <a:avLst/>
            <a:gdLst>
              <a:gd name="T0" fmla="*/ 18 w 22"/>
              <a:gd name="T1" fmla="*/ 0 h 36"/>
              <a:gd name="T2" fmla="*/ 10 w 22"/>
              <a:gd name="T3" fmla="*/ 2 h 36"/>
              <a:gd name="T4" fmla="*/ 0 w 22"/>
              <a:gd name="T5" fmla="*/ 12 h 36"/>
              <a:gd name="T6" fmla="*/ 2 w 22"/>
              <a:gd name="T7" fmla="*/ 36 h 36"/>
              <a:gd name="T8" fmla="*/ 22 w 22"/>
              <a:gd name="T9" fmla="*/ 14 h 36"/>
              <a:gd name="T10" fmla="*/ 18 w 22"/>
              <a:gd name="T1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2" h="36">
                <a:moveTo>
                  <a:pt x="18" y="0"/>
                </a:moveTo>
                <a:lnTo>
                  <a:pt x="10" y="2"/>
                </a:lnTo>
                <a:lnTo>
                  <a:pt x="0" y="12"/>
                </a:lnTo>
                <a:lnTo>
                  <a:pt x="2" y="36"/>
                </a:lnTo>
                <a:lnTo>
                  <a:pt x="22" y="14"/>
                </a:lnTo>
                <a:lnTo>
                  <a:pt x="18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31" name="Freeform 168">
            <a:extLst>
              <a:ext uri="{FF2B5EF4-FFF2-40B4-BE49-F238E27FC236}">
                <a16:creationId xmlns:a16="http://schemas.microsoft.com/office/drawing/2014/main" id="{0DA1D810-8200-404E-8E8B-541DA5FDF082}"/>
              </a:ext>
            </a:extLst>
          </p:cNvPr>
          <p:cNvSpPr>
            <a:spLocks/>
          </p:cNvSpPr>
          <p:nvPr/>
        </p:nvSpPr>
        <p:spPr bwMode="gray">
          <a:xfrm>
            <a:off x="2946379" y="2412140"/>
            <a:ext cx="21787" cy="21364"/>
          </a:xfrm>
          <a:custGeom>
            <a:avLst/>
            <a:gdLst>
              <a:gd name="T0" fmla="*/ 10 w 30"/>
              <a:gd name="T1" fmla="*/ 2 h 32"/>
              <a:gd name="T2" fmla="*/ 24 w 30"/>
              <a:gd name="T3" fmla="*/ 0 h 32"/>
              <a:gd name="T4" fmla="*/ 30 w 30"/>
              <a:gd name="T5" fmla="*/ 12 h 32"/>
              <a:gd name="T6" fmla="*/ 24 w 30"/>
              <a:gd name="T7" fmla="*/ 20 h 32"/>
              <a:gd name="T8" fmla="*/ 16 w 30"/>
              <a:gd name="T9" fmla="*/ 22 h 32"/>
              <a:gd name="T10" fmla="*/ 6 w 30"/>
              <a:gd name="T11" fmla="*/ 32 h 32"/>
              <a:gd name="T12" fmla="*/ 0 w 30"/>
              <a:gd name="T13" fmla="*/ 16 h 32"/>
              <a:gd name="T14" fmla="*/ 10 w 30"/>
              <a:gd name="T15" fmla="*/ 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0" h="32">
                <a:moveTo>
                  <a:pt x="10" y="2"/>
                </a:moveTo>
                <a:lnTo>
                  <a:pt x="24" y="0"/>
                </a:lnTo>
                <a:lnTo>
                  <a:pt x="30" y="12"/>
                </a:lnTo>
                <a:lnTo>
                  <a:pt x="24" y="20"/>
                </a:lnTo>
                <a:lnTo>
                  <a:pt x="16" y="22"/>
                </a:lnTo>
                <a:lnTo>
                  <a:pt x="6" y="32"/>
                </a:lnTo>
                <a:lnTo>
                  <a:pt x="0" y="16"/>
                </a:lnTo>
                <a:lnTo>
                  <a:pt x="10" y="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32" name="Freeform 169">
            <a:extLst>
              <a:ext uri="{FF2B5EF4-FFF2-40B4-BE49-F238E27FC236}">
                <a16:creationId xmlns:a16="http://schemas.microsoft.com/office/drawing/2014/main" id="{C3070018-2165-436C-A865-A5836EC04392}"/>
              </a:ext>
            </a:extLst>
          </p:cNvPr>
          <p:cNvSpPr>
            <a:spLocks/>
          </p:cNvSpPr>
          <p:nvPr/>
        </p:nvSpPr>
        <p:spPr bwMode="gray">
          <a:xfrm>
            <a:off x="2953642" y="2357396"/>
            <a:ext cx="62457" cy="56079"/>
          </a:xfrm>
          <a:custGeom>
            <a:avLst/>
            <a:gdLst>
              <a:gd name="T0" fmla="*/ 0 w 86"/>
              <a:gd name="T1" fmla="*/ 84 h 84"/>
              <a:gd name="T2" fmla="*/ 2 w 86"/>
              <a:gd name="T3" fmla="*/ 64 h 84"/>
              <a:gd name="T4" fmla="*/ 6 w 86"/>
              <a:gd name="T5" fmla="*/ 52 h 84"/>
              <a:gd name="T6" fmla="*/ 26 w 86"/>
              <a:gd name="T7" fmla="*/ 34 h 84"/>
              <a:gd name="T8" fmla="*/ 26 w 86"/>
              <a:gd name="T9" fmla="*/ 30 h 84"/>
              <a:gd name="T10" fmla="*/ 20 w 86"/>
              <a:gd name="T11" fmla="*/ 28 h 84"/>
              <a:gd name="T12" fmla="*/ 16 w 86"/>
              <a:gd name="T13" fmla="*/ 4 h 84"/>
              <a:gd name="T14" fmla="*/ 68 w 86"/>
              <a:gd name="T15" fmla="*/ 0 h 84"/>
              <a:gd name="T16" fmla="*/ 80 w 86"/>
              <a:gd name="T17" fmla="*/ 20 h 84"/>
              <a:gd name="T18" fmla="*/ 86 w 86"/>
              <a:gd name="T19" fmla="*/ 42 h 84"/>
              <a:gd name="T20" fmla="*/ 72 w 86"/>
              <a:gd name="T21" fmla="*/ 58 h 84"/>
              <a:gd name="T22" fmla="*/ 76 w 86"/>
              <a:gd name="T23" fmla="*/ 72 h 84"/>
              <a:gd name="T24" fmla="*/ 70 w 86"/>
              <a:gd name="T25" fmla="*/ 84 h 84"/>
              <a:gd name="T26" fmla="*/ 36 w 86"/>
              <a:gd name="T27" fmla="*/ 82 h 84"/>
              <a:gd name="T28" fmla="*/ 14 w 86"/>
              <a:gd name="T29" fmla="*/ 82 h 84"/>
              <a:gd name="T30" fmla="*/ 0 w 86"/>
              <a:gd name="T31" fmla="*/ 84 h 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6" h="84">
                <a:moveTo>
                  <a:pt x="0" y="84"/>
                </a:moveTo>
                <a:lnTo>
                  <a:pt x="2" y="64"/>
                </a:lnTo>
                <a:lnTo>
                  <a:pt x="6" y="52"/>
                </a:lnTo>
                <a:lnTo>
                  <a:pt x="26" y="34"/>
                </a:lnTo>
                <a:lnTo>
                  <a:pt x="26" y="30"/>
                </a:lnTo>
                <a:lnTo>
                  <a:pt x="20" y="28"/>
                </a:lnTo>
                <a:lnTo>
                  <a:pt x="16" y="4"/>
                </a:lnTo>
                <a:lnTo>
                  <a:pt x="68" y="0"/>
                </a:lnTo>
                <a:lnTo>
                  <a:pt x="80" y="20"/>
                </a:lnTo>
                <a:lnTo>
                  <a:pt x="86" y="42"/>
                </a:lnTo>
                <a:lnTo>
                  <a:pt x="72" y="58"/>
                </a:lnTo>
                <a:lnTo>
                  <a:pt x="76" y="72"/>
                </a:lnTo>
                <a:lnTo>
                  <a:pt x="70" y="84"/>
                </a:lnTo>
                <a:lnTo>
                  <a:pt x="36" y="82"/>
                </a:lnTo>
                <a:lnTo>
                  <a:pt x="14" y="82"/>
                </a:lnTo>
                <a:lnTo>
                  <a:pt x="0" y="8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33" name="Freeform 170">
            <a:extLst>
              <a:ext uri="{FF2B5EF4-FFF2-40B4-BE49-F238E27FC236}">
                <a16:creationId xmlns:a16="http://schemas.microsoft.com/office/drawing/2014/main" id="{18C4F9E8-EB67-4721-9B0C-E2C36A3EC90E}"/>
              </a:ext>
            </a:extLst>
          </p:cNvPr>
          <p:cNvSpPr>
            <a:spLocks/>
          </p:cNvSpPr>
          <p:nvPr/>
        </p:nvSpPr>
        <p:spPr bwMode="gray">
          <a:xfrm>
            <a:off x="2751747" y="2462878"/>
            <a:ext cx="152510" cy="136193"/>
          </a:xfrm>
          <a:custGeom>
            <a:avLst/>
            <a:gdLst>
              <a:gd name="T0" fmla="*/ 0 w 210"/>
              <a:gd name="T1" fmla="*/ 186 h 204"/>
              <a:gd name="T2" fmla="*/ 0 w 210"/>
              <a:gd name="T3" fmla="*/ 162 h 204"/>
              <a:gd name="T4" fmla="*/ 8 w 210"/>
              <a:gd name="T5" fmla="*/ 126 h 204"/>
              <a:gd name="T6" fmla="*/ 28 w 210"/>
              <a:gd name="T7" fmla="*/ 94 h 204"/>
              <a:gd name="T8" fmla="*/ 28 w 210"/>
              <a:gd name="T9" fmla="*/ 78 h 204"/>
              <a:gd name="T10" fmla="*/ 16 w 210"/>
              <a:gd name="T11" fmla="*/ 52 h 204"/>
              <a:gd name="T12" fmla="*/ 20 w 210"/>
              <a:gd name="T13" fmla="*/ 38 h 204"/>
              <a:gd name="T14" fmla="*/ 0 w 210"/>
              <a:gd name="T15" fmla="*/ 2 h 204"/>
              <a:gd name="T16" fmla="*/ 10 w 210"/>
              <a:gd name="T17" fmla="*/ 0 h 204"/>
              <a:gd name="T18" fmla="*/ 72 w 210"/>
              <a:gd name="T19" fmla="*/ 0 h 204"/>
              <a:gd name="T20" fmla="*/ 76 w 210"/>
              <a:gd name="T21" fmla="*/ 14 h 204"/>
              <a:gd name="T22" fmla="*/ 86 w 210"/>
              <a:gd name="T23" fmla="*/ 32 h 204"/>
              <a:gd name="T24" fmla="*/ 116 w 210"/>
              <a:gd name="T25" fmla="*/ 34 h 204"/>
              <a:gd name="T26" fmla="*/ 126 w 210"/>
              <a:gd name="T27" fmla="*/ 18 h 204"/>
              <a:gd name="T28" fmla="*/ 152 w 210"/>
              <a:gd name="T29" fmla="*/ 24 h 204"/>
              <a:gd name="T30" fmla="*/ 154 w 210"/>
              <a:gd name="T31" fmla="*/ 64 h 204"/>
              <a:gd name="T32" fmla="*/ 164 w 210"/>
              <a:gd name="T33" fmla="*/ 70 h 204"/>
              <a:gd name="T34" fmla="*/ 162 w 210"/>
              <a:gd name="T35" fmla="*/ 82 h 204"/>
              <a:gd name="T36" fmla="*/ 188 w 210"/>
              <a:gd name="T37" fmla="*/ 82 h 204"/>
              <a:gd name="T38" fmla="*/ 188 w 210"/>
              <a:gd name="T39" fmla="*/ 116 h 204"/>
              <a:gd name="T40" fmla="*/ 158 w 210"/>
              <a:gd name="T41" fmla="*/ 116 h 204"/>
              <a:gd name="T42" fmla="*/ 160 w 210"/>
              <a:gd name="T43" fmla="*/ 168 h 204"/>
              <a:gd name="T44" fmla="*/ 178 w 210"/>
              <a:gd name="T45" fmla="*/ 188 h 204"/>
              <a:gd name="T46" fmla="*/ 204 w 210"/>
              <a:gd name="T47" fmla="*/ 190 h 204"/>
              <a:gd name="T48" fmla="*/ 210 w 210"/>
              <a:gd name="T49" fmla="*/ 196 h 204"/>
              <a:gd name="T50" fmla="*/ 204 w 210"/>
              <a:gd name="T51" fmla="*/ 196 h 204"/>
              <a:gd name="T52" fmla="*/ 182 w 210"/>
              <a:gd name="T53" fmla="*/ 204 h 204"/>
              <a:gd name="T54" fmla="*/ 176 w 210"/>
              <a:gd name="T55" fmla="*/ 196 h 204"/>
              <a:gd name="T56" fmla="*/ 142 w 210"/>
              <a:gd name="T57" fmla="*/ 200 h 204"/>
              <a:gd name="T58" fmla="*/ 134 w 210"/>
              <a:gd name="T59" fmla="*/ 194 h 204"/>
              <a:gd name="T60" fmla="*/ 106 w 210"/>
              <a:gd name="T61" fmla="*/ 192 h 204"/>
              <a:gd name="T62" fmla="*/ 98 w 210"/>
              <a:gd name="T63" fmla="*/ 186 h 204"/>
              <a:gd name="T64" fmla="*/ 0 w 210"/>
              <a:gd name="T65" fmla="*/ 186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10" h="204">
                <a:moveTo>
                  <a:pt x="0" y="186"/>
                </a:moveTo>
                <a:lnTo>
                  <a:pt x="0" y="162"/>
                </a:lnTo>
                <a:lnTo>
                  <a:pt x="8" y="126"/>
                </a:lnTo>
                <a:lnTo>
                  <a:pt x="28" y="94"/>
                </a:lnTo>
                <a:lnTo>
                  <a:pt x="28" y="78"/>
                </a:lnTo>
                <a:lnTo>
                  <a:pt x="16" y="52"/>
                </a:lnTo>
                <a:lnTo>
                  <a:pt x="20" y="38"/>
                </a:lnTo>
                <a:lnTo>
                  <a:pt x="0" y="2"/>
                </a:lnTo>
                <a:lnTo>
                  <a:pt x="10" y="0"/>
                </a:lnTo>
                <a:lnTo>
                  <a:pt x="72" y="0"/>
                </a:lnTo>
                <a:lnTo>
                  <a:pt x="76" y="14"/>
                </a:lnTo>
                <a:lnTo>
                  <a:pt x="86" y="32"/>
                </a:lnTo>
                <a:lnTo>
                  <a:pt x="116" y="34"/>
                </a:lnTo>
                <a:lnTo>
                  <a:pt x="126" y="18"/>
                </a:lnTo>
                <a:lnTo>
                  <a:pt x="152" y="24"/>
                </a:lnTo>
                <a:lnTo>
                  <a:pt x="154" y="64"/>
                </a:lnTo>
                <a:lnTo>
                  <a:pt x="164" y="70"/>
                </a:lnTo>
                <a:lnTo>
                  <a:pt x="162" y="82"/>
                </a:lnTo>
                <a:lnTo>
                  <a:pt x="188" y="82"/>
                </a:lnTo>
                <a:lnTo>
                  <a:pt x="188" y="116"/>
                </a:lnTo>
                <a:lnTo>
                  <a:pt x="158" y="116"/>
                </a:lnTo>
                <a:lnTo>
                  <a:pt x="160" y="168"/>
                </a:lnTo>
                <a:lnTo>
                  <a:pt x="178" y="188"/>
                </a:lnTo>
                <a:lnTo>
                  <a:pt x="204" y="190"/>
                </a:lnTo>
                <a:lnTo>
                  <a:pt x="210" y="196"/>
                </a:lnTo>
                <a:lnTo>
                  <a:pt x="204" y="196"/>
                </a:lnTo>
                <a:lnTo>
                  <a:pt x="182" y="204"/>
                </a:lnTo>
                <a:lnTo>
                  <a:pt x="176" y="196"/>
                </a:lnTo>
                <a:lnTo>
                  <a:pt x="142" y="200"/>
                </a:lnTo>
                <a:lnTo>
                  <a:pt x="134" y="194"/>
                </a:lnTo>
                <a:lnTo>
                  <a:pt x="106" y="192"/>
                </a:lnTo>
                <a:lnTo>
                  <a:pt x="98" y="186"/>
                </a:lnTo>
                <a:lnTo>
                  <a:pt x="0" y="18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34" name="Freeform 171">
            <a:extLst>
              <a:ext uri="{FF2B5EF4-FFF2-40B4-BE49-F238E27FC236}">
                <a16:creationId xmlns:a16="http://schemas.microsoft.com/office/drawing/2014/main" id="{DB2F2D42-66E9-460D-AFD9-276B63CD2405}"/>
              </a:ext>
            </a:extLst>
          </p:cNvPr>
          <p:cNvSpPr>
            <a:spLocks/>
          </p:cNvSpPr>
          <p:nvPr/>
        </p:nvSpPr>
        <p:spPr bwMode="gray">
          <a:xfrm>
            <a:off x="2756104" y="2344044"/>
            <a:ext cx="216420" cy="200283"/>
          </a:xfrm>
          <a:custGeom>
            <a:avLst/>
            <a:gdLst>
              <a:gd name="T0" fmla="*/ 0 w 298"/>
              <a:gd name="T1" fmla="*/ 176 h 300"/>
              <a:gd name="T2" fmla="*/ 6 w 298"/>
              <a:gd name="T3" fmla="*/ 162 h 300"/>
              <a:gd name="T4" fmla="*/ 14 w 298"/>
              <a:gd name="T5" fmla="*/ 160 h 300"/>
              <a:gd name="T6" fmla="*/ 34 w 298"/>
              <a:gd name="T7" fmla="*/ 156 h 300"/>
              <a:gd name="T8" fmla="*/ 60 w 298"/>
              <a:gd name="T9" fmla="*/ 144 h 300"/>
              <a:gd name="T10" fmla="*/ 64 w 298"/>
              <a:gd name="T11" fmla="*/ 112 h 300"/>
              <a:gd name="T12" fmla="*/ 88 w 298"/>
              <a:gd name="T13" fmla="*/ 74 h 300"/>
              <a:gd name="T14" fmla="*/ 94 w 298"/>
              <a:gd name="T15" fmla="*/ 42 h 300"/>
              <a:gd name="T16" fmla="*/ 96 w 298"/>
              <a:gd name="T17" fmla="*/ 30 h 300"/>
              <a:gd name="T18" fmla="*/ 98 w 298"/>
              <a:gd name="T19" fmla="*/ 16 h 300"/>
              <a:gd name="T20" fmla="*/ 112 w 298"/>
              <a:gd name="T21" fmla="*/ 0 h 300"/>
              <a:gd name="T22" fmla="*/ 126 w 298"/>
              <a:gd name="T23" fmla="*/ 14 h 300"/>
              <a:gd name="T24" fmla="*/ 138 w 298"/>
              <a:gd name="T25" fmla="*/ 18 h 300"/>
              <a:gd name="T26" fmla="*/ 160 w 298"/>
              <a:gd name="T27" fmla="*/ 20 h 300"/>
              <a:gd name="T28" fmla="*/ 172 w 298"/>
              <a:gd name="T29" fmla="*/ 12 h 300"/>
              <a:gd name="T30" fmla="*/ 206 w 298"/>
              <a:gd name="T31" fmla="*/ 2 h 300"/>
              <a:gd name="T32" fmla="*/ 236 w 298"/>
              <a:gd name="T33" fmla="*/ 4 h 300"/>
              <a:gd name="T34" fmla="*/ 244 w 298"/>
              <a:gd name="T35" fmla="*/ 14 h 300"/>
              <a:gd name="T36" fmla="*/ 272 w 298"/>
              <a:gd name="T37" fmla="*/ 12 h 300"/>
              <a:gd name="T38" fmla="*/ 288 w 298"/>
              <a:gd name="T39" fmla="*/ 24 h 300"/>
              <a:gd name="T40" fmla="*/ 292 w 298"/>
              <a:gd name="T41" fmla="*/ 48 h 300"/>
              <a:gd name="T42" fmla="*/ 298 w 298"/>
              <a:gd name="T43" fmla="*/ 50 h 300"/>
              <a:gd name="T44" fmla="*/ 298 w 298"/>
              <a:gd name="T45" fmla="*/ 54 h 300"/>
              <a:gd name="T46" fmla="*/ 278 w 298"/>
              <a:gd name="T47" fmla="*/ 72 h 300"/>
              <a:gd name="T48" fmla="*/ 274 w 298"/>
              <a:gd name="T49" fmla="*/ 84 h 300"/>
              <a:gd name="T50" fmla="*/ 272 w 298"/>
              <a:gd name="T51" fmla="*/ 104 h 300"/>
              <a:gd name="T52" fmla="*/ 262 w 298"/>
              <a:gd name="T53" fmla="*/ 118 h 300"/>
              <a:gd name="T54" fmla="*/ 268 w 298"/>
              <a:gd name="T55" fmla="*/ 134 h 300"/>
              <a:gd name="T56" fmla="*/ 270 w 298"/>
              <a:gd name="T57" fmla="*/ 158 h 300"/>
              <a:gd name="T58" fmla="*/ 270 w 298"/>
              <a:gd name="T59" fmla="*/ 172 h 300"/>
              <a:gd name="T60" fmla="*/ 272 w 298"/>
              <a:gd name="T61" fmla="*/ 184 h 300"/>
              <a:gd name="T62" fmla="*/ 286 w 298"/>
              <a:gd name="T63" fmla="*/ 202 h 300"/>
              <a:gd name="T64" fmla="*/ 288 w 298"/>
              <a:gd name="T65" fmla="*/ 218 h 300"/>
              <a:gd name="T66" fmla="*/ 270 w 298"/>
              <a:gd name="T67" fmla="*/ 218 h 300"/>
              <a:gd name="T68" fmla="*/ 254 w 298"/>
              <a:gd name="T69" fmla="*/ 226 h 300"/>
              <a:gd name="T70" fmla="*/ 256 w 298"/>
              <a:gd name="T71" fmla="*/ 244 h 300"/>
              <a:gd name="T72" fmla="*/ 252 w 298"/>
              <a:gd name="T73" fmla="*/ 266 h 300"/>
              <a:gd name="T74" fmla="*/ 262 w 298"/>
              <a:gd name="T75" fmla="*/ 276 h 300"/>
              <a:gd name="T76" fmla="*/ 276 w 298"/>
              <a:gd name="T77" fmla="*/ 282 h 300"/>
              <a:gd name="T78" fmla="*/ 276 w 298"/>
              <a:gd name="T79" fmla="*/ 300 h 300"/>
              <a:gd name="T80" fmla="*/ 262 w 298"/>
              <a:gd name="T81" fmla="*/ 300 h 300"/>
              <a:gd name="T82" fmla="*/ 254 w 298"/>
              <a:gd name="T83" fmla="*/ 288 h 300"/>
              <a:gd name="T84" fmla="*/ 242 w 298"/>
              <a:gd name="T85" fmla="*/ 282 h 300"/>
              <a:gd name="T86" fmla="*/ 234 w 298"/>
              <a:gd name="T87" fmla="*/ 270 h 300"/>
              <a:gd name="T88" fmla="*/ 220 w 298"/>
              <a:gd name="T89" fmla="*/ 276 h 300"/>
              <a:gd name="T90" fmla="*/ 182 w 298"/>
              <a:gd name="T91" fmla="*/ 260 h 300"/>
              <a:gd name="T92" fmla="*/ 156 w 298"/>
              <a:gd name="T93" fmla="*/ 260 h 300"/>
              <a:gd name="T94" fmla="*/ 158 w 298"/>
              <a:gd name="T95" fmla="*/ 248 h 300"/>
              <a:gd name="T96" fmla="*/ 148 w 298"/>
              <a:gd name="T97" fmla="*/ 242 h 300"/>
              <a:gd name="T98" fmla="*/ 146 w 298"/>
              <a:gd name="T99" fmla="*/ 202 h 300"/>
              <a:gd name="T100" fmla="*/ 120 w 298"/>
              <a:gd name="T101" fmla="*/ 196 h 300"/>
              <a:gd name="T102" fmla="*/ 110 w 298"/>
              <a:gd name="T103" fmla="*/ 212 h 300"/>
              <a:gd name="T104" fmla="*/ 80 w 298"/>
              <a:gd name="T105" fmla="*/ 210 h 300"/>
              <a:gd name="T106" fmla="*/ 70 w 298"/>
              <a:gd name="T107" fmla="*/ 192 h 300"/>
              <a:gd name="T108" fmla="*/ 66 w 298"/>
              <a:gd name="T109" fmla="*/ 178 h 300"/>
              <a:gd name="T110" fmla="*/ 6 w 298"/>
              <a:gd name="T111" fmla="*/ 178 h 300"/>
              <a:gd name="T112" fmla="*/ 0 w 298"/>
              <a:gd name="T113" fmla="*/ 176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98" h="300">
                <a:moveTo>
                  <a:pt x="0" y="176"/>
                </a:moveTo>
                <a:lnTo>
                  <a:pt x="6" y="162"/>
                </a:lnTo>
                <a:lnTo>
                  <a:pt x="14" y="160"/>
                </a:lnTo>
                <a:lnTo>
                  <a:pt x="34" y="156"/>
                </a:lnTo>
                <a:lnTo>
                  <a:pt x="60" y="144"/>
                </a:lnTo>
                <a:lnTo>
                  <a:pt x="64" y="112"/>
                </a:lnTo>
                <a:lnTo>
                  <a:pt x="88" y="74"/>
                </a:lnTo>
                <a:lnTo>
                  <a:pt x="94" y="42"/>
                </a:lnTo>
                <a:lnTo>
                  <a:pt x="96" y="30"/>
                </a:lnTo>
                <a:lnTo>
                  <a:pt x="98" y="16"/>
                </a:lnTo>
                <a:lnTo>
                  <a:pt x="112" y="0"/>
                </a:lnTo>
                <a:lnTo>
                  <a:pt x="126" y="14"/>
                </a:lnTo>
                <a:lnTo>
                  <a:pt x="138" y="18"/>
                </a:lnTo>
                <a:lnTo>
                  <a:pt x="160" y="20"/>
                </a:lnTo>
                <a:lnTo>
                  <a:pt x="172" y="12"/>
                </a:lnTo>
                <a:lnTo>
                  <a:pt x="206" y="2"/>
                </a:lnTo>
                <a:lnTo>
                  <a:pt x="236" y="4"/>
                </a:lnTo>
                <a:lnTo>
                  <a:pt x="244" y="14"/>
                </a:lnTo>
                <a:lnTo>
                  <a:pt x="272" y="12"/>
                </a:lnTo>
                <a:lnTo>
                  <a:pt x="288" y="24"/>
                </a:lnTo>
                <a:lnTo>
                  <a:pt x="292" y="48"/>
                </a:lnTo>
                <a:lnTo>
                  <a:pt x="298" y="50"/>
                </a:lnTo>
                <a:lnTo>
                  <a:pt x="298" y="54"/>
                </a:lnTo>
                <a:lnTo>
                  <a:pt x="278" y="72"/>
                </a:lnTo>
                <a:lnTo>
                  <a:pt x="274" y="84"/>
                </a:lnTo>
                <a:lnTo>
                  <a:pt x="272" y="104"/>
                </a:lnTo>
                <a:lnTo>
                  <a:pt x="262" y="118"/>
                </a:lnTo>
                <a:lnTo>
                  <a:pt x="268" y="134"/>
                </a:lnTo>
                <a:lnTo>
                  <a:pt x="270" y="158"/>
                </a:lnTo>
                <a:lnTo>
                  <a:pt x="270" y="172"/>
                </a:lnTo>
                <a:lnTo>
                  <a:pt x="272" y="184"/>
                </a:lnTo>
                <a:lnTo>
                  <a:pt x="286" y="202"/>
                </a:lnTo>
                <a:lnTo>
                  <a:pt x="288" y="218"/>
                </a:lnTo>
                <a:lnTo>
                  <a:pt x="270" y="218"/>
                </a:lnTo>
                <a:lnTo>
                  <a:pt x="254" y="226"/>
                </a:lnTo>
                <a:lnTo>
                  <a:pt x="256" y="244"/>
                </a:lnTo>
                <a:lnTo>
                  <a:pt x="252" y="266"/>
                </a:lnTo>
                <a:lnTo>
                  <a:pt x="262" y="276"/>
                </a:lnTo>
                <a:lnTo>
                  <a:pt x="276" y="282"/>
                </a:lnTo>
                <a:lnTo>
                  <a:pt x="276" y="300"/>
                </a:lnTo>
                <a:lnTo>
                  <a:pt x="262" y="300"/>
                </a:lnTo>
                <a:lnTo>
                  <a:pt x="254" y="288"/>
                </a:lnTo>
                <a:lnTo>
                  <a:pt x="242" y="282"/>
                </a:lnTo>
                <a:lnTo>
                  <a:pt x="234" y="270"/>
                </a:lnTo>
                <a:lnTo>
                  <a:pt x="220" y="276"/>
                </a:lnTo>
                <a:lnTo>
                  <a:pt x="182" y="260"/>
                </a:lnTo>
                <a:lnTo>
                  <a:pt x="156" y="260"/>
                </a:lnTo>
                <a:lnTo>
                  <a:pt x="158" y="248"/>
                </a:lnTo>
                <a:lnTo>
                  <a:pt x="148" y="242"/>
                </a:lnTo>
                <a:lnTo>
                  <a:pt x="146" y="202"/>
                </a:lnTo>
                <a:lnTo>
                  <a:pt x="120" y="196"/>
                </a:lnTo>
                <a:lnTo>
                  <a:pt x="110" y="212"/>
                </a:lnTo>
                <a:lnTo>
                  <a:pt x="80" y="210"/>
                </a:lnTo>
                <a:lnTo>
                  <a:pt x="70" y="192"/>
                </a:lnTo>
                <a:lnTo>
                  <a:pt x="66" y="178"/>
                </a:lnTo>
                <a:lnTo>
                  <a:pt x="6" y="178"/>
                </a:lnTo>
                <a:lnTo>
                  <a:pt x="0" y="17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35" name="Freeform 172">
            <a:extLst>
              <a:ext uri="{FF2B5EF4-FFF2-40B4-BE49-F238E27FC236}">
                <a16:creationId xmlns:a16="http://schemas.microsoft.com/office/drawing/2014/main" id="{06340D05-B4B5-4F5D-BFEB-11B169D57270}"/>
              </a:ext>
            </a:extLst>
          </p:cNvPr>
          <p:cNvSpPr>
            <a:spLocks/>
          </p:cNvSpPr>
          <p:nvPr/>
        </p:nvSpPr>
        <p:spPr bwMode="gray">
          <a:xfrm>
            <a:off x="2751747" y="2448191"/>
            <a:ext cx="8715" cy="13352"/>
          </a:xfrm>
          <a:custGeom>
            <a:avLst/>
            <a:gdLst>
              <a:gd name="T0" fmla="*/ 0 w 12"/>
              <a:gd name="T1" fmla="*/ 4 h 20"/>
              <a:gd name="T2" fmla="*/ 10 w 12"/>
              <a:gd name="T3" fmla="*/ 0 h 20"/>
              <a:gd name="T4" fmla="*/ 12 w 12"/>
              <a:gd name="T5" fmla="*/ 4 h 20"/>
              <a:gd name="T6" fmla="*/ 10 w 12"/>
              <a:gd name="T7" fmla="*/ 12 h 20"/>
              <a:gd name="T8" fmla="*/ 0 w 12"/>
              <a:gd name="T9" fmla="*/ 20 h 20"/>
              <a:gd name="T10" fmla="*/ 0 w 12"/>
              <a:gd name="T11" fmla="*/ 4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" h="20">
                <a:moveTo>
                  <a:pt x="0" y="4"/>
                </a:moveTo>
                <a:lnTo>
                  <a:pt x="10" y="0"/>
                </a:lnTo>
                <a:lnTo>
                  <a:pt x="12" y="4"/>
                </a:lnTo>
                <a:lnTo>
                  <a:pt x="10" y="12"/>
                </a:lnTo>
                <a:lnTo>
                  <a:pt x="0" y="20"/>
                </a:lnTo>
                <a:lnTo>
                  <a:pt x="0" y="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36" name="Freeform 173">
            <a:extLst>
              <a:ext uri="{FF2B5EF4-FFF2-40B4-BE49-F238E27FC236}">
                <a16:creationId xmlns:a16="http://schemas.microsoft.com/office/drawing/2014/main" id="{C6DC118E-E565-40E3-B4E8-FC4E5EDC4D61}"/>
              </a:ext>
            </a:extLst>
          </p:cNvPr>
          <p:cNvSpPr>
            <a:spLocks/>
          </p:cNvSpPr>
          <p:nvPr/>
        </p:nvSpPr>
        <p:spPr bwMode="gray">
          <a:xfrm>
            <a:off x="2740853" y="2362737"/>
            <a:ext cx="84970" cy="88125"/>
          </a:xfrm>
          <a:custGeom>
            <a:avLst/>
            <a:gdLst>
              <a:gd name="T0" fmla="*/ 0 w 117"/>
              <a:gd name="T1" fmla="*/ 116 h 132"/>
              <a:gd name="T2" fmla="*/ 15 w 117"/>
              <a:gd name="T3" fmla="*/ 116 h 132"/>
              <a:gd name="T4" fmla="*/ 15 w 117"/>
              <a:gd name="T5" fmla="*/ 106 h 132"/>
              <a:gd name="T6" fmla="*/ 7 w 117"/>
              <a:gd name="T7" fmla="*/ 106 h 132"/>
              <a:gd name="T8" fmla="*/ 7 w 117"/>
              <a:gd name="T9" fmla="*/ 94 h 132"/>
              <a:gd name="T10" fmla="*/ 15 w 117"/>
              <a:gd name="T11" fmla="*/ 94 h 132"/>
              <a:gd name="T12" fmla="*/ 25 w 117"/>
              <a:gd name="T13" fmla="*/ 86 h 132"/>
              <a:gd name="T14" fmla="*/ 31 w 117"/>
              <a:gd name="T15" fmla="*/ 94 h 132"/>
              <a:gd name="T16" fmla="*/ 49 w 117"/>
              <a:gd name="T17" fmla="*/ 96 h 132"/>
              <a:gd name="T18" fmla="*/ 53 w 117"/>
              <a:gd name="T19" fmla="*/ 88 h 132"/>
              <a:gd name="T20" fmla="*/ 53 w 117"/>
              <a:gd name="T21" fmla="*/ 68 h 132"/>
              <a:gd name="T22" fmla="*/ 45 w 117"/>
              <a:gd name="T23" fmla="*/ 62 h 132"/>
              <a:gd name="T24" fmla="*/ 45 w 117"/>
              <a:gd name="T25" fmla="*/ 50 h 132"/>
              <a:gd name="T26" fmla="*/ 53 w 117"/>
              <a:gd name="T27" fmla="*/ 44 h 132"/>
              <a:gd name="T28" fmla="*/ 49 w 117"/>
              <a:gd name="T29" fmla="*/ 34 h 132"/>
              <a:gd name="T30" fmla="*/ 35 w 117"/>
              <a:gd name="T31" fmla="*/ 36 h 132"/>
              <a:gd name="T32" fmla="*/ 31 w 117"/>
              <a:gd name="T33" fmla="*/ 20 h 132"/>
              <a:gd name="T34" fmla="*/ 59 w 117"/>
              <a:gd name="T35" fmla="*/ 20 h 132"/>
              <a:gd name="T36" fmla="*/ 59 w 117"/>
              <a:gd name="T37" fmla="*/ 28 h 132"/>
              <a:gd name="T38" fmla="*/ 77 w 117"/>
              <a:gd name="T39" fmla="*/ 26 h 132"/>
              <a:gd name="T40" fmla="*/ 79 w 117"/>
              <a:gd name="T41" fmla="*/ 12 h 132"/>
              <a:gd name="T42" fmla="*/ 87 w 117"/>
              <a:gd name="T43" fmla="*/ 0 h 132"/>
              <a:gd name="T44" fmla="*/ 117 w 117"/>
              <a:gd name="T45" fmla="*/ 2 h 132"/>
              <a:gd name="T46" fmla="*/ 109 w 117"/>
              <a:gd name="T47" fmla="*/ 46 h 132"/>
              <a:gd name="T48" fmla="*/ 85 w 117"/>
              <a:gd name="T49" fmla="*/ 84 h 132"/>
              <a:gd name="T50" fmla="*/ 81 w 117"/>
              <a:gd name="T51" fmla="*/ 116 h 132"/>
              <a:gd name="T52" fmla="*/ 55 w 117"/>
              <a:gd name="T53" fmla="*/ 128 h 132"/>
              <a:gd name="T54" fmla="*/ 27 w 117"/>
              <a:gd name="T55" fmla="*/ 132 h 132"/>
              <a:gd name="T56" fmla="*/ 25 w 117"/>
              <a:gd name="T57" fmla="*/ 128 h 132"/>
              <a:gd name="T58" fmla="*/ 15 w 117"/>
              <a:gd name="T59" fmla="*/ 132 h 132"/>
              <a:gd name="T60" fmla="*/ 0 w 117"/>
              <a:gd name="T61" fmla="*/ 116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17" h="132">
                <a:moveTo>
                  <a:pt x="0" y="116"/>
                </a:moveTo>
                <a:lnTo>
                  <a:pt x="15" y="116"/>
                </a:lnTo>
                <a:lnTo>
                  <a:pt x="15" y="106"/>
                </a:lnTo>
                <a:lnTo>
                  <a:pt x="7" y="106"/>
                </a:lnTo>
                <a:lnTo>
                  <a:pt x="7" y="94"/>
                </a:lnTo>
                <a:lnTo>
                  <a:pt x="15" y="94"/>
                </a:lnTo>
                <a:lnTo>
                  <a:pt x="25" y="86"/>
                </a:lnTo>
                <a:lnTo>
                  <a:pt x="31" y="94"/>
                </a:lnTo>
                <a:lnTo>
                  <a:pt x="49" y="96"/>
                </a:lnTo>
                <a:lnTo>
                  <a:pt x="53" y="88"/>
                </a:lnTo>
                <a:lnTo>
                  <a:pt x="53" y="68"/>
                </a:lnTo>
                <a:lnTo>
                  <a:pt x="45" y="62"/>
                </a:lnTo>
                <a:lnTo>
                  <a:pt x="45" y="50"/>
                </a:lnTo>
                <a:lnTo>
                  <a:pt x="53" y="44"/>
                </a:lnTo>
                <a:lnTo>
                  <a:pt x="49" y="34"/>
                </a:lnTo>
                <a:lnTo>
                  <a:pt x="35" y="36"/>
                </a:lnTo>
                <a:lnTo>
                  <a:pt x="31" y="20"/>
                </a:lnTo>
                <a:lnTo>
                  <a:pt x="59" y="20"/>
                </a:lnTo>
                <a:lnTo>
                  <a:pt x="59" y="28"/>
                </a:lnTo>
                <a:lnTo>
                  <a:pt x="77" y="26"/>
                </a:lnTo>
                <a:lnTo>
                  <a:pt x="79" y="12"/>
                </a:lnTo>
                <a:lnTo>
                  <a:pt x="87" y="0"/>
                </a:lnTo>
                <a:lnTo>
                  <a:pt x="117" y="2"/>
                </a:lnTo>
                <a:lnTo>
                  <a:pt x="109" y="46"/>
                </a:lnTo>
                <a:lnTo>
                  <a:pt x="85" y="84"/>
                </a:lnTo>
                <a:lnTo>
                  <a:pt x="81" y="116"/>
                </a:lnTo>
                <a:lnTo>
                  <a:pt x="55" y="128"/>
                </a:lnTo>
                <a:lnTo>
                  <a:pt x="27" y="132"/>
                </a:lnTo>
                <a:lnTo>
                  <a:pt x="25" y="128"/>
                </a:lnTo>
                <a:lnTo>
                  <a:pt x="15" y="132"/>
                </a:lnTo>
                <a:lnTo>
                  <a:pt x="0" y="11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37" name="Freeform 174">
            <a:extLst>
              <a:ext uri="{FF2B5EF4-FFF2-40B4-BE49-F238E27FC236}">
                <a16:creationId xmlns:a16="http://schemas.microsoft.com/office/drawing/2014/main" id="{5DCAD818-BDC8-4E1C-979E-32FE8C7290E2}"/>
              </a:ext>
            </a:extLst>
          </p:cNvPr>
          <p:cNvSpPr>
            <a:spLocks/>
          </p:cNvSpPr>
          <p:nvPr/>
        </p:nvSpPr>
        <p:spPr bwMode="gray">
          <a:xfrm>
            <a:off x="3003026" y="2352055"/>
            <a:ext cx="91506" cy="98806"/>
          </a:xfrm>
          <a:custGeom>
            <a:avLst/>
            <a:gdLst>
              <a:gd name="T0" fmla="*/ 8 w 126"/>
              <a:gd name="T1" fmla="*/ 0 h 148"/>
              <a:gd name="T2" fmla="*/ 28 w 126"/>
              <a:gd name="T3" fmla="*/ 0 h 148"/>
              <a:gd name="T4" fmla="*/ 64 w 126"/>
              <a:gd name="T5" fmla="*/ 16 h 148"/>
              <a:gd name="T6" fmla="*/ 88 w 126"/>
              <a:gd name="T7" fmla="*/ 18 h 148"/>
              <a:gd name="T8" fmla="*/ 108 w 126"/>
              <a:gd name="T9" fmla="*/ 6 h 148"/>
              <a:gd name="T10" fmla="*/ 114 w 126"/>
              <a:gd name="T11" fmla="*/ 14 h 148"/>
              <a:gd name="T12" fmla="*/ 126 w 126"/>
              <a:gd name="T13" fmla="*/ 10 h 148"/>
              <a:gd name="T14" fmla="*/ 126 w 126"/>
              <a:gd name="T15" fmla="*/ 20 h 148"/>
              <a:gd name="T16" fmla="*/ 110 w 126"/>
              <a:gd name="T17" fmla="*/ 30 h 148"/>
              <a:gd name="T18" fmla="*/ 112 w 126"/>
              <a:gd name="T19" fmla="*/ 86 h 148"/>
              <a:gd name="T20" fmla="*/ 122 w 126"/>
              <a:gd name="T21" fmla="*/ 98 h 148"/>
              <a:gd name="T22" fmla="*/ 112 w 126"/>
              <a:gd name="T23" fmla="*/ 106 h 148"/>
              <a:gd name="T24" fmla="*/ 100 w 126"/>
              <a:gd name="T25" fmla="*/ 118 h 148"/>
              <a:gd name="T26" fmla="*/ 92 w 126"/>
              <a:gd name="T27" fmla="*/ 136 h 148"/>
              <a:gd name="T28" fmla="*/ 86 w 126"/>
              <a:gd name="T29" fmla="*/ 148 h 148"/>
              <a:gd name="T30" fmla="*/ 62 w 126"/>
              <a:gd name="T31" fmla="*/ 130 h 148"/>
              <a:gd name="T32" fmla="*/ 58 w 126"/>
              <a:gd name="T33" fmla="*/ 120 h 148"/>
              <a:gd name="T34" fmla="*/ 6 w 126"/>
              <a:gd name="T35" fmla="*/ 92 h 148"/>
              <a:gd name="T36" fmla="*/ 2 w 126"/>
              <a:gd name="T37" fmla="*/ 92 h 148"/>
              <a:gd name="T38" fmla="*/ 6 w 126"/>
              <a:gd name="T39" fmla="*/ 78 h 148"/>
              <a:gd name="T40" fmla="*/ 4 w 126"/>
              <a:gd name="T41" fmla="*/ 66 h 148"/>
              <a:gd name="T42" fmla="*/ 18 w 126"/>
              <a:gd name="T43" fmla="*/ 50 h 148"/>
              <a:gd name="T44" fmla="*/ 12 w 126"/>
              <a:gd name="T45" fmla="*/ 28 h 148"/>
              <a:gd name="T46" fmla="*/ 0 w 126"/>
              <a:gd name="T47" fmla="*/ 8 h 148"/>
              <a:gd name="T48" fmla="*/ 8 w 126"/>
              <a:gd name="T49" fmla="*/ 0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26" h="148">
                <a:moveTo>
                  <a:pt x="8" y="0"/>
                </a:moveTo>
                <a:lnTo>
                  <a:pt x="28" y="0"/>
                </a:lnTo>
                <a:lnTo>
                  <a:pt x="64" y="16"/>
                </a:lnTo>
                <a:lnTo>
                  <a:pt x="88" y="18"/>
                </a:lnTo>
                <a:lnTo>
                  <a:pt x="108" y="6"/>
                </a:lnTo>
                <a:lnTo>
                  <a:pt x="114" y="14"/>
                </a:lnTo>
                <a:lnTo>
                  <a:pt x="126" y="10"/>
                </a:lnTo>
                <a:lnTo>
                  <a:pt x="126" y="20"/>
                </a:lnTo>
                <a:lnTo>
                  <a:pt x="110" y="30"/>
                </a:lnTo>
                <a:lnTo>
                  <a:pt x="112" y="86"/>
                </a:lnTo>
                <a:lnTo>
                  <a:pt x="122" y="98"/>
                </a:lnTo>
                <a:lnTo>
                  <a:pt x="112" y="106"/>
                </a:lnTo>
                <a:lnTo>
                  <a:pt x="100" y="118"/>
                </a:lnTo>
                <a:lnTo>
                  <a:pt x="92" y="136"/>
                </a:lnTo>
                <a:lnTo>
                  <a:pt x="86" y="148"/>
                </a:lnTo>
                <a:lnTo>
                  <a:pt x="62" y="130"/>
                </a:lnTo>
                <a:lnTo>
                  <a:pt x="58" y="120"/>
                </a:lnTo>
                <a:lnTo>
                  <a:pt x="6" y="92"/>
                </a:lnTo>
                <a:lnTo>
                  <a:pt x="2" y="92"/>
                </a:lnTo>
                <a:lnTo>
                  <a:pt x="6" y="78"/>
                </a:lnTo>
                <a:lnTo>
                  <a:pt x="4" y="66"/>
                </a:lnTo>
                <a:lnTo>
                  <a:pt x="18" y="50"/>
                </a:lnTo>
                <a:lnTo>
                  <a:pt x="12" y="28"/>
                </a:lnTo>
                <a:lnTo>
                  <a:pt x="0" y="8"/>
                </a:lnTo>
                <a:lnTo>
                  <a:pt x="8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38" name="Freeform 175">
            <a:extLst>
              <a:ext uri="{FF2B5EF4-FFF2-40B4-BE49-F238E27FC236}">
                <a16:creationId xmlns:a16="http://schemas.microsoft.com/office/drawing/2014/main" id="{20C1EACA-183E-47F8-9595-901F48B4FEB4}"/>
              </a:ext>
            </a:extLst>
          </p:cNvPr>
          <p:cNvSpPr>
            <a:spLocks/>
          </p:cNvSpPr>
          <p:nvPr/>
        </p:nvSpPr>
        <p:spPr bwMode="gray">
          <a:xfrm>
            <a:off x="2714709" y="2376089"/>
            <a:ext cx="64635" cy="64091"/>
          </a:xfrm>
          <a:custGeom>
            <a:avLst/>
            <a:gdLst>
              <a:gd name="T0" fmla="*/ 39 w 89"/>
              <a:gd name="T1" fmla="*/ 0 h 96"/>
              <a:gd name="T2" fmla="*/ 67 w 89"/>
              <a:gd name="T3" fmla="*/ 0 h 96"/>
              <a:gd name="T4" fmla="*/ 71 w 89"/>
              <a:gd name="T5" fmla="*/ 16 h 96"/>
              <a:gd name="T6" fmla="*/ 85 w 89"/>
              <a:gd name="T7" fmla="*/ 14 h 96"/>
              <a:gd name="T8" fmla="*/ 89 w 89"/>
              <a:gd name="T9" fmla="*/ 24 h 96"/>
              <a:gd name="T10" fmla="*/ 81 w 89"/>
              <a:gd name="T11" fmla="*/ 30 h 96"/>
              <a:gd name="T12" fmla="*/ 81 w 89"/>
              <a:gd name="T13" fmla="*/ 42 h 96"/>
              <a:gd name="T14" fmla="*/ 89 w 89"/>
              <a:gd name="T15" fmla="*/ 48 h 96"/>
              <a:gd name="T16" fmla="*/ 89 w 89"/>
              <a:gd name="T17" fmla="*/ 68 h 96"/>
              <a:gd name="T18" fmla="*/ 85 w 89"/>
              <a:gd name="T19" fmla="*/ 76 h 96"/>
              <a:gd name="T20" fmla="*/ 67 w 89"/>
              <a:gd name="T21" fmla="*/ 74 h 96"/>
              <a:gd name="T22" fmla="*/ 61 w 89"/>
              <a:gd name="T23" fmla="*/ 66 h 96"/>
              <a:gd name="T24" fmla="*/ 51 w 89"/>
              <a:gd name="T25" fmla="*/ 74 h 96"/>
              <a:gd name="T26" fmla="*/ 43 w 89"/>
              <a:gd name="T27" fmla="*/ 74 h 96"/>
              <a:gd name="T28" fmla="*/ 43 w 89"/>
              <a:gd name="T29" fmla="*/ 86 h 96"/>
              <a:gd name="T30" fmla="*/ 51 w 89"/>
              <a:gd name="T31" fmla="*/ 86 h 96"/>
              <a:gd name="T32" fmla="*/ 51 w 89"/>
              <a:gd name="T33" fmla="*/ 96 h 96"/>
              <a:gd name="T34" fmla="*/ 36 w 89"/>
              <a:gd name="T35" fmla="*/ 96 h 96"/>
              <a:gd name="T36" fmla="*/ 18 w 89"/>
              <a:gd name="T37" fmla="*/ 82 h 96"/>
              <a:gd name="T38" fmla="*/ 10 w 89"/>
              <a:gd name="T39" fmla="*/ 68 h 96"/>
              <a:gd name="T40" fmla="*/ 0 w 89"/>
              <a:gd name="T41" fmla="*/ 48 h 96"/>
              <a:gd name="T42" fmla="*/ 10 w 89"/>
              <a:gd name="T43" fmla="*/ 32 h 96"/>
              <a:gd name="T44" fmla="*/ 12 w 89"/>
              <a:gd name="T45" fmla="*/ 24 h 96"/>
              <a:gd name="T46" fmla="*/ 36 w 89"/>
              <a:gd name="T47" fmla="*/ 22 h 96"/>
              <a:gd name="T48" fmla="*/ 39 w 89"/>
              <a:gd name="T49" fmla="*/ 0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9" h="96">
                <a:moveTo>
                  <a:pt x="39" y="0"/>
                </a:moveTo>
                <a:lnTo>
                  <a:pt x="67" y="0"/>
                </a:lnTo>
                <a:lnTo>
                  <a:pt x="71" y="16"/>
                </a:lnTo>
                <a:lnTo>
                  <a:pt x="85" y="14"/>
                </a:lnTo>
                <a:lnTo>
                  <a:pt x="89" y="24"/>
                </a:lnTo>
                <a:lnTo>
                  <a:pt x="81" y="30"/>
                </a:lnTo>
                <a:lnTo>
                  <a:pt x="81" y="42"/>
                </a:lnTo>
                <a:lnTo>
                  <a:pt x="89" y="48"/>
                </a:lnTo>
                <a:lnTo>
                  <a:pt x="89" y="68"/>
                </a:lnTo>
                <a:lnTo>
                  <a:pt x="85" y="76"/>
                </a:lnTo>
                <a:lnTo>
                  <a:pt x="67" y="74"/>
                </a:lnTo>
                <a:lnTo>
                  <a:pt x="61" y="66"/>
                </a:lnTo>
                <a:lnTo>
                  <a:pt x="51" y="74"/>
                </a:lnTo>
                <a:lnTo>
                  <a:pt x="43" y="74"/>
                </a:lnTo>
                <a:lnTo>
                  <a:pt x="43" y="86"/>
                </a:lnTo>
                <a:lnTo>
                  <a:pt x="51" y="86"/>
                </a:lnTo>
                <a:lnTo>
                  <a:pt x="51" y="96"/>
                </a:lnTo>
                <a:lnTo>
                  <a:pt x="36" y="96"/>
                </a:lnTo>
                <a:lnTo>
                  <a:pt x="18" y="82"/>
                </a:lnTo>
                <a:lnTo>
                  <a:pt x="10" y="68"/>
                </a:lnTo>
                <a:lnTo>
                  <a:pt x="0" y="48"/>
                </a:lnTo>
                <a:lnTo>
                  <a:pt x="10" y="32"/>
                </a:lnTo>
                <a:lnTo>
                  <a:pt x="12" y="24"/>
                </a:lnTo>
                <a:lnTo>
                  <a:pt x="36" y="22"/>
                </a:lnTo>
                <a:lnTo>
                  <a:pt x="39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39" name="Freeform 176">
            <a:extLst>
              <a:ext uri="{FF2B5EF4-FFF2-40B4-BE49-F238E27FC236}">
                <a16:creationId xmlns:a16="http://schemas.microsoft.com/office/drawing/2014/main" id="{836E52AA-2FE4-467E-851C-056A9A4CCF94}"/>
              </a:ext>
            </a:extLst>
          </p:cNvPr>
          <p:cNvSpPr>
            <a:spLocks/>
          </p:cNvSpPr>
          <p:nvPr/>
        </p:nvSpPr>
        <p:spPr bwMode="gray">
          <a:xfrm>
            <a:off x="2416950" y="2254584"/>
            <a:ext cx="36312" cy="8011"/>
          </a:xfrm>
          <a:custGeom>
            <a:avLst/>
            <a:gdLst>
              <a:gd name="T0" fmla="*/ 8 w 50"/>
              <a:gd name="T1" fmla="*/ 0 h 12"/>
              <a:gd name="T2" fmla="*/ 20 w 50"/>
              <a:gd name="T3" fmla="*/ 0 h 12"/>
              <a:gd name="T4" fmla="*/ 32 w 50"/>
              <a:gd name="T5" fmla="*/ 2 h 12"/>
              <a:gd name="T6" fmla="*/ 42 w 50"/>
              <a:gd name="T7" fmla="*/ 4 h 12"/>
              <a:gd name="T8" fmla="*/ 50 w 50"/>
              <a:gd name="T9" fmla="*/ 6 h 12"/>
              <a:gd name="T10" fmla="*/ 46 w 50"/>
              <a:gd name="T11" fmla="*/ 8 h 12"/>
              <a:gd name="T12" fmla="*/ 34 w 50"/>
              <a:gd name="T13" fmla="*/ 8 h 12"/>
              <a:gd name="T14" fmla="*/ 26 w 50"/>
              <a:gd name="T15" fmla="*/ 8 h 12"/>
              <a:gd name="T16" fmla="*/ 16 w 50"/>
              <a:gd name="T17" fmla="*/ 8 h 12"/>
              <a:gd name="T18" fmla="*/ 6 w 50"/>
              <a:gd name="T19" fmla="*/ 12 h 12"/>
              <a:gd name="T20" fmla="*/ 0 w 50"/>
              <a:gd name="T21" fmla="*/ 10 h 12"/>
              <a:gd name="T22" fmla="*/ 4 w 50"/>
              <a:gd name="T23" fmla="*/ 0 h 12"/>
              <a:gd name="T24" fmla="*/ 8 w 50"/>
              <a:gd name="T25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0" h="12">
                <a:moveTo>
                  <a:pt x="8" y="0"/>
                </a:moveTo>
                <a:lnTo>
                  <a:pt x="20" y="0"/>
                </a:lnTo>
                <a:lnTo>
                  <a:pt x="32" y="2"/>
                </a:lnTo>
                <a:lnTo>
                  <a:pt x="42" y="4"/>
                </a:lnTo>
                <a:lnTo>
                  <a:pt x="50" y="6"/>
                </a:lnTo>
                <a:lnTo>
                  <a:pt x="46" y="8"/>
                </a:lnTo>
                <a:lnTo>
                  <a:pt x="34" y="8"/>
                </a:lnTo>
                <a:lnTo>
                  <a:pt x="26" y="8"/>
                </a:lnTo>
                <a:lnTo>
                  <a:pt x="16" y="8"/>
                </a:lnTo>
                <a:lnTo>
                  <a:pt x="6" y="12"/>
                </a:lnTo>
                <a:lnTo>
                  <a:pt x="0" y="10"/>
                </a:lnTo>
                <a:lnTo>
                  <a:pt x="4" y="0"/>
                </a:lnTo>
                <a:lnTo>
                  <a:pt x="8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40" name="Freeform 177">
            <a:extLst>
              <a:ext uri="{FF2B5EF4-FFF2-40B4-BE49-F238E27FC236}">
                <a16:creationId xmlns:a16="http://schemas.microsoft.com/office/drawing/2014/main" id="{A30C2D5C-91D0-4454-A4A5-F2E4164080F9}"/>
              </a:ext>
            </a:extLst>
          </p:cNvPr>
          <p:cNvSpPr>
            <a:spLocks/>
          </p:cNvSpPr>
          <p:nvPr/>
        </p:nvSpPr>
        <p:spPr bwMode="gray">
          <a:xfrm>
            <a:off x="2416950" y="2254584"/>
            <a:ext cx="36312" cy="8011"/>
          </a:xfrm>
          <a:custGeom>
            <a:avLst/>
            <a:gdLst>
              <a:gd name="T0" fmla="*/ 8 w 50"/>
              <a:gd name="T1" fmla="*/ 0 h 12"/>
              <a:gd name="T2" fmla="*/ 20 w 50"/>
              <a:gd name="T3" fmla="*/ 0 h 12"/>
              <a:gd name="T4" fmla="*/ 32 w 50"/>
              <a:gd name="T5" fmla="*/ 2 h 12"/>
              <a:gd name="T6" fmla="*/ 42 w 50"/>
              <a:gd name="T7" fmla="*/ 4 h 12"/>
              <a:gd name="T8" fmla="*/ 50 w 50"/>
              <a:gd name="T9" fmla="*/ 6 h 12"/>
              <a:gd name="T10" fmla="*/ 46 w 50"/>
              <a:gd name="T11" fmla="*/ 8 h 12"/>
              <a:gd name="T12" fmla="*/ 34 w 50"/>
              <a:gd name="T13" fmla="*/ 8 h 12"/>
              <a:gd name="T14" fmla="*/ 26 w 50"/>
              <a:gd name="T15" fmla="*/ 8 h 12"/>
              <a:gd name="T16" fmla="*/ 16 w 50"/>
              <a:gd name="T17" fmla="*/ 8 h 12"/>
              <a:gd name="T18" fmla="*/ 6 w 50"/>
              <a:gd name="T19" fmla="*/ 12 h 12"/>
              <a:gd name="T20" fmla="*/ 0 w 50"/>
              <a:gd name="T21" fmla="*/ 10 h 12"/>
              <a:gd name="T22" fmla="*/ 4 w 50"/>
              <a:gd name="T23" fmla="*/ 0 h 12"/>
              <a:gd name="T24" fmla="*/ 8 w 50"/>
              <a:gd name="T25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0" h="12">
                <a:moveTo>
                  <a:pt x="8" y="0"/>
                </a:moveTo>
                <a:lnTo>
                  <a:pt x="20" y="0"/>
                </a:lnTo>
                <a:lnTo>
                  <a:pt x="32" y="2"/>
                </a:lnTo>
                <a:lnTo>
                  <a:pt x="42" y="4"/>
                </a:lnTo>
                <a:lnTo>
                  <a:pt x="50" y="6"/>
                </a:lnTo>
                <a:lnTo>
                  <a:pt x="46" y="8"/>
                </a:lnTo>
                <a:lnTo>
                  <a:pt x="34" y="8"/>
                </a:lnTo>
                <a:lnTo>
                  <a:pt x="26" y="8"/>
                </a:lnTo>
                <a:lnTo>
                  <a:pt x="16" y="8"/>
                </a:lnTo>
                <a:lnTo>
                  <a:pt x="6" y="12"/>
                </a:lnTo>
                <a:lnTo>
                  <a:pt x="0" y="10"/>
                </a:lnTo>
                <a:lnTo>
                  <a:pt x="4" y="0"/>
                </a:lnTo>
                <a:lnTo>
                  <a:pt x="8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41" name="Freeform 178">
            <a:extLst>
              <a:ext uri="{FF2B5EF4-FFF2-40B4-BE49-F238E27FC236}">
                <a16:creationId xmlns:a16="http://schemas.microsoft.com/office/drawing/2014/main" id="{DFF5A2F9-314C-4F3E-A024-A1DB5BC6B549}"/>
              </a:ext>
            </a:extLst>
          </p:cNvPr>
          <p:cNvSpPr>
            <a:spLocks/>
          </p:cNvSpPr>
          <p:nvPr/>
        </p:nvSpPr>
        <p:spPr bwMode="gray">
          <a:xfrm>
            <a:off x="2414045" y="2222538"/>
            <a:ext cx="66814" cy="46733"/>
          </a:xfrm>
          <a:custGeom>
            <a:avLst/>
            <a:gdLst>
              <a:gd name="T0" fmla="*/ 2 w 92"/>
              <a:gd name="T1" fmla="*/ 34 h 70"/>
              <a:gd name="T2" fmla="*/ 0 w 92"/>
              <a:gd name="T3" fmla="*/ 28 h 70"/>
              <a:gd name="T4" fmla="*/ 6 w 92"/>
              <a:gd name="T5" fmla="*/ 20 h 70"/>
              <a:gd name="T6" fmla="*/ 12 w 92"/>
              <a:gd name="T7" fmla="*/ 12 h 70"/>
              <a:gd name="T8" fmla="*/ 14 w 92"/>
              <a:gd name="T9" fmla="*/ 2 h 70"/>
              <a:gd name="T10" fmla="*/ 28 w 92"/>
              <a:gd name="T11" fmla="*/ 0 h 70"/>
              <a:gd name="T12" fmla="*/ 42 w 92"/>
              <a:gd name="T13" fmla="*/ 0 h 70"/>
              <a:gd name="T14" fmla="*/ 54 w 92"/>
              <a:gd name="T15" fmla="*/ 6 h 70"/>
              <a:gd name="T16" fmla="*/ 62 w 92"/>
              <a:gd name="T17" fmla="*/ 12 h 70"/>
              <a:gd name="T18" fmla="*/ 70 w 92"/>
              <a:gd name="T19" fmla="*/ 24 h 70"/>
              <a:gd name="T20" fmla="*/ 80 w 92"/>
              <a:gd name="T21" fmla="*/ 32 h 70"/>
              <a:gd name="T22" fmla="*/ 82 w 92"/>
              <a:gd name="T23" fmla="*/ 38 h 70"/>
              <a:gd name="T24" fmla="*/ 84 w 92"/>
              <a:gd name="T25" fmla="*/ 50 h 70"/>
              <a:gd name="T26" fmla="*/ 90 w 92"/>
              <a:gd name="T27" fmla="*/ 58 h 70"/>
              <a:gd name="T28" fmla="*/ 92 w 92"/>
              <a:gd name="T29" fmla="*/ 66 h 70"/>
              <a:gd name="T30" fmla="*/ 92 w 92"/>
              <a:gd name="T31" fmla="*/ 70 h 70"/>
              <a:gd name="T32" fmla="*/ 70 w 92"/>
              <a:gd name="T33" fmla="*/ 68 h 70"/>
              <a:gd name="T34" fmla="*/ 64 w 92"/>
              <a:gd name="T35" fmla="*/ 64 h 70"/>
              <a:gd name="T36" fmla="*/ 58 w 92"/>
              <a:gd name="T37" fmla="*/ 64 h 70"/>
              <a:gd name="T38" fmla="*/ 50 w 92"/>
              <a:gd name="T39" fmla="*/ 64 h 70"/>
              <a:gd name="T40" fmla="*/ 38 w 92"/>
              <a:gd name="T41" fmla="*/ 64 h 70"/>
              <a:gd name="T42" fmla="*/ 32 w 92"/>
              <a:gd name="T43" fmla="*/ 64 h 70"/>
              <a:gd name="T44" fmla="*/ 28 w 92"/>
              <a:gd name="T45" fmla="*/ 68 h 70"/>
              <a:gd name="T46" fmla="*/ 10 w 92"/>
              <a:gd name="T47" fmla="*/ 70 h 70"/>
              <a:gd name="T48" fmla="*/ 10 w 92"/>
              <a:gd name="T49" fmla="*/ 60 h 70"/>
              <a:gd name="T50" fmla="*/ 20 w 92"/>
              <a:gd name="T51" fmla="*/ 56 h 70"/>
              <a:gd name="T52" fmla="*/ 30 w 92"/>
              <a:gd name="T53" fmla="*/ 56 h 70"/>
              <a:gd name="T54" fmla="*/ 38 w 92"/>
              <a:gd name="T55" fmla="*/ 56 h 70"/>
              <a:gd name="T56" fmla="*/ 50 w 92"/>
              <a:gd name="T57" fmla="*/ 56 h 70"/>
              <a:gd name="T58" fmla="*/ 54 w 92"/>
              <a:gd name="T59" fmla="*/ 54 h 70"/>
              <a:gd name="T60" fmla="*/ 40 w 92"/>
              <a:gd name="T61" fmla="*/ 50 h 70"/>
              <a:gd name="T62" fmla="*/ 36 w 92"/>
              <a:gd name="T63" fmla="*/ 50 h 70"/>
              <a:gd name="T64" fmla="*/ 22 w 92"/>
              <a:gd name="T65" fmla="*/ 48 h 70"/>
              <a:gd name="T66" fmla="*/ 12 w 92"/>
              <a:gd name="T67" fmla="*/ 48 h 70"/>
              <a:gd name="T68" fmla="*/ 8 w 92"/>
              <a:gd name="T69" fmla="*/ 48 h 70"/>
              <a:gd name="T70" fmla="*/ 4 w 92"/>
              <a:gd name="T71" fmla="*/ 40 h 70"/>
              <a:gd name="T72" fmla="*/ 2 w 92"/>
              <a:gd name="T73" fmla="*/ 34 h 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2" h="70">
                <a:moveTo>
                  <a:pt x="2" y="34"/>
                </a:moveTo>
                <a:lnTo>
                  <a:pt x="0" y="28"/>
                </a:lnTo>
                <a:lnTo>
                  <a:pt x="6" y="20"/>
                </a:lnTo>
                <a:lnTo>
                  <a:pt x="12" y="12"/>
                </a:lnTo>
                <a:lnTo>
                  <a:pt x="14" y="2"/>
                </a:lnTo>
                <a:lnTo>
                  <a:pt x="28" y="0"/>
                </a:lnTo>
                <a:lnTo>
                  <a:pt x="42" y="0"/>
                </a:lnTo>
                <a:lnTo>
                  <a:pt x="54" y="6"/>
                </a:lnTo>
                <a:lnTo>
                  <a:pt x="62" y="12"/>
                </a:lnTo>
                <a:lnTo>
                  <a:pt x="70" y="24"/>
                </a:lnTo>
                <a:lnTo>
                  <a:pt x="80" y="32"/>
                </a:lnTo>
                <a:lnTo>
                  <a:pt x="82" y="38"/>
                </a:lnTo>
                <a:lnTo>
                  <a:pt x="84" y="50"/>
                </a:lnTo>
                <a:lnTo>
                  <a:pt x="90" y="58"/>
                </a:lnTo>
                <a:lnTo>
                  <a:pt x="92" y="66"/>
                </a:lnTo>
                <a:lnTo>
                  <a:pt x="92" y="70"/>
                </a:lnTo>
                <a:lnTo>
                  <a:pt x="70" y="68"/>
                </a:lnTo>
                <a:lnTo>
                  <a:pt x="64" y="64"/>
                </a:lnTo>
                <a:lnTo>
                  <a:pt x="58" y="64"/>
                </a:lnTo>
                <a:lnTo>
                  <a:pt x="50" y="64"/>
                </a:lnTo>
                <a:lnTo>
                  <a:pt x="38" y="64"/>
                </a:lnTo>
                <a:lnTo>
                  <a:pt x="32" y="64"/>
                </a:lnTo>
                <a:lnTo>
                  <a:pt x="28" y="68"/>
                </a:lnTo>
                <a:lnTo>
                  <a:pt x="10" y="70"/>
                </a:lnTo>
                <a:lnTo>
                  <a:pt x="10" y="60"/>
                </a:lnTo>
                <a:lnTo>
                  <a:pt x="20" y="56"/>
                </a:lnTo>
                <a:lnTo>
                  <a:pt x="30" y="56"/>
                </a:lnTo>
                <a:lnTo>
                  <a:pt x="38" y="56"/>
                </a:lnTo>
                <a:lnTo>
                  <a:pt x="50" y="56"/>
                </a:lnTo>
                <a:lnTo>
                  <a:pt x="54" y="54"/>
                </a:lnTo>
                <a:lnTo>
                  <a:pt x="40" y="50"/>
                </a:lnTo>
                <a:lnTo>
                  <a:pt x="36" y="50"/>
                </a:lnTo>
                <a:lnTo>
                  <a:pt x="22" y="48"/>
                </a:lnTo>
                <a:lnTo>
                  <a:pt x="12" y="48"/>
                </a:lnTo>
                <a:lnTo>
                  <a:pt x="8" y="48"/>
                </a:lnTo>
                <a:lnTo>
                  <a:pt x="4" y="40"/>
                </a:lnTo>
                <a:lnTo>
                  <a:pt x="2" y="3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42" name="Freeform 179">
            <a:extLst>
              <a:ext uri="{FF2B5EF4-FFF2-40B4-BE49-F238E27FC236}">
                <a16:creationId xmlns:a16="http://schemas.microsoft.com/office/drawing/2014/main" id="{5DB21B70-F5E1-4463-B6DC-F8AFC3D15C03}"/>
              </a:ext>
            </a:extLst>
          </p:cNvPr>
          <p:cNvSpPr>
            <a:spLocks/>
          </p:cNvSpPr>
          <p:nvPr/>
        </p:nvSpPr>
        <p:spPr bwMode="gray">
          <a:xfrm>
            <a:off x="2961630" y="2677182"/>
            <a:ext cx="27597" cy="24034"/>
          </a:xfrm>
          <a:custGeom>
            <a:avLst/>
            <a:gdLst>
              <a:gd name="T0" fmla="*/ 28 w 38"/>
              <a:gd name="T1" fmla="*/ 0 h 36"/>
              <a:gd name="T2" fmla="*/ 0 w 38"/>
              <a:gd name="T3" fmla="*/ 10 h 36"/>
              <a:gd name="T4" fmla="*/ 8 w 38"/>
              <a:gd name="T5" fmla="*/ 36 h 36"/>
              <a:gd name="T6" fmla="*/ 38 w 38"/>
              <a:gd name="T7" fmla="*/ 26 h 36"/>
              <a:gd name="T8" fmla="*/ 26 w 38"/>
              <a:gd name="T9" fmla="*/ 18 h 36"/>
              <a:gd name="T10" fmla="*/ 28 w 38"/>
              <a:gd name="T1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" h="36">
                <a:moveTo>
                  <a:pt x="28" y="0"/>
                </a:moveTo>
                <a:lnTo>
                  <a:pt x="0" y="10"/>
                </a:lnTo>
                <a:lnTo>
                  <a:pt x="8" y="36"/>
                </a:lnTo>
                <a:lnTo>
                  <a:pt x="38" y="26"/>
                </a:lnTo>
                <a:lnTo>
                  <a:pt x="26" y="18"/>
                </a:lnTo>
                <a:lnTo>
                  <a:pt x="28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013" dirty="0"/>
          </a:p>
        </p:txBody>
      </p:sp>
      <p:sp>
        <p:nvSpPr>
          <p:cNvPr id="243" name="Freeform 180">
            <a:extLst>
              <a:ext uri="{FF2B5EF4-FFF2-40B4-BE49-F238E27FC236}">
                <a16:creationId xmlns:a16="http://schemas.microsoft.com/office/drawing/2014/main" id="{3AAD29CA-DB1A-4644-9195-B92906CF1D2E}"/>
              </a:ext>
            </a:extLst>
          </p:cNvPr>
          <p:cNvSpPr>
            <a:spLocks/>
          </p:cNvSpPr>
          <p:nvPr/>
        </p:nvSpPr>
        <p:spPr bwMode="gray">
          <a:xfrm>
            <a:off x="2923866" y="2701216"/>
            <a:ext cx="23240" cy="29375"/>
          </a:xfrm>
          <a:custGeom>
            <a:avLst/>
            <a:gdLst>
              <a:gd name="T0" fmla="*/ 32 w 32"/>
              <a:gd name="T1" fmla="*/ 28 h 44"/>
              <a:gd name="T2" fmla="*/ 16 w 32"/>
              <a:gd name="T3" fmla="*/ 0 h 44"/>
              <a:gd name="T4" fmla="*/ 0 w 32"/>
              <a:gd name="T5" fmla="*/ 22 h 44"/>
              <a:gd name="T6" fmla="*/ 10 w 32"/>
              <a:gd name="T7" fmla="*/ 44 h 44"/>
              <a:gd name="T8" fmla="*/ 18 w 32"/>
              <a:gd name="T9" fmla="*/ 32 h 44"/>
              <a:gd name="T10" fmla="*/ 32 w 32"/>
              <a:gd name="T11" fmla="*/ 28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2" h="44">
                <a:moveTo>
                  <a:pt x="32" y="28"/>
                </a:moveTo>
                <a:lnTo>
                  <a:pt x="16" y="0"/>
                </a:lnTo>
                <a:lnTo>
                  <a:pt x="0" y="22"/>
                </a:lnTo>
                <a:lnTo>
                  <a:pt x="10" y="44"/>
                </a:lnTo>
                <a:lnTo>
                  <a:pt x="18" y="32"/>
                </a:lnTo>
                <a:lnTo>
                  <a:pt x="32" y="28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013" dirty="0"/>
          </a:p>
        </p:txBody>
      </p:sp>
      <p:sp>
        <p:nvSpPr>
          <p:cNvPr id="244" name="Freeform 181">
            <a:extLst>
              <a:ext uri="{FF2B5EF4-FFF2-40B4-BE49-F238E27FC236}">
                <a16:creationId xmlns:a16="http://schemas.microsoft.com/office/drawing/2014/main" id="{025E22C9-8D01-449E-A1F6-6A351ACB2DBC}"/>
              </a:ext>
            </a:extLst>
          </p:cNvPr>
          <p:cNvSpPr>
            <a:spLocks/>
          </p:cNvSpPr>
          <p:nvPr/>
        </p:nvSpPr>
        <p:spPr bwMode="gray">
          <a:xfrm>
            <a:off x="2851968" y="1500183"/>
            <a:ext cx="123461" cy="174914"/>
          </a:xfrm>
          <a:custGeom>
            <a:avLst/>
            <a:gdLst>
              <a:gd name="T0" fmla="*/ 106 w 170"/>
              <a:gd name="T1" fmla="*/ 250 h 262"/>
              <a:gd name="T2" fmla="*/ 88 w 170"/>
              <a:gd name="T3" fmla="*/ 250 h 262"/>
              <a:gd name="T4" fmla="*/ 64 w 170"/>
              <a:gd name="T5" fmla="*/ 258 h 262"/>
              <a:gd name="T6" fmla="*/ 40 w 170"/>
              <a:gd name="T7" fmla="*/ 262 h 262"/>
              <a:gd name="T8" fmla="*/ 10 w 170"/>
              <a:gd name="T9" fmla="*/ 246 h 262"/>
              <a:gd name="T10" fmla="*/ 12 w 170"/>
              <a:gd name="T11" fmla="*/ 226 h 262"/>
              <a:gd name="T12" fmla="*/ 6 w 170"/>
              <a:gd name="T13" fmla="*/ 204 h 262"/>
              <a:gd name="T14" fmla="*/ 10 w 170"/>
              <a:gd name="T15" fmla="*/ 188 h 262"/>
              <a:gd name="T16" fmla="*/ 22 w 170"/>
              <a:gd name="T17" fmla="*/ 182 h 262"/>
              <a:gd name="T18" fmla="*/ 28 w 170"/>
              <a:gd name="T19" fmla="*/ 170 h 262"/>
              <a:gd name="T20" fmla="*/ 64 w 170"/>
              <a:gd name="T21" fmla="*/ 142 h 262"/>
              <a:gd name="T22" fmla="*/ 72 w 170"/>
              <a:gd name="T23" fmla="*/ 140 h 262"/>
              <a:gd name="T24" fmla="*/ 70 w 170"/>
              <a:gd name="T25" fmla="*/ 124 h 262"/>
              <a:gd name="T26" fmla="*/ 54 w 170"/>
              <a:gd name="T27" fmla="*/ 116 h 262"/>
              <a:gd name="T28" fmla="*/ 44 w 170"/>
              <a:gd name="T29" fmla="*/ 102 h 262"/>
              <a:gd name="T30" fmla="*/ 50 w 170"/>
              <a:gd name="T31" fmla="*/ 86 h 262"/>
              <a:gd name="T32" fmla="*/ 42 w 170"/>
              <a:gd name="T33" fmla="*/ 82 h 262"/>
              <a:gd name="T34" fmla="*/ 44 w 170"/>
              <a:gd name="T35" fmla="*/ 62 h 262"/>
              <a:gd name="T36" fmla="*/ 34 w 170"/>
              <a:gd name="T37" fmla="*/ 48 h 262"/>
              <a:gd name="T38" fmla="*/ 20 w 170"/>
              <a:gd name="T39" fmla="*/ 48 h 262"/>
              <a:gd name="T40" fmla="*/ 0 w 170"/>
              <a:gd name="T41" fmla="*/ 30 h 262"/>
              <a:gd name="T42" fmla="*/ 10 w 170"/>
              <a:gd name="T43" fmla="*/ 22 h 262"/>
              <a:gd name="T44" fmla="*/ 24 w 170"/>
              <a:gd name="T45" fmla="*/ 38 h 262"/>
              <a:gd name="T46" fmla="*/ 66 w 170"/>
              <a:gd name="T47" fmla="*/ 42 h 262"/>
              <a:gd name="T48" fmla="*/ 76 w 170"/>
              <a:gd name="T49" fmla="*/ 32 h 262"/>
              <a:gd name="T50" fmla="*/ 84 w 170"/>
              <a:gd name="T51" fmla="*/ 12 h 262"/>
              <a:gd name="T52" fmla="*/ 104 w 170"/>
              <a:gd name="T53" fmla="*/ 0 h 262"/>
              <a:gd name="T54" fmla="*/ 126 w 170"/>
              <a:gd name="T55" fmla="*/ 8 h 262"/>
              <a:gd name="T56" fmla="*/ 136 w 170"/>
              <a:gd name="T57" fmla="*/ 22 h 262"/>
              <a:gd name="T58" fmla="*/ 126 w 170"/>
              <a:gd name="T59" fmla="*/ 32 h 262"/>
              <a:gd name="T60" fmla="*/ 122 w 170"/>
              <a:gd name="T61" fmla="*/ 54 h 262"/>
              <a:gd name="T62" fmla="*/ 146 w 170"/>
              <a:gd name="T63" fmla="*/ 68 h 262"/>
              <a:gd name="T64" fmla="*/ 130 w 170"/>
              <a:gd name="T65" fmla="*/ 84 h 262"/>
              <a:gd name="T66" fmla="*/ 140 w 170"/>
              <a:gd name="T67" fmla="*/ 102 h 262"/>
              <a:gd name="T68" fmla="*/ 146 w 170"/>
              <a:gd name="T69" fmla="*/ 118 h 262"/>
              <a:gd name="T70" fmla="*/ 138 w 170"/>
              <a:gd name="T71" fmla="*/ 138 h 262"/>
              <a:gd name="T72" fmla="*/ 148 w 170"/>
              <a:gd name="T73" fmla="*/ 148 h 262"/>
              <a:gd name="T74" fmla="*/ 156 w 170"/>
              <a:gd name="T75" fmla="*/ 162 h 262"/>
              <a:gd name="T76" fmla="*/ 146 w 170"/>
              <a:gd name="T77" fmla="*/ 172 h 262"/>
              <a:gd name="T78" fmla="*/ 170 w 170"/>
              <a:gd name="T79" fmla="*/ 190 h 262"/>
              <a:gd name="T80" fmla="*/ 162 w 170"/>
              <a:gd name="T81" fmla="*/ 204 h 262"/>
              <a:gd name="T82" fmla="*/ 136 w 170"/>
              <a:gd name="T83" fmla="*/ 228 h 262"/>
              <a:gd name="T84" fmla="*/ 106 w 170"/>
              <a:gd name="T85" fmla="*/ 250 h 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0" h="262">
                <a:moveTo>
                  <a:pt x="106" y="250"/>
                </a:moveTo>
                <a:lnTo>
                  <a:pt x="88" y="250"/>
                </a:lnTo>
                <a:lnTo>
                  <a:pt x="64" y="258"/>
                </a:lnTo>
                <a:lnTo>
                  <a:pt x="40" y="262"/>
                </a:lnTo>
                <a:lnTo>
                  <a:pt x="10" y="246"/>
                </a:lnTo>
                <a:lnTo>
                  <a:pt x="12" y="226"/>
                </a:lnTo>
                <a:lnTo>
                  <a:pt x="6" y="204"/>
                </a:lnTo>
                <a:lnTo>
                  <a:pt x="10" y="188"/>
                </a:lnTo>
                <a:lnTo>
                  <a:pt x="22" y="182"/>
                </a:lnTo>
                <a:lnTo>
                  <a:pt x="28" y="170"/>
                </a:lnTo>
                <a:lnTo>
                  <a:pt x="64" y="142"/>
                </a:lnTo>
                <a:lnTo>
                  <a:pt x="72" y="140"/>
                </a:lnTo>
                <a:lnTo>
                  <a:pt x="70" y="124"/>
                </a:lnTo>
                <a:lnTo>
                  <a:pt x="54" y="116"/>
                </a:lnTo>
                <a:lnTo>
                  <a:pt x="44" y="102"/>
                </a:lnTo>
                <a:lnTo>
                  <a:pt x="50" y="86"/>
                </a:lnTo>
                <a:lnTo>
                  <a:pt x="42" y="82"/>
                </a:lnTo>
                <a:lnTo>
                  <a:pt x="44" y="62"/>
                </a:lnTo>
                <a:lnTo>
                  <a:pt x="34" y="48"/>
                </a:lnTo>
                <a:lnTo>
                  <a:pt x="20" y="48"/>
                </a:lnTo>
                <a:lnTo>
                  <a:pt x="0" y="30"/>
                </a:lnTo>
                <a:lnTo>
                  <a:pt x="10" y="22"/>
                </a:lnTo>
                <a:lnTo>
                  <a:pt x="24" y="38"/>
                </a:lnTo>
                <a:lnTo>
                  <a:pt x="66" y="42"/>
                </a:lnTo>
                <a:lnTo>
                  <a:pt x="76" y="32"/>
                </a:lnTo>
                <a:lnTo>
                  <a:pt x="84" y="12"/>
                </a:lnTo>
                <a:lnTo>
                  <a:pt x="104" y="0"/>
                </a:lnTo>
                <a:lnTo>
                  <a:pt x="126" y="8"/>
                </a:lnTo>
                <a:lnTo>
                  <a:pt x="136" y="22"/>
                </a:lnTo>
                <a:lnTo>
                  <a:pt x="126" y="32"/>
                </a:lnTo>
                <a:lnTo>
                  <a:pt x="122" y="54"/>
                </a:lnTo>
                <a:lnTo>
                  <a:pt x="146" y="68"/>
                </a:lnTo>
                <a:lnTo>
                  <a:pt x="130" y="84"/>
                </a:lnTo>
                <a:lnTo>
                  <a:pt x="140" y="102"/>
                </a:lnTo>
                <a:lnTo>
                  <a:pt x="146" y="118"/>
                </a:lnTo>
                <a:lnTo>
                  <a:pt x="138" y="138"/>
                </a:lnTo>
                <a:lnTo>
                  <a:pt x="148" y="148"/>
                </a:lnTo>
                <a:lnTo>
                  <a:pt x="156" y="162"/>
                </a:lnTo>
                <a:lnTo>
                  <a:pt x="146" y="172"/>
                </a:lnTo>
                <a:lnTo>
                  <a:pt x="170" y="190"/>
                </a:lnTo>
                <a:lnTo>
                  <a:pt x="162" y="204"/>
                </a:lnTo>
                <a:lnTo>
                  <a:pt x="136" y="228"/>
                </a:lnTo>
                <a:lnTo>
                  <a:pt x="106" y="25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45" name="Freeform 182">
            <a:extLst>
              <a:ext uri="{FF2B5EF4-FFF2-40B4-BE49-F238E27FC236}">
                <a16:creationId xmlns:a16="http://schemas.microsoft.com/office/drawing/2014/main" id="{8BCBC636-CC2C-49A7-AE36-336B9411AB13}"/>
              </a:ext>
            </a:extLst>
          </p:cNvPr>
          <p:cNvSpPr>
            <a:spLocks/>
          </p:cNvSpPr>
          <p:nvPr/>
        </p:nvSpPr>
        <p:spPr bwMode="gray">
          <a:xfrm>
            <a:off x="2739401" y="1520211"/>
            <a:ext cx="151784" cy="225653"/>
          </a:xfrm>
          <a:custGeom>
            <a:avLst/>
            <a:gdLst>
              <a:gd name="T0" fmla="*/ 167 w 209"/>
              <a:gd name="T1" fmla="*/ 10 h 338"/>
              <a:gd name="T2" fmla="*/ 189 w 209"/>
              <a:gd name="T3" fmla="*/ 18 h 338"/>
              <a:gd name="T4" fmla="*/ 199 w 209"/>
              <a:gd name="T5" fmla="*/ 40 h 338"/>
              <a:gd name="T6" fmla="*/ 205 w 209"/>
              <a:gd name="T7" fmla="*/ 56 h 338"/>
              <a:gd name="T8" fmla="*/ 209 w 209"/>
              <a:gd name="T9" fmla="*/ 86 h 338"/>
              <a:gd name="T10" fmla="*/ 181 w 209"/>
              <a:gd name="T11" fmla="*/ 90 h 338"/>
              <a:gd name="T12" fmla="*/ 161 w 209"/>
              <a:gd name="T13" fmla="*/ 114 h 338"/>
              <a:gd name="T14" fmla="*/ 153 w 209"/>
              <a:gd name="T15" fmla="*/ 138 h 338"/>
              <a:gd name="T16" fmla="*/ 121 w 209"/>
              <a:gd name="T17" fmla="*/ 152 h 338"/>
              <a:gd name="T18" fmla="*/ 103 w 209"/>
              <a:gd name="T19" fmla="*/ 178 h 338"/>
              <a:gd name="T20" fmla="*/ 101 w 209"/>
              <a:gd name="T21" fmla="*/ 216 h 338"/>
              <a:gd name="T22" fmla="*/ 125 w 209"/>
              <a:gd name="T23" fmla="*/ 236 h 338"/>
              <a:gd name="T24" fmla="*/ 111 w 209"/>
              <a:gd name="T25" fmla="*/ 256 h 338"/>
              <a:gd name="T26" fmla="*/ 91 w 209"/>
              <a:gd name="T27" fmla="*/ 278 h 338"/>
              <a:gd name="T28" fmla="*/ 87 w 209"/>
              <a:gd name="T29" fmla="*/ 304 h 338"/>
              <a:gd name="T30" fmla="*/ 69 w 209"/>
              <a:gd name="T31" fmla="*/ 322 h 338"/>
              <a:gd name="T32" fmla="*/ 51 w 209"/>
              <a:gd name="T33" fmla="*/ 336 h 338"/>
              <a:gd name="T34" fmla="*/ 33 w 209"/>
              <a:gd name="T35" fmla="*/ 324 h 338"/>
              <a:gd name="T36" fmla="*/ 29 w 209"/>
              <a:gd name="T37" fmla="*/ 308 h 338"/>
              <a:gd name="T38" fmla="*/ 11 w 209"/>
              <a:gd name="T39" fmla="*/ 274 h 338"/>
              <a:gd name="T40" fmla="*/ 17 w 209"/>
              <a:gd name="T41" fmla="*/ 252 h 338"/>
              <a:gd name="T42" fmla="*/ 25 w 209"/>
              <a:gd name="T43" fmla="*/ 228 h 338"/>
              <a:gd name="T44" fmla="*/ 17 w 209"/>
              <a:gd name="T45" fmla="*/ 208 h 338"/>
              <a:gd name="T46" fmla="*/ 29 w 209"/>
              <a:gd name="T47" fmla="*/ 194 h 338"/>
              <a:gd name="T48" fmla="*/ 17 w 209"/>
              <a:gd name="T49" fmla="*/ 168 h 338"/>
              <a:gd name="T50" fmla="*/ 33 w 209"/>
              <a:gd name="T51" fmla="*/ 134 h 338"/>
              <a:gd name="T52" fmla="*/ 53 w 209"/>
              <a:gd name="T53" fmla="*/ 124 h 338"/>
              <a:gd name="T54" fmla="*/ 57 w 209"/>
              <a:gd name="T55" fmla="*/ 94 h 338"/>
              <a:gd name="T56" fmla="*/ 73 w 209"/>
              <a:gd name="T57" fmla="*/ 76 h 338"/>
              <a:gd name="T58" fmla="*/ 87 w 209"/>
              <a:gd name="T59" fmla="*/ 54 h 338"/>
              <a:gd name="T60" fmla="*/ 99 w 209"/>
              <a:gd name="T61" fmla="*/ 26 h 338"/>
              <a:gd name="T62" fmla="*/ 117 w 209"/>
              <a:gd name="T63" fmla="*/ 12 h 338"/>
              <a:gd name="T64" fmla="*/ 131 w 209"/>
              <a:gd name="T65" fmla="*/ 18 h 338"/>
              <a:gd name="T66" fmla="*/ 145 w 209"/>
              <a:gd name="T67" fmla="*/ 2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09" h="338">
                <a:moveTo>
                  <a:pt x="155" y="0"/>
                </a:moveTo>
                <a:lnTo>
                  <a:pt x="167" y="10"/>
                </a:lnTo>
                <a:lnTo>
                  <a:pt x="175" y="18"/>
                </a:lnTo>
                <a:lnTo>
                  <a:pt x="189" y="18"/>
                </a:lnTo>
                <a:lnTo>
                  <a:pt x="199" y="32"/>
                </a:lnTo>
                <a:lnTo>
                  <a:pt x="199" y="40"/>
                </a:lnTo>
                <a:lnTo>
                  <a:pt x="197" y="52"/>
                </a:lnTo>
                <a:lnTo>
                  <a:pt x="205" y="56"/>
                </a:lnTo>
                <a:lnTo>
                  <a:pt x="199" y="72"/>
                </a:lnTo>
                <a:lnTo>
                  <a:pt x="209" y="86"/>
                </a:lnTo>
                <a:lnTo>
                  <a:pt x="191" y="88"/>
                </a:lnTo>
                <a:lnTo>
                  <a:pt x="181" y="90"/>
                </a:lnTo>
                <a:lnTo>
                  <a:pt x="167" y="100"/>
                </a:lnTo>
                <a:lnTo>
                  <a:pt x="161" y="114"/>
                </a:lnTo>
                <a:lnTo>
                  <a:pt x="165" y="124"/>
                </a:lnTo>
                <a:lnTo>
                  <a:pt x="153" y="138"/>
                </a:lnTo>
                <a:lnTo>
                  <a:pt x="137" y="150"/>
                </a:lnTo>
                <a:lnTo>
                  <a:pt x="121" y="152"/>
                </a:lnTo>
                <a:lnTo>
                  <a:pt x="111" y="166"/>
                </a:lnTo>
                <a:lnTo>
                  <a:pt x="103" y="178"/>
                </a:lnTo>
                <a:lnTo>
                  <a:pt x="99" y="194"/>
                </a:lnTo>
                <a:lnTo>
                  <a:pt x="101" y="216"/>
                </a:lnTo>
                <a:lnTo>
                  <a:pt x="115" y="222"/>
                </a:lnTo>
                <a:lnTo>
                  <a:pt x="125" y="236"/>
                </a:lnTo>
                <a:lnTo>
                  <a:pt x="123" y="248"/>
                </a:lnTo>
                <a:lnTo>
                  <a:pt x="111" y="256"/>
                </a:lnTo>
                <a:lnTo>
                  <a:pt x="93" y="266"/>
                </a:lnTo>
                <a:lnTo>
                  <a:pt x="91" y="278"/>
                </a:lnTo>
                <a:lnTo>
                  <a:pt x="91" y="292"/>
                </a:lnTo>
                <a:lnTo>
                  <a:pt x="87" y="304"/>
                </a:lnTo>
                <a:lnTo>
                  <a:pt x="81" y="316"/>
                </a:lnTo>
                <a:lnTo>
                  <a:pt x="69" y="322"/>
                </a:lnTo>
                <a:lnTo>
                  <a:pt x="55" y="324"/>
                </a:lnTo>
                <a:lnTo>
                  <a:pt x="51" y="336"/>
                </a:lnTo>
                <a:lnTo>
                  <a:pt x="37" y="338"/>
                </a:lnTo>
                <a:lnTo>
                  <a:pt x="33" y="324"/>
                </a:lnTo>
                <a:lnTo>
                  <a:pt x="29" y="316"/>
                </a:lnTo>
                <a:lnTo>
                  <a:pt x="29" y="308"/>
                </a:lnTo>
                <a:lnTo>
                  <a:pt x="17" y="290"/>
                </a:lnTo>
                <a:lnTo>
                  <a:pt x="11" y="274"/>
                </a:lnTo>
                <a:lnTo>
                  <a:pt x="0" y="254"/>
                </a:lnTo>
                <a:lnTo>
                  <a:pt x="17" y="252"/>
                </a:lnTo>
                <a:lnTo>
                  <a:pt x="17" y="236"/>
                </a:lnTo>
                <a:lnTo>
                  <a:pt x="25" y="228"/>
                </a:lnTo>
                <a:lnTo>
                  <a:pt x="29" y="216"/>
                </a:lnTo>
                <a:lnTo>
                  <a:pt x="17" y="208"/>
                </a:lnTo>
                <a:lnTo>
                  <a:pt x="31" y="206"/>
                </a:lnTo>
                <a:lnTo>
                  <a:pt x="29" y="194"/>
                </a:lnTo>
                <a:lnTo>
                  <a:pt x="17" y="188"/>
                </a:lnTo>
                <a:lnTo>
                  <a:pt x="17" y="168"/>
                </a:lnTo>
                <a:lnTo>
                  <a:pt x="17" y="138"/>
                </a:lnTo>
                <a:lnTo>
                  <a:pt x="33" y="134"/>
                </a:lnTo>
                <a:lnTo>
                  <a:pt x="49" y="128"/>
                </a:lnTo>
                <a:lnTo>
                  <a:pt x="53" y="124"/>
                </a:lnTo>
                <a:lnTo>
                  <a:pt x="47" y="110"/>
                </a:lnTo>
                <a:lnTo>
                  <a:pt x="57" y="94"/>
                </a:lnTo>
                <a:lnTo>
                  <a:pt x="59" y="80"/>
                </a:lnTo>
                <a:lnTo>
                  <a:pt x="73" y="76"/>
                </a:lnTo>
                <a:lnTo>
                  <a:pt x="75" y="64"/>
                </a:lnTo>
                <a:lnTo>
                  <a:pt x="87" y="54"/>
                </a:lnTo>
                <a:lnTo>
                  <a:pt x="87" y="42"/>
                </a:lnTo>
                <a:lnTo>
                  <a:pt x="99" y="26"/>
                </a:lnTo>
                <a:lnTo>
                  <a:pt x="117" y="24"/>
                </a:lnTo>
                <a:lnTo>
                  <a:pt x="117" y="12"/>
                </a:lnTo>
                <a:lnTo>
                  <a:pt x="131" y="10"/>
                </a:lnTo>
                <a:lnTo>
                  <a:pt x="131" y="18"/>
                </a:lnTo>
                <a:lnTo>
                  <a:pt x="145" y="18"/>
                </a:lnTo>
                <a:lnTo>
                  <a:pt x="145" y="2"/>
                </a:lnTo>
                <a:lnTo>
                  <a:pt x="155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46" name="Freeform 183">
            <a:extLst>
              <a:ext uri="{FF2B5EF4-FFF2-40B4-BE49-F238E27FC236}">
                <a16:creationId xmlns:a16="http://schemas.microsoft.com/office/drawing/2014/main" id="{E55D035D-1318-4098-8BAC-241E024E914B}"/>
              </a:ext>
            </a:extLst>
          </p:cNvPr>
          <p:cNvSpPr>
            <a:spLocks/>
          </p:cNvSpPr>
          <p:nvPr/>
        </p:nvSpPr>
        <p:spPr bwMode="gray">
          <a:xfrm>
            <a:off x="2669682" y="1480154"/>
            <a:ext cx="298485" cy="225653"/>
          </a:xfrm>
          <a:custGeom>
            <a:avLst/>
            <a:gdLst>
              <a:gd name="T0" fmla="*/ 92 w 411"/>
              <a:gd name="T1" fmla="*/ 310 h 338"/>
              <a:gd name="T2" fmla="*/ 82 w 411"/>
              <a:gd name="T3" fmla="*/ 312 h 338"/>
              <a:gd name="T4" fmla="*/ 62 w 411"/>
              <a:gd name="T5" fmla="*/ 328 h 338"/>
              <a:gd name="T6" fmla="*/ 24 w 411"/>
              <a:gd name="T7" fmla="*/ 334 h 338"/>
              <a:gd name="T8" fmla="*/ 10 w 411"/>
              <a:gd name="T9" fmla="*/ 316 h 338"/>
              <a:gd name="T10" fmla="*/ 16 w 411"/>
              <a:gd name="T11" fmla="*/ 302 h 338"/>
              <a:gd name="T12" fmla="*/ 4 w 411"/>
              <a:gd name="T13" fmla="*/ 296 h 338"/>
              <a:gd name="T14" fmla="*/ 8 w 411"/>
              <a:gd name="T15" fmla="*/ 280 h 338"/>
              <a:gd name="T16" fmla="*/ 0 w 411"/>
              <a:gd name="T17" fmla="*/ 250 h 338"/>
              <a:gd name="T18" fmla="*/ 26 w 411"/>
              <a:gd name="T19" fmla="*/ 230 h 338"/>
              <a:gd name="T20" fmla="*/ 56 w 411"/>
              <a:gd name="T21" fmla="*/ 220 h 338"/>
              <a:gd name="T22" fmla="*/ 70 w 411"/>
              <a:gd name="T23" fmla="*/ 208 h 338"/>
              <a:gd name="T24" fmla="*/ 98 w 411"/>
              <a:gd name="T25" fmla="*/ 202 h 338"/>
              <a:gd name="T26" fmla="*/ 84 w 411"/>
              <a:gd name="T27" fmla="*/ 204 h 338"/>
              <a:gd name="T28" fmla="*/ 92 w 411"/>
              <a:gd name="T29" fmla="*/ 184 h 338"/>
              <a:gd name="T30" fmla="*/ 113 w 411"/>
              <a:gd name="T31" fmla="*/ 164 h 338"/>
              <a:gd name="T32" fmla="*/ 137 w 411"/>
              <a:gd name="T33" fmla="*/ 134 h 338"/>
              <a:gd name="T34" fmla="*/ 157 w 411"/>
              <a:gd name="T35" fmla="*/ 106 h 338"/>
              <a:gd name="T36" fmla="*/ 175 w 411"/>
              <a:gd name="T37" fmla="*/ 86 h 338"/>
              <a:gd name="T38" fmla="*/ 185 w 411"/>
              <a:gd name="T39" fmla="*/ 72 h 338"/>
              <a:gd name="T40" fmla="*/ 163 w 411"/>
              <a:gd name="T41" fmla="*/ 78 h 338"/>
              <a:gd name="T42" fmla="*/ 165 w 411"/>
              <a:gd name="T43" fmla="*/ 62 h 338"/>
              <a:gd name="T44" fmla="*/ 183 w 411"/>
              <a:gd name="T45" fmla="*/ 64 h 338"/>
              <a:gd name="T46" fmla="*/ 203 w 411"/>
              <a:gd name="T47" fmla="*/ 60 h 338"/>
              <a:gd name="T48" fmla="*/ 199 w 411"/>
              <a:gd name="T49" fmla="*/ 44 h 338"/>
              <a:gd name="T50" fmla="*/ 225 w 411"/>
              <a:gd name="T51" fmla="*/ 30 h 338"/>
              <a:gd name="T52" fmla="*/ 243 w 411"/>
              <a:gd name="T53" fmla="*/ 40 h 338"/>
              <a:gd name="T54" fmla="*/ 267 w 411"/>
              <a:gd name="T55" fmla="*/ 38 h 338"/>
              <a:gd name="T56" fmla="*/ 285 w 411"/>
              <a:gd name="T57" fmla="*/ 24 h 338"/>
              <a:gd name="T58" fmla="*/ 291 w 411"/>
              <a:gd name="T59" fmla="*/ 36 h 338"/>
              <a:gd name="T60" fmla="*/ 309 w 411"/>
              <a:gd name="T61" fmla="*/ 16 h 338"/>
              <a:gd name="T62" fmla="*/ 337 w 411"/>
              <a:gd name="T63" fmla="*/ 4 h 338"/>
              <a:gd name="T64" fmla="*/ 319 w 411"/>
              <a:gd name="T65" fmla="*/ 32 h 338"/>
              <a:gd name="T66" fmla="*/ 343 w 411"/>
              <a:gd name="T67" fmla="*/ 22 h 338"/>
              <a:gd name="T68" fmla="*/ 373 w 411"/>
              <a:gd name="T69" fmla="*/ 6 h 338"/>
              <a:gd name="T70" fmla="*/ 387 w 411"/>
              <a:gd name="T71" fmla="*/ 10 h 338"/>
              <a:gd name="T72" fmla="*/ 401 w 411"/>
              <a:gd name="T73" fmla="*/ 32 h 338"/>
              <a:gd name="T74" fmla="*/ 397 w 411"/>
              <a:gd name="T75" fmla="*/ 44 h 338"/>
              <a:gd name="T76" fmla="*/ 387 w 411"/>
              <a:gd name="T77" fmla="*/ 52 h 338"/>
              <a:gd name="T78" fmla="*/ 355 w 411"/>
              <a:gd name="T79" fmla="*/ 30 h 338"/>
              <a:gd name="T80" fmla="*/ 333 w 411"/>
              <a:gd name="T81" fmla="*/ 44 h 338"/>
              <a:gd name="T82" fmla="*/ 317 w 411"/>
              <a:gd name="T83" fmla="*/ 72 h 338"/>
              <a:gd name="T84" fmla="*/ 275 w 411"/>
              <a:gd name="T85" fmla="*/ 68 h 338"/>
              <a:gd name="T86" fmla="*/ 261 w 411"/>
              <a:gd name="T87" fmla="*/ 52 h 338"/>
              <a:gd name="T88" fmla="*/ 241 w 411"/>
              <a:gd name="T89" fmla="*/ 62 h 338"/>
              <a:gd name="T90" fmla="*/ 227 w 411"/>
              <a:gd name="T91" fmla="*/ 78 h 338"/>
              <a:gd name="T92" fmla="*/ 213 w 411"/>
              <a:gd name="T93" fmla="*/ 72 h 338"/>
              <a:gd name="T94" fmla="*/ 195 w 411"/>
              <a:gd name="T95" fmla="*/ 86 h 338"/>
              <a:gd name="T96" fmla="*/ 183 w 411"/>
              <a:gd name="T97" fmla="*/ 114 h 338"/>
              <a:gd name="T98" fmla="*/ 169 w 411"/>
              <a:gd name="T99" fmla="*/ 136 h 338"/>
              <a:gd name="T100" fmla="*/ 153 w 411"/>
              <a:gd name="T101" fmla="*/ 154 h 338"/>
              <a:gd name="T102" fmla="*/ 149 w 411"/>
              <a:gd name="T103" fmla="*/ 184 h 338"/>
              <a:gd name="T104" fmla="*/ 113 w 411"/>
              <a:gd name="T105" fmla="*/ 198 h 338"/>
              <a:gd name="T106" fmla="*/ 125 w 411"/>
              <a:gd name="T107" fmla="*/ 254 h 338"/>
              <a:gd name="T108" fmla="*/ 113 w 411"/>
              <a:gd name="T109" fmla="*/ 268 h 338"/>
              <a:gd name="T110" fmla="*/ 121 w 411"/>
              <a:gd name="T111" fmla="*/ 288 h 338"/>
              <a:gd name="T112" fmla="*/ 113 w 411"/>
              <a:gd name="T113" fmla="*/ 312 h 3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11" h="338">
                <a:moveTo>
                  <a:pt x="96" y="314"/>
                </a:moveTo>
                <a:lnTo>
                  <a:pt x="92" y="310"/>
                </a:lnTo>
                <a:lnTo>
                  <a:pt x="88" y="300"/>
                </a:lnTo>
                <a:lnTo>
                  <a:pt x="82" y="312"/>
                </a:lnTo>
                <a:lnTo>
                  <a:pt x="74" y="316"/>
                </a:lnTo>
                <a:lnTo>
                  <a:pt x="62" y="328"/>
                </a:lnTo>
                <a:lnTo>
                  <a:pt x="42" y="338"/>
                </a:lnTo>
                <a:lnTo>
                  <a:pt x="24" y="334"/>
                </a:lnTo>
                <a:lnTo>
                  <a:pt x="12" y="324"/>
                </a:lnTo>
                <a:lnTo>
                  <a:pt x="10" y="316"/>
                </a:lnTo>
                <a:lnTo>
                  <a:pt x="18" y="306"/>
                </a:lnTo>
                <a:lnTo>
                  <a:pt x="16" y="302"/>
                </a:lnTo>
                <a:lnTo>
                  <a:pt x="6" y="304"/>
                </a:lnTo>
                <a:lnTo>
                  <a:pt x="4" y="296"/>
                </a:lnTo>
                <a:lnTo>
                  <a:pt x="18" y="286"/>
                </a:lnTo>
                <a:lnTo>
                  <a:pt x="8" y="280"/>
                </a:lnTo>
                <a:lnTo>
                  <a:pt x="4" y="272"/>
                </a:lnTo>
                <a:lnTo>
                  <a:pt x="0" y="250"/>
                </a:lnTo>
                <a:lnTo>
                  <a:pt x="4" y="240"/>
                </a:lnTo>
                <a:lnTo>
                  <a:pt x="26" y="230"/>
                </a:lnTo>
                <a:lnTo>
                  <a:pt x="42" y="226"/>
                </a:lnTo>
                <a:lnTo>
                  <a:pt x="56" y="220"/>
                </a:lnTo>
                <a:lnTo>
                  <a:pt x="62" y="208"/>
                </a:lnTo>
                <a:lnTo>
                  <a:pt x="70" y="208"/>
                </a:lnTo>
                <a:lnTo>
                  <a:pt x="84" y="210"/>
                </a:lnTo>
                <a:lnTo>
                  <a:pt x="98" y="202"/>
                </a:lnTo>
                <a:lnTo>
                  <a:pt x="94" y="194"/>
                </a:lnTo>
                <a:lnTo>
                  <a:pt x="84" y="204"/>
                </a:lnTo>
                <a:lnTo>
                  <a:pt x="74" y="202"/>
                </a:lnTo>
                <a:lnTo>
                  <a:pt x="92" y="184"/>
                </a:lnTo>
                <a:lnTo>
                  <a:pt x="103" y="178"/>
                </a:lnTo>
                <a:lnTo>
                  <a:pt x="113" y="164"/>
                </a:lnTo>
                <a:lnTo>
                  <a:pt x="127" y="140"/>
                </a:lnTo>
                <a:lnTo>
                  <a:pt x="137" y="134"/>
                </a:lnTo>
                <a:lnTo>
                  <a:pt x="137" y="122"/>
                </a:lnTo>
                <a:lnTo>
                  <a:pt x="157" y="106"/>
                </a:lnTo>
                <a:lnTo>
                  <a:pt x="167" y="100"/>
                </a:lnTo>
                <a:lnTo>
                  <a:pt x="175" y="86"/>
                </a:lnTo>
                <a:lnTo>
                  <a:pt x="183" y="86"/>
                </a:lnTo>
                <a:lnTo>
                  <a:pt x="185" y="72"/>
                </a:lnTo>
                <a:lnTo>
                  <a:pt x="175" y="78"/>
                </a:lnTo>
                <a:lnTo>
                  <a:pt x="163" y="78"/>
                </a:lnTo>
                <a:lnTo>
                  <a:pt x="161" y="72"/>
                </a:lnTo>
                <a:lnTo>
                  <a:pt x="165" y="62"/>
                </a:lnTo>
                <a:lnTo>
                  <a:pt x="175" y="56"/>
                </a:lnTo>
                <a:lnTo>
                  <a:pt x="183" y="64"/>
                </a:lnTo>
                <a:lnTo>
                  <a:pt x="201" y="68"/>
                </a:lnTo>
                <a:lnTo>
                  <a:pt x="203" y="60"/>
                </a:lnTo>
                <a:lnTo>
                  <a:pt x="193" y="54"/>
                </a:lnTo>
                <a:lnTo>
                  <a:pt x="199" y="44"/>
                </a:lnTo>
                <a:lnTo>
                  <a:pt x="217" y="48"/>
                </a:lnTo>
                <a:lnTo>
                  <a:pt x="225" y="30"/>
                </a:lnTo>
                <a:lnTo>
                  <a:pt x="237" y="30"/>
                </a:lnTo>
                <a:lnTo>
                  <a:pt x="243" y="40"/>
                </a:lnTo>
                <a:lnTo>
                  <a:pt x="257" y="32"/>
                </a:lnTo>
                <a:lnTo>
                  <a:pt x="267" y="38"/>
                </a:lnTo>
                <a:lnTo>
                  <a:pt x="273" y="26"/>
                </a:lnTo>
                <a:lnTo>
                  <a:pt x="285" y="24"/>
                </a:lnTo>
                <a:lnTo>
                  <a:pt x="285" y="34"/>
                </a:lnTo>
                <a:lnTo>
                  <a:pt x="291" y="36"/>
                </a:lnTo>
                <a:lnTo>
                  <a:pt x="295" y="16"/>
                </a:lnTo>
                <a:lnTo>
                  <a:pt x="309" y="16"/>
                </a:lnTo>
                <a:lnTo>
                  <a:pt x="329" y="0"/>
                </a:lnTo>
                <a:lnTo>
                  <a:pt x="337" y="4"/>
                </a:lnTo>
                <a:lnTo>
                  <a:pt x="319" y="22"/>
                </a:lnTo>
                <a:lnTo>
                  <a:pt x="319" y="32"/>
                </a:lnTo>
                <a:lnTo>
                  <a:pt x="343" y="10"/>
                </a:lnTo>
                <a:lnTo>
                  <a:pt x="343" y="22"/>
                </a:lnTo>
                <a:lnTo>
                  <a:pt x="359" y="4"/>
                </a:lnTo>
                <a:lnTo>
                  <a:pt x="373" y="6"/>
                </a:lnTo>
                <a:lnTo>
                  <a:pt x="369" y="20"/>
                </a:lnTo>
                <a:lnTo>
                  <a:pt x="387" y="10"/>
                </a:lnTo>
                <a:lnTo>
                  <a:pt x="411" y="20"/>
                </a:lnTo>
                <a:lnTo>
                  <a:pt x="401" y="32"/>
                </a:lnTo>
                <a:lnTo>
                  <a:pt x="381" y="30"/>
                </a:lnTo>
                <a:lnTo>
                  <a:pt x="397" y="44"/>
                </a:lnTo>
                <a:lnTo>
                  <a:pt x="397" y="50"/>
                </a:lnTo>
                <a:lnTo>
                  <a:pt x="387" y="52"/>
                </a:lnTo>
                <a:lnTo>
                  <a:pt x="377" y="38"/>
                </a:lnTo>
                <a:lnTo>
                  <a:pt x="355" y="30"/>
                </a:lnTo>
                <a:lnTo>
                  <a:pt x="335" y="42"/>
                </a:lnTo>
                <a:lnTo>
                  <a:pt x="333" y="44"/>
                </a:lnTo>
                <a:lnTo>
                  <a:pt x="329" y="60"/>
                </a:lnTo>
                <a:lnTo>
                  <a:pt x="317" y="72"/>
                </a:lnTo>
                <a:lnTo>
                  <a:pt x="303" y="70"/>
                </a:lnTo>
                <a:lnTo>
                  <a:pt x="275" y="68"/>
                </a:lnTo>
                <a:lnTo>
                  <a:pt x="267" y="58"/>
                </a:lnTo>
                <a:lnTo>
                  <a:pt x="261" y="52"/>
                </a:lnTo>
                <a:lnTo>
                  <a:pt x="251" y="60"/>
                </a:lnTo>
                <a:lnTo>
                  <a:pt x="241" y="62"/>
                </a:lnTo>
                <a:lnTo>
                  <a:pt x="241" y="78"/>
                </a:lnTo>
                <a:lnTo>
                  <a:pt x="227" y="78"/>
                </a:lnTo>
                <a:lnTo>
                  <a:pt x="227" y="70"/>
                </a:lnTo>
                <a:lnTo>
                  <a:pt x="213" y="72"/>
                </a:lnTo>
                <a:lnTo>
                  <a:pt x="213" y="84"/>
                </a:lnTo>
                <a:lnTo>
                  <a:pt x="195" y="86"/>
                </a:lnTo>
                <a:lnTo>
                  <a:pt x="183" y="102"/>
                </a:lnTo>
                <a:lnTo>
                  <a:pt x="183" y="114"/>
                </a:lnTo>
                <a:lnTo>
                  <a:pt x="171" y="124"/>
                </a:lnTo>
                <a:lnTo>
                  <a:pt x="169" y="136"/>
                </a:lnTo>
                <a:lnTo>
                  <a:pt x="155" y="140"/>
                </a:lnTo>
                <a:lnTo>
                  <a:pt x="153" y="154"/>
                </a:lnTo>
                <a:lnTo>
                  <a:pt x="143" y="170"/>
                </a:lnTo>
                <a:lnTo>
                  <a:pt x="149" y="184"/>
                </a:lnTo>
                <a:lnTo>
                  <a:pt x="145" y="188"/>
                </a:lnTo>
                <a:lnTo>
                  <a:pt x="113" y="198"/>
                </a:lnTo>
                <a:lnTo>
                  <a:pt x="113" y="248"/>
                </a:lnTo>
                <a:lnTo>
                  <a:pt x="125" y="254"/>
                </a:lnTo>
                <a:lnTo>
                  <a:pt x="127" y="266"/>
                </a:lnTo>
                <a:lnTo>
                  <a:pt x="113" y="268"/>
                </a:lnTo>
                <a:lnTo>
                  <a:pt x="125" y="276"/>
                </a:lnTo>
                <a:lnTo>
                  <a:pt x="121" y="288"/>
                </a:lnTo>
                <a:lnTo>
                  <a:pt x="113" y="296"/>
                </a:lnTo>
                <a:lnTo>
                  <a:pt x="113" y="312"/>
                </a:lnTo>
                <a:lnTo>
                  <a:pt x="96" y="314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47" name="Freeform 184">
            <a:extLst>
              <a:ext uri="{FF2B5EF4-FFF2-40B4-BE49-F238E27FC236}">
                <a16:creationId xmlns:a16="http://schemas.microsoft.com/office/drawing/2014/main" id="{17EF5C07-A304-4F14-A7D1-94AB7959BE22}"/>
              </a:ext>
            </a:extLst>
          </p:cNvPr>
          <p:cNvSpPr>
            <a:spLocks/>
          </p:cNvSpPr>
          <p:nvPr/>
        </p:nvSpPr>
        <p:spPr bwMode="gray">
          <a:xfrm>
            <a:off x="2883923" y="1681773"/>
            <a:ext cx="50837" cy="29375"/>
          </a:xfrm>
          <a:custGeom>
            <a:avLst/>
            <a:gdLst>
              <a:gd name="T0" fmla="*/ 16 w 70"/>
              <a:gd name="T1" fmla="*/ 36 h 44"/>
              <a:gd name="T2" fmla="*/ 28 w 70"/>
              <a:gd name="T3" fmla="*/ 36 h 44"/>
              <a:gd name="T4" fmla="*/ 40 w 70"/>
              <a:gd name="T5" fmla="*/ 40 h 44"/>
              <a:gd name="T6" fmla="*/ 52 w 70"/>
              <a:gd name="T7" fmla="*/ 44 h 44"/>
              <a:gd name="T8" fmla="*/ 62 w 70"/>
              <a:gd name="T9" fmla="*/ 44 h 44"/>
              <a:gd name="T10" fmla="*/ 64 w 70"/>
              <a:gd name="T11" fmla="*/ 32 h 44"/>
              <a:gd name="T12" fmla="*/ 64 w 70"/>
              <a:gd name="T13" fmla="*/ 16 h 44"/>
              <a:gd name="T14" fmla="*/ 70 w 70"/>
              <a:gd name="T15" fmla="*/ 4 h 44"/>
              <a:gd name="T16" fmla="*/ 54 w 70"/>
              <a:gd name="T17" fmla="*/ 6 h 44"/>
              <a:gd name="T18" fmla="*/ 40 w 70"/>
              <a:gd name="T19" fmla="*/ 0 h 44"/>
              <a:gd name="T20" fmla="*/ 18 w 70"/>
              <a:gd name="T21" fmla="*/ 4 h 44"/>
              <a:gd name="T22" fmla="*/ 2 w 70"/>
              <a:gd name="T23" fmla="*/ 8 h 44"/>
              <a:gd name="T24" fmla="*/ 0 w 70"/>
              <a:gd name="T25" fmla="*/ 20 h 44"/>
              <a:gd name="T26" fmla="*/ 6 w 70"/>
              <a:gd name="T27" fmla="*/ 30 h 44"/>
              <a:gd name="T28" fmla="*/ 14 w 70"/>
              <a:gd name="T29" fmla="*/ 30 h 44"/>
              <a:gd name="T30" fmla="*/ 16 w 70"/>
              <a:gd name="T31" fmla="*/ 36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70" h="44">
                <a:moveTo>
                  <a:pt x="16" y="36"/>
                </a:moveTo>
                <a:lnTo>
                  <a:pt x="28" y="36"/>
                </a:lnTo>
                <a:lnTo>
                  <a:pt x="40" y="40"/>
                </a:lnTo>
                <a:lnTo>
                  <a:pt x="52" y="44"/>
                </a:lnTo>
                <a:lnTo>
                  <a:pt x="62" y="44"/>
                </a:lnTo>
                <a:lnTo>
                  <a:pt x="64" y="32"/>
                </a:lnTo>
                <a:lnTo>
                  <a:pt x="64" y="16"/>
                </a:lnTo>
                <a:lnTo>
                  <a:pt x="70" y="4"/>
                </a:lnTo>
                <a:lnTo>
                  <a:pt x="54" y="6"/>
                </a:lnTo>
                <a:lnTo>
                  <a:pt x="40" y="0"/>
                </a:lnTo>
                <a:lnTo>
                  <a:pt x="18" y="4"/>
                </a:lnTo>
                <a:lnTo>
                  <a:pt x="2" y="8"/>
                </a:lnTo>
                <a:lnTo>
                  <a:pt x="0" y="20"/>
                </a:lnTo>
                <a:lnTo>
                  <a:pt x="6" y="30"/>
                </a:lnTo>
                <a:lnTo>
                  <a:pt x="14" y="30"/>
                </a:lnTo>
                <a:lnTo>
                  <a:pt x="16" y="3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48" name="Freeform 185">
            <a:extLst>
              <a:ext uri="{FF2B5EF4-FFF2-40B4-BE49-F238E27FC236}">
                <a16:creationId xmlns:a16="http://schemas.microsoft.com/office/drawing/2014/main" id="{B8F70816-E7A8-4A37-A638-BB54B01C24DB}"/>
              </a:ext>
            </a:extLst>
          </p:cNvPr>
          <p:cNvSpPr>
            <a:spLocks/>
          </p:cNvSpPr>
          <p:nvPr/>
        </p:nvSpPr>
        <p:spPr bwMode="gray">
          <a:xfrm>
            <a:off x="2854873" y="1705807"/>
            <a:ext cx="84244" cy="36051"/>
          </a:xfrm>
          <a:custGeom>
            <a:avLst/>
            <a:gdLst>
              <a:gd name="T0" fmla="*/ 26 w 116"/>
              <a:gd name="T1" fmla="*/ 12 h 54"/>
              <a:gd name="T2" fmla="*/ 36 w 116"/>
              <a:gd name="T3" fmla="*/ 18 h 54"/>
              <a:gd name="T4" fmla="*/ 46 w 116"/>
              <a:gd name="T5" fmla="*/ 24 h 54"/>
              <a:gd name="T6" fmla="*/ 54 w 116"/>
              <a:gd name="T7" fmla="*/ 18 h 54"/>
              <a:gd name="T8" fmla="*/ 56 w 116"/>
              <a:gd name="T9" fmla="*/ 8 h 54"/>
              <a:gd name="T10" fmla="*/ 56 w 116"/>
              <a:gd name="T11" fmla="*/ 0 h 54"/>
              <a:gd name="T12" fmla="*/ 68 w 116"/>
              <a:gd name="T13" fmla="*/ 0 h 54"/>
              <a:gd name="T14" fmla="*/ 80 w 116"/>
              <a:gd name="T15" fmla="*/ 4 h 54"/>
              <a:gd name="T16" fmla="*/ 88 w 116"/>
              <a:gd name="T17" fmla="*/ 6 h 54"/>
              <a:gd name="T18" fmla="*/ 102 w 116"/>
              <a:gd name="T19" fmla="*/ 8 h 54"/>
              <a:gd name="T20" fmla="*/ 104 w 116"/>
              <a:gd name="T21" fmla="*/ 12 h 54"/>
              <a:gd name="T22" fmla="*/ 108 w 116"/>
              <a:gd name="T23" fmla="*/ 20 h 54"/>
              <a:gd name="T24" fmla="*/ 112 w 116"/>
              <a:gd name="T25" fmla="*/ 36 h 54"/>
              <a:gd name="T26" fmla="*/ 116 w 116"/>
              <a:gd name="T27" fmla="*/ 42 h 54"/>
              <a:gd name="T28" fmla="*/ 104 w 116"/>
              <a:gd name="T29" fmla="*/ 50 h 54"/>
              <a:gd name="T30" fmla="*/ 90 w 116"/>
              <a:gd name="T31" fmla="*/ 54 h 54"/>
              <a:gd name="T32" fmla="*/ 62 w 116"/>
              <a:gd name="T33" fmla="*/ 36 h 54"/>
              <a:gd name="T34" fmla="*/ 10 w 116"/>
              <a:gd name="T35" fmla="*/ 38 h 54"/>
              <a:gd name="T36" fmla="*/ 0 w 116"/>
              <a:gd name="T37" fmla="*/ 40 h 54"/>
              <a:gd name="T38" fmla="*/ 0 w 116"/>
              <a:gd name="T39" fmla="*/ 30 h 54"/>
              <a:gd name="T40" fmla="*/ 8 w 116"/>
              <a:gd name="T41" fmla="*/ 20 h 54"/>
              <a:gd name="T42" fmla="*/ 14 w 116"/>
              <a:gd name="T43" fmla="*/ 10 h 54"/>
              <a:gd name="T44" fmla="*/ 26 w 116"/>
              <a:gd name="T45" fmla="*/ 12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16" h="54">
                <a:moveTo>
                  <a:pt x="26" y="12"/>
                </a:moveTo>
                <a:lnTo>
                  <a:pt x="36" y="18"/>
                </a:lnTo>
                <a:lnTo>
                  <a:pt x="46" y="24"/>
                </a:lnTo>
                <a:lnTo>
                  <a:pt x="54" y="18"/>
                </a:lnTo>
                <a:lnTo>
                  <a:pt x="56" y="8"/>
                </a:lnTo>
                <a:lnTo>
                  <a:pt x="56" y="0"/>
                </a:lnTo>
                <a:lnTo>
                  <a:pt x="68" y="0"/>
                </a:lnTo>
                <a:lnTo>
                  <a:pt x="80" y="4"/>
                </a:lnTo>
                <a:lnTo>
                  <a:pt x="88" y="6"/>
                </a:lnTo>
                <a:lnTo>
                  <a:pt x="102" y="8"/>
                </a:lnTo>
                <a:lnTo>
                  <a:pt x="104" y="12"/>
                </a:lnTo>
                <a:lnTo>
                  <a:pt x="108" y="20"/>
                </a:lnTo>
                <a:lnTo>
                  <a:pt x="112" y="36"/>
                </a:lnTo>
                <a:lnTo>
                  <a:pt x="116" y="42"/>
                </a:lnTo>
                <a:lnTo>
                  <a:pt x="104" y="50"/>
                </a:lnTo>
                <a:lnTo>
                  <a:pt x="90" y="54"/>
                </a:lnTo>
                <a:lnTo>
                  <a:pt x="62" y="36"/>
                </a:lnTo>
                <a:lnTo>
                  <a:pt x="10" y="38"/>
                </a:lnTo>
                <a:lnTo>
                  <a:pt x="0" y="40"/>
                </a:lnTo>
                <a:lnTo>
                  <a:pt x="0" y="30"/>
                </a:lnTo>
                <a:lnTo>
                  <a:pt x="8" y="20"/>
                </a:lnTo>
                <a:lnTo>
                  <a:pt x="14" y="10"/>
                </a:lnTo>
                <a:lnTo>
                  <a:pt x="26" y="1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49" name="Freeform 186">
            <a:extLst>
              <a:ext uri="{FF2B5EF4-FFF2-40B4-BE49-F238E27FC236}">
                <a16:creationId xmlns:a16="http://schemas.microsoft.com/office/drawing/2014/main" id="{46EA06E3-9C49-4AA1-8C3B-D04E2E1234BE}"/>
              </a:ext>
            </a:extLst>
          </p:cNvPr>
          <p:cNvSpPr>
            <a:spLocks/>
          </p:cNvSpPr>
          <p:nvPr/>
        </p:nvSpPr>
        <p:spPr bwMode="gray">
          <a:xfrm>
            <a:off x="2854873" y="1729841"/>
            <a:ext cx="65362" cy="36051"/>
          </a:xfrm>
          <a:custGeom>
            <a:avLst/>
            <a:gdLst>
              <a:gd name="T0" fmla="*/ 0 w 90"/>
              <a:gd name="T1" fmla="*/ 4 h 54"/>
              <a:gd name="T2" fmla="*/ 10 w 90"/>
              <a:gd name="T3" fmla="*/ 2 h 54"/>
              <a:gd name="T4" fmla="*/ 62 w 90"/>
              <a:gd name="T5" fmla="*/ 0 h 54"/>
              <a:gd name="T6" fmla="*/ 90 w 90"/>
              <a:gd name="T7" fmla="*/ 18 h 54"/>
              <a:gd name="T8" fmla="*/ 90 w 90"/>
              <a:gd name="T9" fmla="*/ 30 h 54"/>
              <a:gd name="T10" fmla="*/ 76 w 90"/>
              <a:gd name="T11" fmla="*/ 34 h 54"/>
              <a:gd name="T12" fmla="*/ 74 w 90"/>
              <a:gd name="T13" fmla="*/ 50 h 54"/>
              <a:gd name="T14" fmla="*/ 58 w 90"/>
              <a:gd name="T15" fmla="*/ 52 h 54"/>
              <a:gd name="T16" fmla="*/ 38 w 90"/>
              <a:gd name="T17" fmla="*/ 54 h 54"/>
              <a:gd name="T18" fmla="*/ 28 w 90"/>
              <a:gd name="T19" fmla="*/ 44 h 54"/>
              <a:gd name="T20" fmla="*/ 30 w 90"/>
              <a:gd name="T21" fmla="*/ 34 h 54"/>
              <a:gd name="T22" fmla="*/ 20 w 90"/>
              <a:gd name="T23" fmla="*/ 30 h 54"/>
              <a:gd name="T24" fmla="*/ 4 w 90"/>
              <a:gd name="T25" fmla="*/ 26 h 54"/>
              <a:gd name="T26" fmla="*/ 0 w 90"/>
              <a:gd name="T27" fmla="*/ 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0" h="54">
                <a:moveTo>
                  <a:pt x="0" y="4"/>
                </a:moveTo>
                <a:lnTo>
                  <a:pt x="10" y="2"/>
                </a:lnTo>
                <a:lnTo>
                  <a:pt x="62" y="0"/>
                </a:lnTo>
                <a:lnTo>
                  <a:pt x="90" y="18"/>
                </a:lnTo>
                <a:lnTo>
                  <a:pt x="90" y="30"/>
                </a:lnTo>
                <a:lnTo>
                  <a:pt x="76" y="34"/>
                </a:lnTo>
                <a:lnTo>
                  <a:pt x="74" y="50"/>
                </a:lnTo>
                <a:lnTo>
                  <a:pt x="58" y="52"/>
                </a:lnTo>
                <a:lnTo>
                  <a:pt x="38" y="54"/>
                </a:lnTo>
                <a:lnTo>
                  <a:pt x="28" y="44"/>
                </a:lnTo>
                <a:lnTo>
                  <a:pt x="30" y="34"/>
                </a:lnTo>
                <a:lnTo>
                  <a:pt x="20" y="30"/>
                </a:lnTo>
                <a:lnTo>
                  <a:pt x="4" y="26"/>
                </a:lnTo>
                <a:lnTo>
                  <a:pt x="0" y="4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50" name="Freeform 187">
            <a:extLst>
              <a:ext uri="{FF2B5EF4-FFF2-40B4-BE49-F238E27FC236}">
                <a16:creationId xmlns:a16="http://schemas.microsoft.com/office/drawing/2014/main" id="{DBF9C832-138B-4BFE-86A1-43669AD1DA1B}"/>
              </a:ext>
            </a:extLst>
          </p:cNvPr>
          <p:cNvSpPr>
            <a:spLocks/>
          </p:cNvSpPr>
          <p:nvPr/>
        </p:nvSpPr>
        <p:spPr bwMode="gray">
          <a:xfrm>
            <a:off x="2838896" y="1747199"/>
            <a:ext cx="37764" cy="13352"/>
          </a:xfrm>
          <a:custGeom>
            <a:avLst/>
            <a:gdLst>
              <a:gd name="T0" fmla="*/ 0 w 52"/>
              <a:gd name="T1" fmla="*/ 12 h 20"/>
              <a:gd name="T2" fmla="*/ 4 w 52"/>
              <a:gd name="T3" fmla="*/ 20 h 20"/>
              <a:gd name="T4" fmla="*/ 50 w 52"/>
              <a:gd name="T5" fmla="*/ 18 h 20"/>
              <a:gd name="T6" fmla="*/ 52 w 52"/>
              <a:gd name="T7" fmla="*/ 8 h 20"/>
              <a:gd name="T8" fmla="*/ 30 w 52"/>
              <a:gd name="T9" fmla="*/ 0 h 20"/>
              <a:gd name="T10" fmla="*/ 24 w 52"/>
              <a:gd name="T11" fmla="*/ 8 h 20"/>
              <a:gd name="T12" fmla="*/ 8 w 52"/>
              <a:gd name="T13" fmla="*/ 6 h 20"/>
              <a:gd name="T14" fmla="*/ 6 w 52"/>
              <a:gd name="T15" fmla="*/ 12 h 20"/>
              <a:gd name="T16" fmla="*/ 0 w 52"/>
              <a:gd name="T17" fmla="*/ 12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2" h="20">
                <a:moveTo>
                  <a:pt x="0" y="12"/>
                </a:moveTo>
                <a:lnTo>
                  <a:pt x="4" y="20"/>
                </a:lnTo>
                <a:lnTo>
                  <a:pt x="50" y="18"/>
                </a:lnTo>
                <a:lnTo>
                  <a:pt x="52" y="8"/>
                </a:lnTo>
                <a:lnTo>
                  <a:pt x="30" y="0"/>
                </a:lnTo>
                <a:lnTo>
                  <a:pt x="24" y="8"/>
                </a:lnTo>
                <a:lnTo>
                  <a:pt x="8" y="6"/>
                </a:lnTo>
                <a:lnTo>
                  <a:pt x="6" y="12"/>
                </a:lnTo>
                <a:lnTo>
                  <a:pt x="0" y="1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51" name="Freeform 188">
            <a:extLst>
              <a:ext uri="{FF2B5EF4-FFF2-40B4-BE49-F238E27FC236}">
                <a16:creationId xmlns:a16="http://schemas.microsoft.com/office/drawing/2014/main" id="{A670A9BF-F9DF-42E7-91A8-D6E344C5F280}"/>
              </a:ext>
            </a:extLst>
          </p:cNvPr>
          <p:cNvSpPr>
            <a:spLocks/>
          </p:cNvSpPr>
          <p:nvPr/>
        </p:nvSpPr>
        <p:spPr bwMode="gray">
          <a:xfrm>
            <a:off x="2881018" y="1733847"/>
            <a:ext cx="108936" cy="70767"/>
          </a:xfrm>
          <a:custGeom>
            <a:avLst/>
            <a:gdLst>
              <a:gd name="T0" fmla="*/ 2 w 150"/>
              <a:gd name="T1" fmla="*/ 48 h 106"/>
              <a:gd name="T2" fmla="*/ 24 w 150"/>
              <a:gd name="T3" fmla="*/ 44 h 106"/>
              <a:gd name="T4" fmla="*/ 38 w 150"/>
              <a:gd name="T5" fmla="*/ 44 h 106"/>
              <a:gd name="T6" fmla="*/ 40 w 150"/>
              <a:gd name="T7" fmla="*/ 28 h 106"/>
              <a:gd name="T8" fmla="*/ 54 w 150"/>
              <a:gd name="T9" fmla="*/ 24 h 106"/>
              <a:gd name="T10" fmla="*/ 54 w 150"/>
              <a:gd name="T11" fmla="*/ 12 h 106"/>
              <a:gd name="T12" fmla="*/ 68 w 150"/>
              <a:gd name="T13" fmla="*/ 8 h 106"/>
              <a:gd name="T14" fmla="*/ 80 w 150"/>
              <a:gd name="T15" fmla="*/ 0 h 106"/>
              <a:gd name="T16" fmla="*/ 98 w 150"/>
              <a:gd name="T17" fmla="*/ 4 h 106"/>
              <a:gd name="T18" fmla="*/ 98 w 150"/>
              <a:gd name="T19" fmla="*/ 10 h 106"/>
              <a:gd name="T20" fmla="*/ 118 w 150"/>
              <a:gd name="T21" fmla="*/ 12 h 106"/>
              <a:gd name="T22" fmla="*/ 122 w 150"/>
              <a:gd name="T23" fmla="*/ 34 h 106"/>
              <a:gd name="T24" fmla="*/ 150 w 150"/>
              <a:gd name="T25" fmla="*/ 64 h 106"/>
              <a:gd name="T26" fmla="*/ 148 w 150"/>
              <a:gd name="T27" fmla="*/ 66 h 106"/>
              <a:gd name="T28" fmla="*/ 130 w 150"/>
              <a:gd name="T29" fmla="*/ 66 h 106"/>
              <a:gd name="T30" fmla="*/ 130 w 150"/>
              <a:gd name="T31" fmla="*/ 86 h 106"/>
              <a:gd name="T32" fmla="*/ 118 w 150"/>
              <a:gd name="T33" fmla="*/ 88 h 106"/>
              <a:gd name="T34" fmla="*/ 114 w 150"/>
              <a:gd name="T35" fmla="*/ 106 h 106"/>
              <a:gd name="T36" fmla="*/ 94 w 150"/>
              <a:gd name="T37" fmla="*/ 104 h 106"/>
              <a:gd name="T38" fmla="*/ 92 w 150"/>
              <a:gd name="T39" fmla="*/ 98 h 106"/>
              <a:gd name="T40" fmla="*/ 64 w 150"/>
              <a:gd name="T41" fmla="*/ 98 h 106"/>
              <a:gd name="T42" fmla="*/ 46 w 150"/>
              <a:gd name="T43" fmla="*/ 94 h 106"/>
              <a:gd name="T44" fmla="*/ 16 w 150"/>
              <a:gd name="T45" fmla="*/ 88 h 106"/>
              <a:gd name="T46" fmla="*/ 6 w 150"/>
              <a:gd name="T47" fmla="*/ 102 h 106"/>
              <a:gd name="T48" fmla="*/ 6 w 150"/>
              <a:gd name="T49" fmla="*/ 88 h 106"/>
              <a:gd name="T50" fmla="*/ 0 w 150"/>
              <a:gd name="T51" fmla="*/ 84 h 106"/>
              <a:gd name="T52" fmla="*/ 2 w 150"/>
              <a:gd name="T53" fmla="*/ 78 h 106"/>
              <a:gd name="T54" fmla="*/ 10 w 150"/>
              <a:gd name="T55" fmla="*/ 78 h 106"/>
              <a:gd name="T56" fmla="*/ 10 w 150"/>
              <a:gd name="T57" fmla="*/ 64 h 106"/>
              <a:gd name="T58" fmla="*/ 6 w 150"/>
              <a:gd name="T59" fmla="*/ 60 h 106"/>
              <a:gd name="T60" fmla="*/ 2 w 150"/>
              <a:gd name="T61" fmla="*/ 48 h 1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50" h="106">
                <a:moveTo>
                  <a:pt x="2" y="48"/>
                </a:moveTo>
                <a:lnTo>
                  <a:pt x="24" y="44"/>
                </a:lnTo>
                <a:lnTo>
                  <a:pt x="38" y="44"/>
                </a:lnTo>
                <a:lnTo>
                  <a:pt x="40" y="28"/>
                </a:lnTo>
                <a:lnTo>
                  <a:pt x="54" y="24"/>
                </a:lnTo>
                <a:lnTo>
                  <a:pt x="54" y="12"/>
                </a:lnTo>
                <a:lnTo>
                  <a:pt x="68" y="8"/>
                </a:lnTo>
                <a:lnTo>
                  <a:pt x="80" y="0"/>
                </a:lnTo>
                <a:lnTo>
                  <a:pt x="98" y="4"/>
                </a:lnTo>
                <a:lnTo>
                  <a:pt x="98" y="10"/>
                </a:lnTo>
                <a:lnTo>
                  <a:pt x="118" y="12"/>
                </a:lnTo>
                <a:lnTo>
                  <a:pt x="122" y="34"/>
                </a:lnTo>
                <a:lnTo>
                  <a:pt x="150" y="64"/>
                </a:lnTo>
                <a:lnTo>
                  <a:pt x="148" y="66"/>
                </a:lnTo>
                <a:lnTo>
                  <a:pt x="130" y="66"/>
                </a:lnTo>
                <a:lnTo>
                  <a:pt x="130" y="86"/>
                </a:lnTo>
                <a:lnTo>
                  <a:pt x="118" y="88"/>
                </a:lnTo>
                <a:lnTo>
                  <a:pt x="114" y="106"/>
                </a:lnTo>
                <a:lnTo>
                  <a:pt x="94" y="104"/>
                </a:lnTo>
                <a:lnTo>
                  <a:pt x="92" y="98"/>
                </a:lnTo>
                <a:lnTo>
                  <a:pt x="64" y="98"/>
                </a:lnTo>
                <a:lnTo>
                  <a:pt x="46" y="94"/>
                </a:lnTo>
                <a:lnTo>
                  <a:pt x="16" y="88"/>
                </a:lnTo>
                <a:lnTo>
                  <a:pt x="6" y="102"/>
                </a:lnTo>
                <a:lnTo>
                  <a:pt x="6" y="88"/>
                </a:lnTo>
                <a:lnTo>
                  <a:pt x="0" y="84"/>
                </a:lnTo>
                <a:lnTo>
                  <a:pt x="2" y="78"/>
                </a:lnTo>
                <a:lnTo>
                  <a:pt x="10" y="78"/>
                </a:lnTo>
                <a:lnTo>
                  <a:pt x="10" y="64"/>
                </a:lnTo>
                <a:lnTo>
                  <a:pt x="6" y="60"/>
                </a:lnTo>
                <a:lnTo>
                  <a:pt x="2" y="48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52" name="Freeform 189">
            <a:extLst>
              <a:ext uri="{FF2B5EF4-FFF2-40B4-BE49-F238E27FC236}">
                <a16:creationId xmlns:a16="http://schemas.microsoft.com/office/drawing/2014/main" id="{6186D1C0-B306-403D-9846-0DE8BC2DA06C}"/>
              </a:ext>
            </a:extLst>
          </p:cNvPr>
          <p:cNvSpPr>
            <a:spLocks/>
          </p:cNvSpPr>
          <p:nvPr/>
        </p:nvSpPr>
        <p:spPr bwMode="gray">
          <a:xfrm>
            <a:off x="2543316" y="1695125"/>
            <a:ext cx="91506" cy="128181"/>
          </a:xfrm>
          <a:custGeom>
            <a:avLst/>
            <a:gdLst>
              <a:gd name="T0" fmla="*/ 38 w 126"/>
              <a:gd name="T1" fmla="*/ 84 h 192"/>
              <a:gd name="T2" fmla="*/ 16 w 126"/>
              <a:gd name="T3" fmla="*/ 90 h 192"/>
              <a:gd name="T4" fmla="*/ 20 w 126"/>
              <a:gd name="T5" fmla="*/ 76 h 192"/>
              <a:gd name="T6" fmla="*/ 14 w 126"/>
              <a:gd name="T7" fmla="*/ 60 h 192"/>
              <a:gd name="T8" fmla="*/ 0 w 126"/>
              <a:gd name="T9" fmla="*/ 60 h 192"/>
              <a:gd name="T10" fmla="*/ 4 w 126"/>
              <a:gd name="T11" fmla="*/ 44 h 192"/>
              <a:gd name="T12" fmla="*/ 2 w 126"/>
              <a:gd name="T13" fmla="*/ 20 h 192"/>
              <a:gd name="T14" fmla="*/ 16 w 126"/>
              <a:gd name="T15" fmla="*/ 0 h 192"/>
              <a:gd name="T16" fmla="*/ 28 w 126"/>
              <a:gd name="T17" fmla="*/ 26 h 192"/>
              <a:gd name="T18" fmla="*/ 60 w 126"/>
              <a:gd name="T19" fmla="*/ 38 h 192"/>
              <a:gd name="T20" fmla="*/ 40 w 126"/>
              <a:gd name="T21" fmla="*/ 58 h 192"/>
              <a:gd name="T22" fmla="*/ 42 w 126"/>
              <a:gd name="T23" fmla="*/ 70 h 192"/>
              <a:gd name="T24" fmla="*/ 66 w 126"/>
              <a:gd name="T25" fmla="*/ 68 h 192"/>
              <a:gd name="T26" fmla="*/ 72 w 126"/>
              <a:gd name="T27" fmla="*/ 90 h 192"/>
              <a:gd name="T28" fmla="*/ 92 w 126"/>
              <a:gd name="T29" fmla="*/ 110 h 192"/>
              <a:gd name="T30" fmla="*/ 98 w 126"/>
              <a:gd name="T31" fmla="*/ 130 h 192"/>
              <a:gd name="T32" fmla="*/ 116 w 126"/>
              <a:gd name="T33" fmla="*/ 130 h 192"/>
              <a:gd name="T34" fmla="*/ 120 w 126"/>
              <a:gd name="T35" fmla="*/ 148 h 192"/>
              <a:gd name="T36" fmla="*/ 102 w 126"/>
              <a:gd name="T37" fmla="*/ 160 h 192"/>
              <a:gd name="T38" fmla="*/ 116 w 126"/>
              <a:gd name="T39" fmla="*/ 166 h 192"/>
              <a:gd name="T40" fmla="*/ 96 w 126"/>
              <a:gd name="T41" fmla="*/ 176 h 192"/>
              <a:gd name="T42" fmla="*/ 38 w 126"/>
              <a:gd name="T43" fmla="*/ 176 h 192"/>
              <a:gd name="T44" fmla="*/ 22 w 126"/>
              <a:gd name="T45" fmla="*/ 184 h 192"/>
              <a:gd name="T46" fmla="*/ 6 w 126"/>
              <a:gd name="T47" fmla="*/ 188 h 192"/>
              <a:gd name="T48" fmla="*/ 34 w 126"/>
              <a:gd name="T49" fmla="*/ 164 h 192"/>
              <a:gd name="T50" fmla="*/ 54 w 126"/>
              <a:gd name="T51" fmla="*/ 162 h 192"/>
              <a:gd name="T52" fmla="*/ 48 w 126"/>
              <a:gd name="T53" fmla="*/ 160 h 192"/>
              <a:gd name="T54" fmla="*/ 30 w 126"/>
              <a:gd name="T55" fmla="*/ 158 h 192"/>
              <a:gd name="T56" fmla="*/ 14 w 126"/>
              <a:gd name="T57" fmla="*/ 158 h 192"/>
              <a:gd name="T58" fmla="*/ 18 w 126"/>
              <a:gd name="T59" fmla="*/ 148 h 192"/>
              <a:gd name="T60" fmla="*/ 34 w 126"/>
              <a:gd name="T61" fmla="*/ 136 h 192"/>
              <a:gd name="T62" fmla="*/ 24 w 126"/>
              <a:gd name="T63" fmla="*/ 128 h 192"/>
              <a:gd name="T64" fmla="*/ 48 w 126"/>
              <a:gd name="T65" fmla="*/ 122 h 192"/>
              <a:gd name="T66" fmla="*/ 52 w 126"/>
              <a:gd name="T67" fmla="*/ 102 h 192"/>
              <a:gd name="T68" fmla="*/ 44 w 126"/>
              <a:gd name="T69" fmla="*/ 86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26" h="192">
                <a:moveTo>
                  <a:pt x="44" y="86"/>
                </a:moveTo>
                <a:lnTo>
                  <a:pt x="38" y="84"/>
                </a:lnTo>
                <a:lnTo>
                  <a:pt x="32" y="92"/>
                </a:lnTo>
                <a:lnTo>
                  <a:pt x="16" y="90"/>
                </a:lnTo>
                <a:lnTo>
                  <a:pt x="14" y="82"/>
                </a:lnTo>
                <a:lnTo>
                  <a:pt x="20" y="76"/>
                </a:lnTo>
                <a:lnTo>
                  <a:pt x="18" y="62"/>
                </a:lnTo>
                <a:lnTo>
                  <a:pt x="14" y="60"/>
                </a:lnTo>
                <a:lnTo>
                  <a:pt x="6" y="64"/>
                </a:lnTo>
                <a:lnTo>
                  <a:pt x="0" y="60"/>
                </a:lnTo>
                <a:lnTo>
                  <a:pt x="10" y="48"/>
                </a:lnTo>
                <a:lnTo>
                  <a:pt x="4" y="44"/>
                </a:lnTo>
                <a:lnTo>
                  <a:pt x="0" y="36"/>
                </a:lnTo>
                <a:lnTo>
                  <a:pt x="2" y="20"/>
                </a:lnTo>
                <a:lnTo>
                  <a:pt x="12" y="20"/>
                </a:lnTo>
                <a:lnTo>
                  <a:pt x="16" y="0"/>
                </a:lnTo>
                <a:lnTo>
                  <a:pt x="44" y="2"/>
                </a:lnTo>
                <a:lnTo>
                  <a:pt x="28" y="26"/>
                </a:lnTo>
                <a:lnTo>
                  <a:pt x="64" y="26"/>
                </a:lnTo>
                <a:lnTo>
                  <a:pt x="60" y="38"/>
                </a:lnTo>
                <a:lnTo>
                  <a:pt x="48" y="50"/>
                </a:lnTo>
                <a:lnTo>
                  <a:pt x="40" y="58"/>
                </a:lnTo>
                <a:lnTo>
                  <a:pt x="36" y="66"/>
                </a:lnTo>
                <a:lnTo>
                  <a:pt x="42" y="70"/>
                </a:lnTo>
                <a:lnTo>
                  <a:pt x="52" y="66"/>
                </a:lnTo>
                <a:lnTo>
                  <a:pt x="66" y="68"/>
                </a:lnTo>
                <a:lnTo>
                  <a:pt x="70" y="78"/>
                </a:lnTo>
                <a:lnTo>
                  <a:pt x="72" y="90"/>
                </a:lnTo>
                <a:lnTo>
                  <a:pt x="84" y="98"/>
                </a:lnTo>
                <a:lnTo>
                  <a:pt x="92" y="110"/>
                </a:lnTo>
                <a:lnTo>
                  <a:pt x="94" y="118"/>
                </a:lnTo>
                <a:lnTo>
                  <a:pt x="98" y="130"/>
                </a:lnTo>
                <a:lnTo>
                  <a:pt x="106" y="132"/>
                </a:lnTo>
                <a:lnTo>
                  <a:pt x="116" y="130"/>
                </a:lnTo>
                <a:lnTo>
                  <a:pt x="126" y="138"/>
                </a:lnTo>
                <a:lnTo>
                  <a:pt x="120" y="148"/>
                </a:lnTo>
                <a:lnTo>
                  <a:pt x="110" y="154"/>
                </a:lnTo>
                <a:lnTo>
                  <a:pt x="102" y="160"/>
                </a:lnTo>
                <a:lnTo>
                  <a:pt x="108" y="162"/>
                </a:lnTo>
                <a:lnTo>
                  <a:pt x="116" y="166"/>
                </a:lnTo>
                <a:lnTo>
                  <a:pt x="108" y="172"/>
                </a:lnTo>
                <a:lnTo>
                  <a:pt x="96" y="176"/>
                </a:lnTo>
                <a:lnTo>
                  <a:pt x="46" y="176"/>
                </a:lnTo>
                <a:lnTo>
                  <a:pt x="38" y="176"/>
                </a:lnTo>
                <a:lnTo>
                  <a:pt x="38" y="184"/>
                </a:lnTo>
                <a:lnTo>
                  <a:pt x="22" y="184"/>
                </a:lnTo>
                <a:lnTo>
                  <a:pt x="10" y="192"/>
                </a:lnTo>
                <a:lnTo>
                  <a:pt x="6" y="188"/>
                </a:lnTo>
                <a:lnTo>
                  <a:pt x="24" y="172"/>
                </a:lnTo>
                <a:lnTo>
                  <a:pt x="34" y="164"/>
                </a:lnTo>
                <a:lnTo>
                  <a:pt x="46" y="164"/>
                </a:lnTo>
                <a:lnTo>
                  <a:pt x="54" y="162"/>
                </a:lnTo>
                <a:lnTo>
                  <a:pt x="56" y="154"/>
                </a:lnTo>
                <a:lnTo>
                  <a:pt x="48" y="160"/>
                </a:lnTo>
                <a:lnTo>
                  <a:pt x="38" y="158"/>
                </a:lnTo>
                <a:lnTo>
                  <a:pt x="30" y="158"/>
                </a:lnTo>
                <a:lnTo>
                  <a:pt x="24" y="154"/>
                </a:lnTo>
                <a:lnTo>
                  <a:pt x="14" y="158"/>
                </a:lnTo>
                <a:lnTo>
                  <a:pt x="10" y="154"/>
                </a:lnTo>
                <a:lnTo>
                  <a:pt x="18" y="148"/>
                </a:lnTo>
                <a:lnTo>
                  <a:pt x="26" y="142"/>
                </a:lnTo>
                <a:lnTo>
                  <a:pt x="34" y="136"/>
                </a:lnTo>
                <a:lnTo>
                  <a:pt x="34" y="130"/>
                </a:lnTo>
                <a:lnTo>
                  <a:pt x="24" y="128"/>
                </a:lnTo>
                <a:lnTo>
                  <a:pt x="24" y="120"/>
                </a:lnTo>
                <a:lnTo>
                  <a:pt x="48" y="122"/>
                </a:lnTo>
                <a:lnTo>
                  <a:pt x="48" y="112"/>
                </a:lnTo>
                <a:lnTo>
                  <a:pt x="52" y="102"/>
                </a:lnTo>
                <a:lnTo>
                  <a:pt x="38" y="94"/>
                </a:lnTo>
                <a:lnTo>
                  <a:pt x="44" y="8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53" name="Freeform 190">
            <a:extLst>
              <a:ext uri="{FF2B5EF4-FFF2-40B4-BE49-F238E27FC236}">
                <a16:creationId xmlns:a16="http://schemas.microsoft.com/office/drawing/2014/main" id="{97A9282F-0103-4C3F-915E-8DC3A315AE79}"/>
              </a:ext>
            </a:extLst>
          </p:cNvPr>
          <p:cNvSpPr>
            <a:spLocks/>
          </p:cNvSpPr>
          <p:nvPr/>
        </p:nvSpPr>
        <p:spPr bwMode="gray">
          <a:xfrm>
            <a:off x="2520076" y="1748534"/>
            <a:ext cx="27597" cy="16023"/>
          </a:xfrm>
          <a:custGeom>
            <a:avLst/>
            <a:gdLst>
              <a:gd name="T0" fmla="*/ 12 w 38"/>
              <a:gd name="T1" fmla="*/ 0 h 24"/>
              <a:gd name="T2" fmla="*/ 30 w 38"/>
              <a:gd name="T3" fmla="*/ 2 h 24"/>
              <a:gd name="T4" fmla="*/ 34 w 38"/>
              <a:gd name="T5" fmla="*/ 8 h 24"/>
              <a:gd name="T6" fmla="*/ 38 w 38"/>
              <a:gd name="T7" fmla="*/ 16 h 24"/>
              <a:gd name="T8" fmla="*/ 34 w 38"/>
              <a:gd name="T9" fmla="*/ 24 h 24"/>
              <a:gd name="T10" fmla="*/ 22 w 38"/>
              <a:gd name="T11" fmla="*/ 24 h 24"/>
              <a:gd name="T12" fmla="*/ 16 w 38"/>
              <a:gd name="T13" fmla="*/ 18 h 24"/>
              <a:gd name="T14" fmla="*/ 8 w 38"/>
              <a:gd name="T15" fmla="*/ 22 h 24"/>
              <a:gd name="T16" fmla="*/ 0 w 38"/>
              <a:gd name="T17" fmla="*/ 18 h 24"/>
              <a:gd name="T18" fmla="*/ 4 w 38"/>
              <a:gd name="T19" fmla="*/ 8 h 24"/>
              <a:gd name="T20" fmla="*/ 12 w 38"/>
              <a:gd name="T21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8" h="24">
                <a:moveTo>
                  <a:pt x="12" y="0"/>
                </a:moveTo>
                <a:lnTo>
                  <a:pt x="30" y="2"/>
                </a:lnTo>
                <a:lnTo>
                  <a:pt x="34" y="8"/>
                </a:lnTo>
                <a:lnTo>
                  <a:pt x="38" y="16"/>
                </a:lnTo>
                <a:lnTo>
                  <a:pt x="34" y="24"/>
                </a:lnTo>
                <a:lnTo>
                  <a:pt x="22" y="24"/>
                </a:lnTo>
                <a:lnTo>
                  <a:pt x="16" y="18"/>
                </a:lnTo>
                <a:lnTo>
                  <a:pt x="8" y="22"/>
                </a:lnTo>
                <a:lnTo>
                  <a:pt x="0" y="18"/>
                </a:lnTo>
                <a:lnTo>
                  <a:pt x="4" y="8"/>
                </a:lnTo>
                <a:lnTo>
                  <a:pt x="12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54" name="Freeform 191">
            <a:extLst>
              <a:ext uri="{FF2B5EF4-FFF2-40B4-BE49-F238E27FC236}">
                <a16:creationId xmlns:a16="http://schemas.microsoft.com/office/drawing/2014/main" id="{ABF46C1F-85E1-4FDE-A455-464AE8E635C6}"/>
              </a:ext>
            </a:extLst>
          </p:cNvPr>
          <p:cNvSpPr>
            <a:spLocks/>
          </p:cNvSpPr>
          <p:nvPr/>
        </p:nvSpPr>
        <p:spPr bwMode="gray">
          <a:xfrm>
            <a:off x="2493932" y="1760551"/>
            <a:ext cx="47932" cy="41392"/>
          </a:xfrm>
          <a:custGeom>
            <a:avLst/>
            <a:gdLst>
              <a:gd name="T0" fmla="*/ 66 w 66"/>
              <a:gd name="T1" fmla="*/ 26 h 62"/>
              <a:gd name="T2" fmla="*/ 64 w 66"/>
              <a:gd name="T3" fmla="*/ 44 h 62"/>
              <a:gd name="T4" fmla="*/ 48 w 66"/>
              <a:gd name="T5" fmla="*/ 48 h 62"/>
              <a:gd name="T6" fmla="*/ 36 w 66"/>
              <a:gd name="T7" fmla="*/ 52 h 62"/>
              <a:gd name="T8" fmla="*/ 26 w 66"/>
              <a:gd name="T9" fmla="*/ 58 h 62"/>
              <a:gd name="T10" fmla="*/ 18 w 66"/>
              <a:gd name="T11" fmla="*/ 62 h 62"/>
              <a:gd name="T12" fmla="*/ 8 w 66"/>
              <a:gd name="T13" fmla="*/ 58 h 62"/>
              <a:gd name="T14" fmla="*/ 0 w 66"/>
              <a:gd name="T15" fmla="*/ 48 h 62"/>
              <a:gd name="T16" fmla="*/ 10 w 66"/>
              <a:gd name="T17" fmla="*/ 40 h 62"/>
              <a:gd name="T18" fmla="*/ 12 w 66"/>
              <a:gd name="T19" fmla="*/ 30 h 62"/>
              <a:gd name="T20" fmla="*/ 20 w 66"/>
              <a:gd name="T21" fmla="*/ 26 h 62"/>
              <a:gd name="T22" fmla="*/ 14 w 66"/>
              <a:gd name="T23" fmla="*/ 22 h 62"/>
              <a:gd name="T24" fmla="*/ 4 w 66"/>
              <a:gd name="T25" fmla="*/ 24 h 62"/>
              <a:gd name="T26" fmla="*/ 2 w 66"/>
              <a:gd name="T27" fmla="*/ 16 h 62"/>
              <a:gd name="T28" fmla="*/ 6 w 66"/>
              <a:gd name="T29" fmla="*/ 12 h 62"/>
              <a:gd name="T30" fmla="*/ 4 w 66"/>
              <a:gd name="T31" fmla="*/ 6 h 62"/>
              <a:gd name="T32" fmla="*/ 10 w 66"/>
              <a:gd name="T33" fmla="*/ 0 h 62"/>
              <a:gd name="T34" fmla="*/ 20 w 66"/>
              <a:gd name="T35" fmla="*/ 4 h 62"/>
              <a:gd name="T36" fmla="*/ 28 w 66"/>
              <a:gd name="T37" fmla="*/ 2 h 62"/>
              <a:gd name="T38" fmla="*/ 36 w 66"/>
              <a:gd name="T39" fmla="*/ 0 h 62"/>
              <a:gd name="T40" fmla="*/ 44 w 66"/>
              <a:gd name="T41" fmla="*/ 4 h 62"/>
              <a:gd name="T42" fmla="*/ 52 w 66"/>
              <a:gd name="T43" fmla="*/ 0 h 62"/>
              <a:gd name="T44" fmla="*/ 58 w 66"/>
              <a:gd name="T45" fmla="*/ 6 h 62"/>
              <a:gd name="T46" fmla="*/ 64 w 66"/>
              <a:gd name="T47" fmla="*/ 12 h 62"/>
              <a:gd name="T48" fmla="*/ 66 w 66"/>
              <a:gd name="T49" fmla="*/ 26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6" h="62">
                <a:moveTo>
                  <a:pt x="66" y="26"/>
                </a:moveTo>
                <a:lnTo>
                  <a:pt x="64" y="44"/>
                </a:lnTo>
                <a:lnTo>
                  <a:pt x="48" y="48"/>
                </a:lnTo>
                <a:lnTo>
                  <a:pt x="36" y="52"/>
                </a:lnTo>
                <a:lnTo>
                  <a:pt x="26" y="58"/>
                </a:lnTo>
                <a:lnTo>
                  <a:pt x="18" y="62"/>
                </a:lnTo>
                <a:lnTo>
                  <a:pt x="8" y="58"/>
                </a:lnTo>
                <a:lnTo>
                  <a:pt x="0" y="48"/>
                </a:lnTo>
                <a:lnTo>
                  <a:pt x="10" y="40"/>
                </a:lnTo>
                <a:lnTo>
                  <a:pt x="12" y="30"/>
                </a:lnTo>
                <a:lnTo>
                  <a:pt x="20" y="26"/>
                </a:lnTo>
                <a:lnTo>
                  <a:pt x="14" y="22"/>
                </a:lnTo>
                <a:lnTo>
                  <a:pt x="4" y="24"/>
                </a:lnTo>
                <a:lnTo>
                  <a:pt x="2" y="16"/>
                </a:lnTo>
                <a:lnTo>
                  <a:pt x="6" y="12"/>
                </a:lnTo>
                <a:lnTo>
                  <a:pt x="4" y="6"/>
                </a:lnTo>
                <a:lnTo>
                  <a:pt x="10" y="0"/>
                </a:lnTo>
                <a:lnTo>
                  <a:pt x="20" y="4"/>
                </a:lnTo>
                <a:lnTo>
                  <a:pt x="28" y="2"/>
                </a:lnTo>
                <a:lnTo>
                  <a:pt x="36" y="0"/>
                </a:lnTo>
                <a:lnTo>
                  <a:pt x="44" y="4"/>
                </a:lnTo>
                <a:lnTo>
                  <a:pt x="52" y="0"/>
                </a:lnTo>
                <a:lnTo>
                  <a:pt x="58" y="6"/>
                </a:lnTo>
                <a:lnTo>
                  <a:pt x="64" y="12"/>
                </a:lnTo>
                <a:lnTo>
                  <a:pt x="66" y="2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55" name="Freeform 192">
            <a:extLst>
              <a:ext uri="{FF2B5EF4-FFF2-40B4-BE49-F238E27FC236}">
                <a16:creationId xmlns:a16="http://schemas.microsoft.com/office/drawing/2014/main" id="{161A0622-0842-4F9D-9797-44A9BC8EE3B8}"/>
              </a:ext>
            </a:extLst>
          </p:cNvPr>
          <p:cNvSpPr>
            <a:spLocks/>
          </p:cNvSpPr>
          <p:nvPr/>
        </p:nvSpPr>
        <p:spPr bwMode="gray">
          <a:xfrm>
            <a:off x="2681302" y="1852681"/>
            <a:ext cx="50837" cy="25369"/>
          </a:xfrm>
          <a:custGeom>
            <a:avLst/>
            <a:gdLst>
              <a:gd name="T0" fmla="*/ 24 w 70"/>
              <a:gd name="T1" fmla="*/ 2 h 38"/>
              <a:gd name="T2" fmla="*/ 40 w 70"/>
              <a:gd name="T3" fmla="*/ 2 h 38"/>
              <a:gd name="T4" fmla="*/ 50 w 70"/>
              <a:gd name="T5" fmla="*/ 0 h 38"/>
              <a:gd name="T6" fmla="*/ 58 w 70"/>
              <a:gd name="T7" fmla="*/ 2 h 38"/>
              <a:gd name="T8" fmla="*/ 60 w 70"/>
              <a:gd name="T9" fmla="*/ 4 h 38"/>
              <a:gd name="T10" fmla="*/ 58 w 70"/>
              <a:gd name="T11" fmla="*/ 8 h 38"/>
              <a:gd name="T12" fmla="*/ 56 w 70"/>
              <a:gd name="T13" fmla="*/ 14 h 38"/>
              <a:gd name="T14" fmla="*/ 64 w 70"/>
              <a:gd name="T15" fmla="*/ 16 h 38"/>
              <a:gd name="T16" fmla="*/ 68 w 70"/>
              <a:gd name="T17" fmla="*/ 16 h 38"/>
              <a:gd name="T18" fmla="*/ 70 w 70"/>
              <a:gd name="T19" fmla="*/ 20 h 38"/>
              <a:gd name="T20" fmla="*/ 66 w 70"/>
              <a:gd name="T21" fmla="*/ 28 h 38"/>
              <a:gd name="T22" fmla="*/ 56 w 70"/>
              <a:gd name="T23" fmla="*/ 30 h 38"/>
              <a:gd name="T24" fmla="*/ 50 w 70"/>
              <a:gd name="T25" fmla="*/ 24 h 38"/>
              <a:gd name="T26" fmla="*/ 50 w 70"/>
              <a:gd name="T27" fmla="*/ 34 h 38"/>
              <a:gd name="T28" fmla="*/ 46 w 70"/>
              <a:gd name="T29" fmla="*/ 36 h 38"/>
              <a:gd name="T30" fmla="*/ 40 w 70"/>
              <a:gd name="T31" fmla="*/ 34 h 38"/>
              <a:gd name="T32" fmla="*/ 34 w 70"/>
              <a:gd name="T33" fmla="*/ 30 h 38"/>
              <a:gd name="T34" fmla="*/ 30 w 70"/>
              <a:gd name="T35" fmla="*/ 32 h 38"/>
              <a:gd name="T36" fmla="*/ 30 w 70"/>
              <a:gd name="T37" fmla="*/ 36 h 38"/>
              <a:gd name="T38" fmla="*/ 16 w 70"/>
              <a:gd name="T39" fmla="*/ 38 h 38"/>
              <a:gd name="T40" fmla="*/ 16 w 70"/>
              <a:gd name="T41" fmla="*/ 28 h 38"/>
              <a:gd name="T42" fmla="*/ 0 w 70"/>
              <a:gd name="T43" fmla="*/ 28 h 38"/>
              <a:gd name="T44" fmla="*/ 8 w 70"/>
              <a:gd name="T45" fmla="*/ 16 h 38"/>
              <a:gd name="T46" fmla="*/ 18 w 70"/>
              <a:gd name="T47" fmla="*/ 6 h 38"/>
              <a:gd name="T48" fmla="*/ 22 w 70"/>
              <a:gd name="T49" fmla="*/ 6 h 38"/>
              <a:gd name="T50" fmla="*/ 24 w 70"/>
              <a:gd name="T51" fmla="*/ 2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70" h="38">
                <a:moveTo>
                  <a:pt x="24" y="2"/>
                </a:moveTo>
                <a:lnTo>
                  <a:pt x="40" y="2"/>
                </a:lnTo>
                <a:lnTo>
                  <a:pt x="50" y="0"/>
                </a:lnTo>
                <a:lnTo>
                  <a:pt x="58" y="2"/>
                </a:lnTo>
                <a:lnTo>
                  <a:pt x="60" y="4"/>
                </a:lnTo>
                <a:lnTo>
                  <a:pt x="58" y="8"/>
                </a:lnTo>
                <a:lnTo>
                  <a:pt x="56" y="14"/>
                </a:lnTo>
                <a:lnTo>
                  <a:pt x="64" y="16"/>
                </a:lnTo>
                <a:lnTo>
                  <a:pt x="68" y="16"/>
                </a:lnTo>
                <a:lnTo>
                  <a:pt x="70" y="20"/>
                </a:lnTo>
                <a:lnTo>
                  <a:pt x="66" y="28"/>
                </a:lnTo>
                <a:lnTo>
                  <a:pt x="56" y="30"/>
                </a:lnTo>
                <a:lnTo>
                  <a:pt x="50" y="24"/>
                </a:lnTo>
                <a:lnTo>
                  <a:pt x="50" y="34"/>
                </a:lnTo>
                <a:lnTo>
                  <a:pt x="46" y="36"/>
                </a:lnTo>
                <a:lnTo>
                  <a:pt x="40" y="34"/>
                </a:lnTo>
                <a:lnTo>
                  <a:pt x="34" y="30"/>
                </a:lnTo>
                <a:lnTo>
                  <a:pt x="30" y="32"/>
                </a:lnTo>
                <a:lnTo>
                  <a:pt x="30" y="36"/>
                </a:lnTo>
                <a:lnTo>
                  <a:pt x="16" y="38"/>
                </a:lnTo>
                <a:lnTo>
                  <a:pt x="16" y="28"/>
                </a:lnTo>
                <a:lnTo>
                  <a:pt x="0" y="28"/>
                </a:lnTo>
                <a:lnTo>
                  <a:pt x="8" y="16"/>
                </a:lnTo>
                <a:lnTo>
                  <a:pt x="18" y="6"/>
                </a:lnTo>
                <a:lnTo>
                  <a:pt x="22" y="6"/>
                </a:lnTo>
                <a:lnTo>
                  <a:pt x="24" y="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56" name="Freeform 193">
            <a:extLst>
              <a:ext uri="{FF2B5EF4-FFF2-40B4-BE49-F238E27FC236}">
                <a16:creationId xmlns:a16="http://schemas.microsoft.com/office/drawing/2014/main" id="{095865D6-49EA-47B1-AE47-F6DB94102744}"/>
              </a:ext>
            </a:extLst>
          </p:cNvPr>
          <p:cNvSpPr>
            <a:spLocks/>
          </p:cNvSpPr>
          <p:nvPr/>
        </p:nvSpPr>
        <p:spPr bwMode="gray">
          <a:xfrm>
            <a:off x="2557841" y="1807284"/>
            <a:ext cx="148153" cy="114829"/>
          </a:xfrm>
          <a:custGeom>
            <a:avLst/>
            <a:gdLst>
              <a:gd name="T0" fmla="*/ 126 w 204"/>
              <a:gd name="T1" fmla="*/ 8 h 172"/>
              <a:gd name="T2" fmla="*/ 152 w 204"/>
              <a:gd name="T3" fmla="*/ 24 h 172"/>
              <a:gd name="T4" fmla="*/ 162 w 204"/>
              <a:gd name="T5" fmla="*/ 32 h 172"/>
              <a:gd name="T6" fmla="*/ 180 w 204"/>
              <a:gd name="T7" fmla="*/ 36 h 172"/>
              <a:gd name="T8" fmla="*/ 202 w 204"/>
              <a:gd name="T9" fmla="*/ 40 h 172"/>
              <a:gd name="T10" fmla="*/ 198 w 204"/>
              <a:gd name="T11" fmla="*/ 56 h 172"/>
              <a:gd name="T12" fmla="*/ 194 w 204"/>
              <a:gd name="T13" fmla="*/ 70 h 172"/>
              <a:gd name="T14" fmla="*/ 188 w 204"/>
              <a:gd name="T15" fmla="*/ 74 h 172"/>
              <a:gd name="T16" fmla="*/ 170 w 204"/>
              <a:gd name="T17" fmla="*/ 96 h 172"/>
              <a:gd name="T18" fmla="*/ 186 w 204"/>
              <a:gd name="T19" fmla="*/ 106 h 172"/>
              <a:gd name="T20" fmla="*/ 188 w 204"/>
              <a:gd name="T21" fmla="*/ 116 h 172"/>
              <a:gd name="T22" fmla="*/ 186 w 204"/>
              <a:gd name="T23" fmla="*/ 140 h 172"/>
              <a:gd name="T24" fmla="*/ 194 w 204"/>
              <a:gd name="T25" fmla="*/ 148 h 172"/>
              <a:gd name="T26" fmla="*/ 182 w 204"/>
              <a:gd name="T27" fmla="*/ 158 h 172"/>
              <a:gd name="T28" fmla="*/ 160 w 204"/>
              <a:gd name="T29" fmla="*/ 156 h 172"/>
              <a:gd name="T30" fmla="*/ 138 w 204"/>
              <a:gd name="T31" fmla="*/ 152 h 172"/>
              <a:gd name="T32" fmla="*/ 122 w 204"/>
              <a:gd name="T33" fmla="*/ 162 h 172"/>
              <a:gd name="T34" fmla="*/ 106 w 204"/>
              <a:gd name="T35" fmla="*/ 172 h 172"/>
              <a:gd name="T36" fmla="*/ 80 w 204"/>
              <a:gd name="T37" fmla="*/ 168 h 172"/>
              <a:gd name="T38" fmla="*/ 50 w 204"/>
              <a:gd name="T39" fmla="*/ 156 h 172"/>
              <a:gd name="T40" fmla="*/ 56 w 204"/>
              <a:gd name="T41" fmla="*/ 128 h 172"/>
              <a:gd name="T42" fmla="*/ 64 w 204"/>
              <a:gd name="T43" fmla="*/ 116 h 172"/>
              <a:gd name="T44" fmla="*/ 44 w 204"/>
              <a:gd name="T45" fmla="*/ 90 h 172"/>
              <a:gd name="T46" fmla="*/ 36 w 204"/>
              <a:gd name="T47" fmla="*/ 76 h 172"/>
              <a:gd name="T48" fmla="*/ 18 w 204"/>
              <a:gd name="T49" fmla="*/ 66 h 172"/>
              <a:gd name="T50" fmla="*/ 0 w 204"/>
              <a:gd name="T51" fmla="*/ 60 h 172"/>
              <a:gd name="T52" fmla="*/ 8 w 204"/>
              <a:gd name="T53" fmla="*/ 50 h 172"/>
              <a:gd name="T54" fmla="*/ 26 w 204"/>
              <a:gd name="T55" fmla="*/ 48 h 172"/>
              <a:gd name="T56" fmla="*/ 40 w 204"/>
              <a:gd name="T57" fmla="*/ 50 h 172"/>
              <a:gd name="T58" fmla="*/ 54 w 204"/>
              <a:gd name="T59" fmla="*/ 46 h 172"/>
              <a:gd name="T60" fmla="*/ 48 w 204"/>
              <a:gd name="T61" fmla="*/ 30 h 172"/>
              <a:gd name="T62" fmla="*/ 62 w 204"/>
              <a:gd name="T63" fmla="*/ 36 h 172"/>
              <a:gd name="T64" fmla="*/ 84 w 204"/>
              <a:gd name="T65" fmla="*/ 28 h 172"/>
              <a:gd name="T66" fmla="*/ 106 w 204"/>
              <a:gd name="T67" fmla="*/ 18 h 172"/>
              <a:gd name="T68" fmla="*/ 116 w 204"/>
              <a:gd name="T69" fmla="*/ 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04" h="172">
                <a:moveTo>
                  <a:pt x="116" y="0"/>
                </a:moveTo>
                <a:lnTo>
                  <a:pt x="126" y="8"/>
                </a:lnTo>
                <a:lnTo>
                  <a:pt x="140" y="20"/>
                </a:lnTo>
                <a:lnTo>
                  <a:pt x="152" y="24"/>
                </a:lnTo>
                <a:lnTo>
                  <a:pt x="154" y="28"/>
                </a:lnTo>
                <a:lnTo>
                  <a:pt x="162" y="32"/>
                </a:lnTo>
                <a:lnTo>
                  <a:pt x="174" y="32"/>
                </a:lnTo>
                <a:lnTo>
                  <a:pt x="180" y="36"/>
                </a:lnTo>
                <a:lnTo>
                  <a:pt x="184" y="40"/>
                </a:lnTo>
                <a:lnTo>
                  <a:pt x="202" y="40"/>
                </a:lnTo>
                <a:lnTo>
                  <a:pt x="204" y="44"/>
                </a:lnTo>
                <a:lnTo>
                  <a:pt x="198" y="56"/>
                </a:lnTo>
                <a:lnTo>
                  <a:pt x="194" y="64"/>
                </a:lnTo>
                <a:lnTo>
                  <a:pt x="194" y="70"/>
                </a:lnTo>
                <a:lnTo>
                  <a:pt x="192" y="74"/>
                </a:lnTo>
                <a:lnTo>
                  <a:pt x="188" y="74"/>
                </a:lnTo>
                <a:lnTo>
                  <a:pt x="178" y="84"/>
                </a:lnTo>
                <a:lnTo>
                  <a:pt x="170" y="96"/>
                </a:lnTo>
                <a:lnTo>
                  <a:pt x="186" y="96"/>
                </a:lnTo>
                <a:lnTo>
                  <a:pt x="186" y="106"/>
                </a:lnTo>
                <a:lnTo>
                  <a:pt x="186" y="112"/>
                </a:lnTo>
                <a:lnTo>
                  <a:pt x="188" y="116"/>
                </a:lnTo>
                <a:lnTo>
                  <a:pt x="184" y="124"/>
                </a:lnTo>
                <a:lnTo>
                  <a:pt x="186" y="140"/>
                </a:lnTo>
                <a:lnTo>
                  <a:pt x="194" y="140"/>
                </a:lnTo>
                <a:lnTo>
                  <a:pt x="194" y="148"/>
                </a:lnTo>
                <a:lnTo>
                  <a:pt x="186" y="150"/>
                </a:lnTo>
                <a:lnTo>
                  <a:pt x="182" y="158"/>
                </a:lnTo>
                <a:lnTo>
                  <a:pt x="172" y="162"/>
                </a:lnTo>
                <a:lnTo>
                  <a:pt x="160" y="156"/>
                </a:lnTo>
                <a:lnTo>
                  <a:pt x="150" y="154"/>
                </a:lnTo>
                <a:lnTo>
                  <a:pt x="138" y="152"/>
                </a:lnTo>
                <a:lnTo>
                  <a:pt x="128" y="156"/>
                </a:lnTo>
                <a:lnTo>
                  <a:pt x="122" y="162"/>
                </a:lnTo>
                <a:lnTo>
                  <a:pt x="122" y="172"/>
                </a:lnTo>
                <a:lnTo>
                  <a:pt x="106" y="172"/>
                </a:lnTo>
                <a:lnTo>
                  <a:pt x="92" y="166"/>
                </a:lnTo>
                <a:lnTo>
                  <a:pt x="80" y="168"/>
                </a:lnTo>
                <a:lnTo>
                  <a:pt x="64" y="162"/>
                </a:lnTo>
                <a:lnTo>
                  <a:pt x="50" y="156"/>
                </a:lnTo>
                <a:lnTo>
                  <a:pt x="50" y="144"/>
                </a:lnTo>
                <a:lnTo>
                  <a:pt x="56" y="128"/>
                </a:lnTo>
                <a:lnTo>
                  <a:pt x="56" y="116"/>
                </a:lnTo>
                <a:lnTo>
                  <a:pt x="64" y="116"/>
                </a:lnTo>
                <a:lnTo>
                  <a:pt x="56" y="98"/>
                </a:lnTo>
                <a:lnTo>
                  <a:pt x="44" y="90"/>
                </a:lnTo>
                <a:lnTo>
                  <a:pt x="42" y="82"/>
                </a:lnTo>
                <a:lnTo>
                  <a:pt x="36" y="76"/>
                </a:lnTo>
                <a:lnTo>
                  <a:pt x="26" y="70"/>
                </a:lnTo>
                <a:lnTo>
                  <a:pt x="18" y="66"/>
                </a:lnTo>
                <a:lnTo>
                  <a:pt x="6" y="66"/>
                </a:lnTo>
                <a:lnTo>
                  <a:pt x="0" y="60"/>
                </a:lnTo>
                <a:lnTo>
                  <a:pt x="2" y="52"/>
                </a:lnTo>
                <a:lnTo>
                  <a:pt x="8" y="50"/>
                </a:lnTo>
                <a:lnTo>
                  <a:pt x="18" y="48"/>
                </a:lnTo>
                <a:lnTo>
                  <a:pt x="26" y="48"/>
                </a:lnTo>
                <a:lnTo>
                  <a:pt x="32" y="54"/>
                </a:lnTo>
                <a:lnTo>
                  <a:pt x="40" y="50"/>
                </a:lnTo>
                <a:lnTo>
                  <a:pt x="48" y="52"/>
                </a:lnTo>
                <a:lnTo>
                  <a:pt x="54" y="46"/>
                </a:lnTo>
                <a:lnTo>
                  <a:pt x="50" y="36"/>
                </a:lnTo>
                <a:lnTo>
                  <a:pt x="48" y="30"/>
                </a:lnTo>
                <a:lnTo>
                  <a:pt x="54" y="30"/>
                </a:lnTo>
                <a:lnTo>
                  <a:pt x="62" y="36"/>
                </a:lnTo>
                <a:lnTo>
                  <a:pt x="76" y="34"/>
                </a:lnTo>
                <a:lnTo>
                  <a:pt x="84" y="28"/>
                </a:lnTo>
                <a:lnTo>
                  <a:pt x="96" y="22"/>
                </a:lnTo>
                <a:lnTo>
                  <a:pt x="106" y="18"/>
                </a:lnTo>
                <a:lnTo>
                  <a:pt x="106" y="4"/>
                </a:lnTo>
                <a:lnTo>
                  <a:pt x="116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57" name="Freeform 194">
            <a:extLst>
              <a:ext uri="{FF2B5EF4-FFF2-40B4-BE49-F238E27FC236}">
                <a16:creationId xmlns:a16="http://schemas.microsoft.com/office/drawing/2014/main" id="{006BF4B6-6A79-44E5-B2AB-D8BC90AC6B1D}"/>
              </a:ext>
            </a:extLst>
          </p:cNvPr>
          <p:cNvSpPr>
            <a:spLocks/>
          </p:cNvSpPr>
          <p:nvPr/>
        </p:nvSpPr>
        <p:spPr bwMode="gray">
          <a:xfrm>
            <a:off x="2502647" y="1924784"/>
            <a:ext cx="39217" cy="64091"/>
          </a:xfrm>
          <a:custGeom>
            <a:avLst/>
            <a:gdLst>
              <a:gd name="T0" fmla="*/ 36 w 54"/>
              <a:gd name="T1" fmla="*/ 96 h 96"/>
              <a:gd name="T2" fmla="*/ 24 w 54"/>
              <a:gd name="T3" fmla="*/ 96 h 96"/>
              <a:gd name="T4" fmla="*/ 12 w 54"/>
              <a:gd name="T5" fmla="*/ 96 h 96"/>
              <a:gd name="T6" fmla="*/ 12 w 54"/>
              <a:gd name="T7" fmla="*/ 88 h 96"/>
              <a:gd name="T8" fmla="*/ 12 w 54"/>
              <a:gd name="T9" fmla="*/ 72 h 96"/>
              <a:gd name="T10" fmla="*/ 8 w 54"/>
              <a:gd name="T11" fmla="*/ 70 h 96"/>
              <a:gd name="T12" fmla="*/ 0 w 54"/>
              <a:gd name="T13" fmla="*/ 60 h 96"/>
              <a:gd name="T14" fmla="*/ 8 w 54"/>
              <a:gd name="T15" fmla="*/ 50 h 96"/>
              <a:gd name="T16" fmla="*/ 10 w 54"/>
              <a:gd name="T17" fmla="*/ 40 h 96"/>
              <a:gd name="T18" fmla="*/ 14 w 54"/>
              <a:gd name="T19" fmla="*/ 26 h 96"/>
              <a:gd name="T20" fmla="*/ 12 w 54"/>
              <a:gd name="T21" fmla="*/ 14 h 96"/>
              <a:gd name="T22" fmla="*/ 14 w 54"/>
              <a:gd name="T23" fmla="*/ 0 h 96"/>
              <a:gd name="T24" fmla="*/ 20 w 54"/>
              <a:gd name="T25" fmla="*/ 2 h 96"/>
              <a:gd name="T26" fmla="*/ 26 w 54"/>
              <a:gd name="T27" fmla="*/ 8 h 96"/>
              <a:gd name="T28" fmla="*/ 38 w 54"/>
              <a:gd name="T29" fmla="*/ 6 h 96"/>
              <a:gd name="T30" fmla="*/ 48 w 54"/>
              <a:gd name="T31" fmla="*/ 6 h 96"/>
              <a:gd name="T32" fmla="*/ 54 w 54"/>
              <a:gd name="T33" fmla="*/ 14 h 96"/>
              <a:gd name="T34" fmla="*/ 52 w 54"/>
              <a:gd name="T35" fmla="*/ 20 h 96"/>
              <a:gd name="T36" fmla="*/ 42 w 54"/>
              <a:gd name="T37" fmla="*/ 22 h 96"/>
              <a:gd name="T38" fmla="*/ 42 w 54"/>
              <a:gd name="T39" fmla="*/ 36 h 96"/>
              <a:gd name="T40" fmla="*/ 42 w 54"/>
              <a:gd name="T41" fmla="*/ 46 h 96"/>
              <a:gd name="T42" fmla="*/ 40 w 54"/>
              <a:gd name="T43" fmla="*/ 50 h 96"/>
              <a:gd name="T44" fmla="*/ 34 w 54"/>
              <a:gd name="T45" fmla="*/ 54 h 96"/>
              <a:gd name="T46" fmla="*/ 34 w 54"/>
              <a:gd name="T47" fmla="*/ 58 h 96"/>
              <a:gd name="T48" fmla="*/ 40 w 54"/>
              <a:gd name="T49" fmla="*/ 66 h 96"/>
              <a:gd name="T50" fmla="*/ 34 w 54"/>
              <a:gd name="T51" fmla="*/ 70 h 96"/>
              <a:gd name="T52" fmla="*/ 36 w 54"/>
              <a:gd name="T53" fmla="*/ 76 h 96"/>
              <a:gd name="T54" fmla="*/ 38 w 54"/>
              <a:gd name="T55" fmla="*/ 82 h 96"/>
              <a:gd name="T56" fmla="*/ 32 w 54"/>
              <a:gd name="T57" fmla="*/ 86 h 96"/>
              <a:gd name="T58" fmla="*/ 36 w 54"/>
              <a:gd name="T59" fmla="*/ 9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4" h="96">
                <a:moveTo>
                  <a:pt x="36" y="96"/>
                </a:moveTo>
                <a:lnTo>
                  <a:pt x="24" y="96"/>
                </a:lnTo>
                <a:lnTo>
                  <a:pt x="12" y="96"/>
                </a:lnTo>
                <a:lnTo>
                  <a:pt x="12" y="88"/>
                </a:lnTo>
                <a:lnTo>
                  <a:pt x="12" y="72"/>
                </a:lnTo>
                <a:lnTo>
                  <a:pt x="8" y="70"/>
                </a:lnTo>
                <a:lnTo>
                  <a:pt x="0" y="60"/>
                </a:lnTo>
                <a:lnTo>
                  <a:pt x="8" y="50"/>
                </a:lnTo>
                <a:lnTo>
                  <a:pt x="10" y="40"/>
                </a:lnTo>
                <a:lnTo>
                  <a:pt x="14" y="26"/>
                </a:lnTo>
                <a:lnTo>
                  <a:pt x="12" y="14"/>
                </a:lnTo>
                <a:lnTo>
                  <a:pt x="14" y="0"/>
                </a:lnTo>
                <a:lnTo>
                  <a:pt x="20" y="2"/>
                </a:lnTo>
                <a:lnTo>
                  <a:pt x="26" y="8"/>
                </a:lnTo>
                <a:lnTo>
                  <a:pt x="38" y="6"/>
                </a:lnTo>
                <a:lnTo>
                  <a:pt x="48" y="6"/>
                </a:lnTo>
                <a:lnTo>
                  <a:pt x="54" y="14"/>
                </a:lnTo>
                <a:lnTo>
                  <a:pt x="52" y="20"/>
                </a:lnTo>
                <a:lnTo>
                  <a:pt x="42" y="22"/>
                </a:lnTo>
                <a:lnTo>
                  <a:pt x="42" y="36"/>
                </a:lnTo>
                <a:lnTo>
                  <a:pt x="42" y="46"/>
                </a:lnTo>
                <a:lnTo>
                  <a:pt x="40" y="50"/>
                </a:lnTo>
                <a:lnTo>
                  <a:pt x="34" y="54"/>
                </a:lnTo>
                <a:lnTo>
                  <a:pt x="34" y="58"/>
                </a:lnTo>
                <a:lnTo>
                  <a:pt x="40" y="66"/>
                </a:lnTo>
                <a:lnTo>
                  <a:pt x="34" y="70"/>
                </a:lnTo>
                <a:lnTo>
                  <a:pt x="36" y="76"/>
                </a:lnTo>
                <a:lnTo>
                  <a:pt x="38" y="82"/>
                </a:lnTo>
                <a:lnTo>
                  <a:pt x="32" y="86"/>
                </a:lnTo>
                <a:lnTo>
                  <a:pt x="36" y="9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58" name="Freeform 195">
            <a:extLst>
              <a:ext uri="{FF2B5EF4-FFF2-40B4-BE49-F238E27FC236}">
                <a16:creationId xmlns:a16="http://schemas.microsoft.com/office/drawing/2014/main" id="{7781ABB0-9716-4345-BE08-D338D2BBE902}"/>
              </a:ext>
            </a:extLst>
          </p:cNvPr>
          <p:cNvSpPr>
            <a:spLocks/>
          </p:cNvSpPr>
          <p:nvPr/>
        </p:nvSpPr>
        <p:spPr bwMode="gray">
          <a:xfrm>
            <a:off x="2505552" y="1906090"/>
            <a:ext cx="142343" cy="94801"/>
          </a:xfrm>
          <a:custGeom>
            <a:avLst/>
            <a:gdLst>
              <a:gd name="T0" fmla="*/ 10 w 196"/>
              <a:gd name="T1" fmla="*/ 28 h 142"/>
              <a:gd name="T2" fmla="*/ 6 w 196"/>
              <a:gd name="T3" fmla="*/ 22 h 142"/>
              <a:gd name="T4" fmla="*/ 0 w 196"/>
              <a:gd name="T5" fmla="*/ 12 h 142"/>
              <a:gd name="T6" fmla="*/ 4 w 196"/>
              <a:gd name="T7" fmla="*/ 8 h 142"/>
              <a:gd name="T8" fmla="*/ 16 w 196"/>
              <a:gd name="T9" fmla="*/ 4 h 142"/>
              <a:gd name="T10" fmla="*/ 24 w 196"/>
              <a:gd name="T11" fmla="*/ 0 h 142"/>
              <a:gd name="T12" fmla="*/ 46 w 196"/>
              <a:gd name="T13" fmla="*/ 2 h 142"/>
              <a:gd name="T14" fmla="*/ 66 w 196"/>
              <a:gd name="T15" fmla="*/ 4 h 142"/>
              <a:gd name="T16" fmla="*/ 78 w 196"/>
              <a:gd name="T17" fmla="*/ 8 h 142"/>
              <a:gd name="T18" fmla="*/ 96 w 196"/>
              <a:gd name="T19" fmla="*/ 6 h 142"/>
              <a:gd name="T20" fmla="*/ 114 w 196"/>
              <a:gd name="T21" fmla="*/ 8 h 142"/>
              <a:gd name="T22" fmla="*/ 122 w 196"/>
              <a:gd name="T23" fmla="*/ 8 h 142"/>
              <a:gd name="T24" fmla="*/ 136 w 196"/>
              <a:gd name="T25" fmla="*/ 14 h 142"/>
              <a:gd name="T26" fmla="*/ 152 w 196"/>
              <a:gd name="T27" fmla="*/ 20 h 142"/>
              <a:gd name="T28" fmla="*/ 164 w 196"/>
              <a:gd name="T29" fmla="*/ 18 h 142"/>
              <a:gd name="T30" fmla="*/ 178 w 196"/>
              <a:gd name="T31" fmla="*/ 24 h 142"/>
              <a:gd name="T32" fmla="*/ 194 w 196"/>
              <a:gd name="T33" fmla="*/ 24 h 142"/>
              <a:gd name="T34" fmla="*/ 196 w 196"/>
              <a:gd name="T35" fmla="*/ 28 h 142"/>
              <a:gd name="T36" fmla="*/ 194 w 196"/>
              <a:gd name="T37" fmla="*/ 38 h 142"/>
              <a:gd name="T38" fmla="*/ 188 w 196"/>
              <a:gd name="T39" fmla="*/ 42 h 142"/>
              <a:gd name="T40" fmla="*/ 178 w 196"/>
              <a:gd name="T41" fmla="*/ 48 h 142"/>
              <a:gd name="T42" fmla="*/ 166 w 196"/>
              <a:gd name="T43" fmla="*/ 48 h 142"/>
              <a:gd name="T44" fmla="*/ 160 w 196"/>
              <a:gd name="T45" fmla="*/ 58 h 142"/>
              <a:gd name="T46" fmla="*/ 150 w 196"/>
              <a:gd name="T47" fmla="*/ 68 h 142"/>
              <a:gd name="T48" fmla="*/ 144 w 196"/>
              <a:gd name="T49" fmla="*/ 76 h 142"/>
              <a:gd name="T50" fmla="*/ 142 w 196"/>
              <a:gd name="T51" fmla="*/ 86 h 142"/>
              <a:gd name="T52" fmla="*/ 146 w 196"/>
              <a:gd name="T53" fmla="*/ 96 h 142"/>
              <a:gd name="T54" fmla="*/ 140 w 196"/>
              <a:gd name="T55" fmla="*/ 102 h 142"/>
              <a:gd name="T56" fmla="*/ 132 w 196"/>
              <a:gd name="T57" fmla="*/ 114 h 142"/>
              <a:gd name="T58" fmla="*/ 122 w 196"/>
              <a:gd name="T59" fmla="*/ 116 h 142"/>
              <a:gd name="T60" fmla="*/ 116 w 196"/>
              <a:gd name="T61" fmla="*/ 126 h 142"/>
              <a:gd name="T62" fmla="*/ 102 w 196"/>
              <a:gd name="T63" fmla="*/ 132 h 142"/>
              <a:gd name="T64" fmla="*/ 86 w 196"/>
              <a:gd name="T65" fmla="*/ 132 h 142"/>
              <a:gd name="T66" fmla="*/ 74 w 196"/>
              <a:gd name="T67" fmla="*/ 134 h 142"/>
              <a:gd name="T68" fmla="*/ 62 w 196"/>
              <a:gd name="T69" fmla="*/ 140 h 142"/>
              <a:gd name="T70" fmla="*/ 56 w 196"/>
              <a:gd name="T71" fmla="*/ 142 h 142"/>
              <a:gd name="T72" fmla="*/ 46 w 196"/>
              <a:gd name="T73" fmla="*/ 136 h 142"/>
              <a:gd name="T74" fmla="*/ 44 w 196"/>
              <a:gd name="T75" fmla="*/ 128 h 142"/>
              <a:gd name="T76" fmla="*/ 38 w 196"/>
              <a:gd name="T77" fmla="*/ 124 h 142"/>
              <a:gd name="T78" fmla="*/ 32 w 196"/>
              <a:gd name="T79" fmla="*/ 124 h 142"/>
              <a:gd name="T80" fmla="*/ 28 w 196"/>
              <a:gd name="T81" fmla="*/ 114 h 142"/>
              <a:gd name="T82" fmla="*/ 34 w 196"/>
              <a:gd name="T83" fmla="*/ 110 h 142"/>
              <a:gd name="T84" fmla="*/ 30 w 196"/>
              <a:gd name="T85" fmla="*/ 98 h 142"/>
              <a:gd name="T86" fmla="*/ 36 w 196"/>
              <a:gd name="T87" fmla="*/ 94 h 142"/>
              <a:gd name="T88" fmla="*/ 30 w 196"/>
              <a:gd name="T89" fmla="*/ 86 h 142"/>
              <a:gd name="T90" fmla="*/ 30 w 196"/>
              <a:gd name="T91" fmla="*/ 82 h 142"/>
              <a:gd name="T92" fmla="*/ 36 w 196"/>
              <a:gd name="T93" fmla="*/ 78 h 142"/>
              <a:gd name="T94" fmla="*/ 38 w 196"/>
              <a:gd name="T95" fmla="*/ 74 h 142"/>
              <a:gd name="T96" fmla="*/ 38 w 196"/>
              <a:gd name="T97" fmla="*/ 50 h 142"/>
              <a:gd name="T98" fmla="*/ 48 w 196"/>
              <a:gd name="T99" fmla="*/ 48 h 142"/>
              <a:gd name="T100" fmla="*/ 50 w 196"/>
              <a:gd name="T101" fmla="*/ 42 h 142"/>
              <a:gd name="T102" fmla="*/ 44 w 196"/>
              <a:gd name="T103" fmla="*/ 34 h 142"/>
              <a:gd name="T104" fmla="*/ 22 w 196"/>
              <a:gd name="T105" fmla="*/ 36 h 142"/>
              <a:gd name="T106" fmla="*/ 16 w 196"/>
              <a:gd name="T107" fmla="*/ 30 h 142"/>
              <a:gd name="T108" fmla="*/ 10 w 196"/>
              <a:gd name="T109" fmla="*/ 28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96" h="142">
                <a:moveTo>
                  <a:pt x="10" y="28"/>
                </a:moveTo>
                <a:lnTo>
                  <a:pt x="6" y="22"/>
                </a:lnTo>
                <a:lnTo>
                  <a:pt x="0" y="12"/>
                </a:lnTo>
                <a:lnTo>
                  <a:pt x="4" y="8"/>
                </a:lnTo>
                <a:lnTo>
                  <a:pt x="16" y="4"/>
                </a:lnTo>
                <a:lnTo>
                  <a:pt x="24" y="0"/>
                </a:lnTo>
                <a:lnTo>
                  <a:pt x="46" y="2"/>
                </a:lnTo>
                <a:lnTo>
                  <a:pt x="66" y="4"/>
                </a:lnTo>
                <a:lnTo>
                  <a:pt x="78" y="8"/>
                </a:lnTo>
                <a:lnTo>
                  <a:pt x="96" y="6"/>
                </a:lnTo>
                <a:lnTo>
                  <a:pt x="114" y="8"/>
                </a:lnTo>
                <a:lnTo>
                  <a:pt x="122" y="8"/>
                </a:lnTo>
                <a:lnTo>
                  <a:pt x="136" y="14"/>
                </a:lnTo>
                <a:lnTo>
                  <a:pt x="152" y="20"/>
                </a:lnTo>
                <a:lnTo>
                  <a:pt x="164" y="18"/>
                </a:lnTo>
                <a:lnTo>
                  <a:pt x="178" y="24"/>
                </a:lnTo>
                <a:lnTo>
                  <a:pt x="194" y="24"/>
                </a:lnTo>
                <a:lnTo>
                  <a:pt x="196" y="28"/>
                </a:lnTo>
                <a:lnTo>
                  <a:pt x="194" y="38"/>
                </a:lnTo>
                <a:lnTo>
                  <a:pt x="188" y="42"/>
                </a:lnTo>
                <a:lnTo>
                  <a:pt x="178" y="48"/>
                </a:lnTo>
                <a:lnTo>
                  <a:pt x="166" y="48"/>
                </a:lnTo>
                <a:lnTo>
                  <a:pt x="160" y="58"/>
                </a:lnTo>
                <a:lnTo>
                  <a:pt x="150" y="68"/>
                </a:lnTo>
                <a:lnTo>
                  <a:pt x="144" y="76"/>
                </a:lnTo>
                <a:lnTo>
                  <a:pt x="142" y="86"/>
                </a:lnTo>
                <a:lnTo>
                  <a:pt x="146" y="96"/>
                </a:lnTo>
                <a:lnTo>
                  <a:pt x="140" y="102"/>
                </a:lnTo>
                <a:lnTo>
                  <a:pt x="132" y="114"/>
                </a:lnTo>
                <a:lnTo>
                  <a:pt x="122" y="116"/>
                </a:lnTo>
                <a:lnTo>
                  <a:pt x="116" y="126"/>
                </a:lnTo>
                <a:lnTo>
                  <a:pt x="102" y="132"/>
                </a:lnTo>
                <a:lnTo>
                  <a:pt x="86" y="132"/>
                </a:lnTo>
                <a:lnTo>
                  <a:pt x="74" y="134"/>
                </a:lnTo>
                <a:lnTo>
                  <a:pt x="62" y="140"/>
                </a:lnTo>
                <a:lnTo>
                  <a:pt x="56" y="142"/>
                </a:lnTo>
                <a:lnTo>
                  <a:pt x="46" y="136"/>
                </a:lnTo>
                <a:lnTo>
                  <a:pt x="44" y="128"/>
                </a:lnTo>
                <a:lnTo>
                  <a:pt x="38" y="124"/>
                </a:lnTo>
                <a:lnTo>
                  <a:pt x="32" y="124"/>
                </a:lnTo>
                <a:lnTo>
                  <a:pt x="28" y="114"/>
                </a:lnTo>
                <a:lnTo>
                  <a:pt x="34" y="110"/>
                </a:lnTo>
                <a:lnTo>
                  <a:pt x="30" y="98"/>
                </a:lnTo>
                <a:lnTo>
                  <a:pt x="36" y="94"/>
                </a:lnTo>
                <a:lnTo>
                  <a:pt x="30" y="86"/>
                </a:lnTo>
                <a:lnTo>
                  <a:pt x="30" y="82"/>
                </a:lnTo>
                <a:lnTo>
                  <a:pt x="36" y="78"/>
                </a:lnTo>
                <a:lnTo>
                  <a:pt x="38" y="74"/>
                </a:lnTo>
                <a:lnTo>
                  <a:pt x="38" y="50"/>
                </a:lnTo>
                <a:lnTo>
                  <a:pt x="48" y="48"/>
                </a:lnTo>
                <a:lnTo>
                  <a:pt x="50" y="42"/>
                </a:lnTo>
                <a:lnTo>
                  <a:pt x="44" y="34"/>
                </a:lnTo>
                <a:lnTo>
                  <a:pt x="22" y="36"/>
                </a:lnTo>
                <a:lnTo>
                  <a:pt x="16" y="30"/>
                </a:lnTo>
                <a:lnTo>
                  <a:pt x="10" y="28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59" name="Freeform 196">
            <a:extLst>
              <a:ext uri="{FF2B5EF4-FFF2-40B4-BE49-F238E27FC236}">
                <a16:creationId xmlns:a16="http://schemas.microsoft.com/office/drawing/2014/main" id="{60170993-2365-4146-B734-04E00186B45A}"/>
              </a:ext>
            </a:extLst>
          </p:cNvPr>
          <p:cNvSpPr>
            <a:spLocks/>
          </p:cNvSpPr>
          <p:nvPr/>
        </p:nvSpPr>
        <p:spPr bwMode="gray">
          <a:xfrm>
            <a:off x="2713256" y="1918107"/>
            <a:ext cx="10167" cy="17358"/>
          </a:xfrm>
          <a:custGeom>
            <a:avLst/>
            <a:gdLst>
              <a:gd name="T0" fmla="*/ 10 w 14"/>
              <a:gd name="T1" fmla="*/ 0 h 26"/>
              <a:gd name="T2" fmla="*/ 4 w 14"/>
              <a:gd name="T3" fmla="*/ 2 h 26"/>
              <a:gd name="T4" fmla="*/ 0 w 14"/>
              <a:gd name="T5" fmla="*/ 6 h 26"/>
              <a:gd name="T6" fmla="*/ 0 w 14"/>
              <a:gd name="T7" fmla="*/ 14 h 26"/>
              <a:gd name="T8" fmla="*/ 0 w 14"/>
              <a:gd name="T9" fmla="*/ 22 h 26"/>
              <a:gd name="T10" fmla="*/ 6 w 14"/>
              <a:gd name="T11" fmla="*/ 26 h 26"/>
              <a:gd name="T12" fmla="*/ 10 w 14"/>
              <a:gd name="T13" fmla="*/ 18 h 26"/>
              <a:gd name="T14" fmla="*/ 8 w 14"/>
              <a:gd name="T15" fmla="*/ 12 h 26"/>
              <a:gd name="T16" fmla="*/ 14 w 14"/>
              <a:gd name="T17" fmla="*/ 10 h 26"/>
              <a:gd name="T18" fmla="*/ 10 w 14"/>
              <a:gd name="T19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4" h="26">
                <a:moveTo>
                  <a:pt x="10" y="0"/>
                </a:moveTo>
                <a:lnTo>
                  <a:pt x="4" y="2"/>
                </a:lnTo>
                <a:lnTo>
                  <a:pt x="0" y="6"/>
                </a:lnTo>
                <a:lnTo>
                  <a:pt x="0" y="14"/>
                </a:lnTo>
                <a:lnTo>
                  <a:pt x="0" y="22"/>
                </a:lnTo>
                <a:lnTo>
                  <a:pt x="6" y="26"/>
                </a:lnTo>
                <a:lnTo>
                  <a:pt x="10" y="18"/>
                </a:lnTo>
                <a:lnTo>
                  <a:pt x="8" y="12"/>
                </a:lnTo>
                <a:lnTo>
                  <a:pt x="14" y="10"/>
                </a:lnTo>
                <a:lnTo>
                  <a:pt x="1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60" name="Freeform 197">
            <a:extLst>
              <a:ext uri="{FF2B5EF4-FFF2-40B4-BE49-F238E27FC236}">
                <a16:creationId xmlns:a16="http://schemas.microsoft.com/office/drawing/2014/main" id="{8A63C9DD-E51E-41F1-A374-53FE94DB1732}"/>
              </a:ext>
            </a:extLst>
          </p:cNvPr>
          <p:cNvSpPr>
            <a:spLocks/>
          </p:cNvSpPr>
          <p:nvPr/>
        </p:nvSpPr>
        <p:spPr bwMode="gray">
          <a:xfrm>
            <a:off x="2708899" y="1940806"/>
            <a:ext cx="14525" cy="25369"/>
          </a:xfrm>
          <a:custGeom>
            <a:avLst/>
            <a:gdLst>
              <a:gd name="T0" fmla="*/ 10 w 20"/>
              <a:gd name="T1" fmla="*/ 0 h 38"/>
              <a:gd name="T2" fmla="*/ 8 w 20"/>
              <a:gd name="T3" fmla="*/ 4 h 38"/>
              <a:gd name="T4" fmla="*/ 2 w 20"/>
              <a:gd name="T5" fmla="*/ 4 h 38"/>
              <a:gd name="T6" fmla="*/ 0 w 20"/>
              <a:gd name="T7" fmla="*/ 12 h 38"/>
              <a:gd name="T8" fmla="*/ 4 w 20"/>
              <a:gd name="T9" fmla="*/ 16 h 38"/>
              <a:gd name="T10" fmla="*/ 4 w 20"/>
              <a:gd name="T11" fmla="*/ 26 h 38"/>
              <a:gd name="T12" fmla="*/ 4 w 20"/>
              <a:gd name="T13" fmla="*/ 36 h 38"/>
              <a:gd name="T14" fmla="*/ 10 w 20"/>
              <a:gd name="T15" fmla="*/ 38 h 38"/>
              <a:gd name="T16" fmla="*/ 14 w 20"/>
              <a:gd name="T17" fmla="*/ 34 h 38"/>
              <a:gd name="T18" fmla="*/ 20 w 20"/>
              <a:gd name="T19" fmla="*/ 28 h 38"/>
              <a:gd name="T20" fmla="*/ 18 w 20"/>
              <a:gd name="T21" fmla="*/ 14 h 38"/>
              <a:gd name="T22" fmla="*/ 20 w 20"/>
              <a:gd name="T23" fmla="*/ 6 h 38"/>
              <a:gd name="T24" fmla="*/ 18 w 20"/>
              <a:gd name="T25" fmla="*/ 2 h 38"/>
              <a:gd name="T26" fmla="*/ 10 w 20"/>
              <a:gd name="T27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0" h="38">
                <a:moveTo>
                  <a:pt x="10" y="0"/>
                </a:moveTo>
                <a:lnTo>
                  <a:pt x="8" y="4"/>
                </a:lnTo>
                <a:lnTo>
                  <a:pt x="2" y="4"/>
                </a:lnTo>
                <a:lnTo>
                  <a:pt x="0" y="12"/>
                </a:lnTo>
                <a:lnTo>
                  <a:pt x="4" y="16"/>
                </a:lnTo>
                <a:lnTo>
                  <a:pt x="4" y="26"/>
                </a:lnTo>
                <a:lnTo>
                  <a:pt x="4" y="36"/>
                </a:lnTo>
                <a:lnTo>
                  <a:pt x="10" y="38"/>
                </a:lnTo>
                <a:lnTo>
                  <a:pt x="14" y="34"/>
                </a:lnTo>
                <a:lnTo>
                  <a:pt x="20" y="28"/>
                </a:lnTo>
                <a:lnTo>
                  <a:pt x="18" y="14"/>
                </a:lnTo>
                <a:lnTo>
                  <a:pt x="20" y="6"/>
                </a:lnTo>
                <a:lnTo>
                  <a:pt x="18" y="2"/>
                </a:lnTo>
                <a:lnTo>
                  <a:pt x="1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61" name="Freeform 198">
            <a:extLst>
              <a:ext uri="{FF2B5EF4-FFF2-40B4-BE49-F238E27FC236}">
                <a16:creationId xmlns:a16="http://schemas.microsoft.com/office/drawing/2014/main" id="{59F5DCFC-1E21-44B5-8698-513ACF6DD719}"/>
              </a:ext>
            </a:extLst>
          </p:cNvPr>
          <p:cNvSpPr>
            <a:spLocks/>
          </p:cNvSpPr>
          <p:nvPr/>
        </p:nvSpPr>
        <p:spPr bwMode="gray">
          <a:xfrm>
            <a:off x="2642085" y="1803278"/>
            <a:ext cx="43574" cy="25369"/>
          </a:xfrm>
          <a:custGeom>
            <a:avLst/>
            <a:gdLst>
              <a:gd name="T0" fmla="*/ 0 w 60"/>
              <a:gd name="T1" fmla="*/ 6 h 38"/>
              <a:gd name="T2" fmla="*/ 12 w 60"/>
              <a:gd name="T3" fmla="*/ 2 h 38"/>
              <a:gd name="T4" fmla="*/ 26 w 60"/>
              <a:gd name="T5" fmla="*/ 2 h 38"/>
              <a:gd name="T6" fmla="*/ 38 w 60"/>
              <a:gd name="T7" fmla="*/ 0 h 38"/>
              <a:gd name="T8" fmla="*/ 46 w 60"/>
              <a:gd name="T9" fmla="*/ 2 h 38"/>
              <a:gd name="T10" fmla="*/ 50 w 60"/>
              <a:gd name="T11" fmla="*/ 4 h 38"/>
              <a:gd name="T12" fmla="*/ 56 w 60"/>
              <a:gd name="T13" fmla="*/ 12 h 38"/>
              <a:gd name="T14" fmla="*/ 60 w 60"/>
              <a:gd name="T15" fmla="*/ 20 h 38"/>
              <a:gd name="T16" fmla="*/ 58 w 60"/>
              <a:gd name="T17" fmla="*/ 26 h 38"/>
              <a:gd name="T18" fmla="*/ 52 w 60"/>
              <a:gd name="T19" fmla="*/ 26 h 38"/>
              <a:gd name="T20" fmla="*/ 52 w 60"/>
              <a:gd name="T21" fmla="*/ 38 h 38"/>
              <a:gd name="T22" fmla="*/ 46 w 60"/>
              <a:gd name="T23" fmla="*/ 38 h 38"/>
              <a:gd name="T24" fmla="*/ 38 w 60"/>
              <a:gd name="T25" fmla="*/ 34 h 38"/>
              <a:gd name="T26" fmla="*/ 36 w 60"/>
              <a:gd name="T27" fmla="*/ 30 h 38"/>
              <a:gd name="T28" fmla="*/ 24 w 60"/>
              <a:gd name="T29" fmla="*/ 26 h 38"/>
              <a:gd name="T30" fmla="*/ 10 w 60"/>
              <a:gd name="T31" fmla="*/ 14 h 38"/>
              <a:gd name="T32" fmla="*/ 0 w 60"/>
              <a:gd name="T33" fmla="*/ 6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0" h="38">
                <a:moveTo>
                  <a:pt x="0" y="6"/>
                </a:moveTo>
                <a:lnTo>
                  <a:pt x="12" y="2"/>
                </a:lnTo>
                <a:lnTo>
                  <a:pt x="26" y="2"/>
                </a:lnTo>
                <a:lnTo>
                  <a:pt x="38" y="0"/>
                </a:lnTo>
                <a:lnTo>
                  <a:pt x="46" y="2"/>
                </a:lnTo>
                <a:lnTo>
                  <a:pt x="50" y="4"/>
                </a:lnTo>
                <a:lnTo>
                  <a:pt x="56" y="12"/>
                </a:lnTo>
                <a:lnTo>
                  <a:pt x="60" y="20"/>
                </a:lnTo>
                <a:lnTo>
                  <a:pt x="58" y="26"/>
                </a:lnTo>
                <a:lnTo>
                  <a:pt x="52" y="26"/>
                </a:lnTo>
                <a:lnTo>
                  <a:pt x="52" y="38"/>
                </a:lnTo>
                <a:lnTo>
                  <a:pt x="46" y="38"/>
                </a:lnTo>
                <a:lnTo>
                  <a:pt x="38" y="34"/>
                </a:lnTo>
                <a:lnTo>
                  <a:pt x="36" y="30"/>
                </a:lnTo>
                <a:lnTo>
                  <a:pt x="24" y="26"/>
                </a:lnTo>
                <a:lnTo>
                  <a:pt x="10" y="14"/>
                </a:lnTo>
                <a:lnTo>
                  <a:pt x="0" y="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62" name="Freeform 199">
            <a:extLst>
              <a:ext uri="{FF2B5EF4-FFF2-40B4-BE49-F238E27FC236}">
                <a16:creationId xmlns:a16="http://schemas.microsoft.com/office/drawing/2014/main" id="{F484A68E-4B95-4A99-A122-18F9A06B7C1D}"/>
              </a:ext>
            </a:extLst>
          </p:cNvPr>
          <p:cNvSpPr>
            <a:spLocks/>
          </p:cNvSpPr>
          <p:nvPr/>
        </p:nvSpPr>
        <p:spPr bwMode="gray">
          <a:xfrm>
            <a:off x="2650800" y="1772568"/>
            <a:ext cx="43574" cy="37386"/>
          </a:xfrm>
          <a:custGeom>
            <a:avLst/>
            <a:gdLst>
              <a:gd name="T0" fmla="*/ 44 w 60"/>
              <a:gd name="T1" fmla="*/ 56 h 56"/>
              <a:gd name="T2" fmla="*/ 38 w 60"/>
              <a:gd name="T3" fmla="*/ 50 h 56"/>
              <a:gd name="T4" fmla="*/ 26 w 60"/>
              <a:gd name="T5" fmla="*/ 46 h 56"/>
              <a:gd name="T6" fmla="*/ 14 w 60"/>
              <a:gd name="T7" fmla="*/ 48 h 56"/>
              <a:gd name="T8" fmla="*/ 0 w 60"/>
              <a:gd name="T9" fmla="*/ 48 h 56"/>
              <a:gd name="T10" fmla="*/ 10 w 60"/>
              <a:gd name="T11" fmla="*/ 40 h 56"/>
              <a:gd name="T12" fmla="*/ 16 w 60"/>
              <a:gd name="T13" fmla="*/ 32 h 56"/>
              <a:gd name="T14" fmla="*/ 16 w 60"/>
              <a:gd name="T15" fmla="*/ 22 h 56"/>
              <a:gd name="T16" fmla="*/ 18 w 60"/>
              <a:gd name="T17" fmla="*/ 16 h 56"/>
              <a:gd name="T18" fmla="*/ 26 w 60"/>
              <a:gd name="T19" fmla="*/ 12 h 56"/>
              <a:gd name="T20" fmla="*/ 30 w 60"/>
              <a:gd name="T21" fmla="*/ 18 h 56"/>
              <a:gd name="T22" fmla="*/ 32 w 60"/>
              <a:gd name="T23" fmla="*/ 24 h 56"/>
              <a:gd name="T24" fmla="*/ 38 w 60"/>
              <a:gd name="T25" fmla="*/ 20 h 56"/>
              <a:gd name="T26" fmla="*/ 34 w 60"/>
              <a:gd name="T27" fmla="*/ 8 h 56"/>
              <a:gd name="T28" fmla="*/ 42 w 60"/>
              <a:gd name="T29" fmla="*/ 2 h 56"/>
              <a:gd name="T30" fmla="*/ 54 w 60"/>
              <a:gd name="T31" fmla="*/ 0 h 56"/>
              <a:gd name="T32" fmla="*/ 60 w 60"/>
              <a:gd name="T33" fmla="*/ 14 h 56"/>
              <a:gd name="T34" fmla="*/ 56 w 60"/>
              <a:gd name="T35" fmla="*/ 20 h 56"/>
              <a:gd name="T36" fmla="*/ 56 w 60"/>
              <a:gd name="T37" fmla="*/ 30 h 56"/>
              <a:gd name="T38" fmla="*/ 50 w 60"/>
              <a:gd name="T39" fmla="*/ 34 h 56"/>
              <a:gd name="T40" fmla="*/ 44 w 60"/>
              <a:gd name="T41" fmla="*/ 38 h 56"/>
              <a:gd name="T42" fmla="*/ 44 w 60"/>
              <a:gd name="T43" fmla="*/ 46 h 56"/>
              <a:gd name="T44" fmla="*/ 44 w 60"/>
              <a:gd name="T45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0" h="56">
                <a:moveTo>
                  <a:pt x="44" y="56"/>
                </a:moveTo>
                <a:lnTo>
                  <a:pt x="38" y="50"/>
                </a:lnTo>
                <a:lnTo>
                  <a:pt x="26" y="46"/>
                </a:lnTo>
                <a:lnTo>
                  <a:pt x="14" y="48"/>
                </a:lnTo>
                <a:lnTo>
                  <a:pt x="0" y="48"/>
                </a:lnTo>
                <a:lnTo>
                  <a:pt x="10" y="40"/>
                </a:lnTo>
                <a:lnTo>
                  <a:pt x="16" y="32"/>
                </a:lnTo>
                <a:lnTo>
                  <a:pt x="16" y="22"/>
                </a:lnTo>
                <a:lnTo>
                  <a:pt x="18" y="16"/>
                </a:lnTo>
                <a:lnTo>
                  <a:pt x="26" y="12"/>
                </a:lnTo>
                <a:lnTo>
                  <a:pt x="30" y="18"/>
                </a:lnTo>
                <a:lnTo>
                  <a:pt x="32" y="24"/>
                </a:lnTo>
                <a:lnTo>
                  <a:pt x="38" y="20"/>
                </a:lnTo>
                <a:lnTo>
                  <a:pt x="34" y="8"/>
                </a:lnTo>
                <a:lnTo>
                  <a:pt x="42" y="2"/>
                </a:lnTo>
                <a:lnTo>
                  <a:pt x="54" y="0"/>
                </a:lnTo>
                <a:lnTo>
                  <a:pt x="60" y="14"/>
                </a:lnTo>
                <a:lnTo>
                  <a:pt x="56" y="20"/>
                </a:lnTo>
                <a:lnTo>
                  <a:pt x="56" y="30"/>
                </a:lnTo>
                <a:lnTo>
                  <a:pt x="50" y="34"/>
                </a:lnTo>
                <a:lnTo>
                  <a:pt x="44" y="38"/>
                </a:lnTo>
                <a:lnTo>
                  <a:pt x="44" y="46"/>
                </a:lnTo>
                <a:lnTo>
                  <a:pt x="44" y="5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63" name="Freeform 200">
            <a:extLst>
              <a:ext uri="{FF2B5EF4-FFF2-40B4-BE49-F238E27FC236}">
                <a16:creationId xmlns:a16="http://schemas.microsoft.com/office/drawing/2014/main" id="{1FB0EE73-0350-4D01-B82C-33F4163D3670}"/>
              </a:ext>
            </a:extLst>
          </p:cNvPr>
          <p:cNvSpPr>
            <a:spLocks/>
          </p:cNvSpPr>
          <p:nvPr/>
        </p:nvSpPr>
        <p:spPr bwMode="gray">
          <a:xfrm>
            <a:off x="2705994" y="1712483"/>
            <a:ext cx="30502" cy="41392"/>
          </a:xfrm>
          <a:custGeom>
            <a:avLst/>
            <a:gdLst>
              <a:gd name="T0" fmla="*/ 24 w 42"/>
              <a:gd name="T1" fmla="*/ 60 h 62"/>
              <a:gd name="T2" fmla="*/ 14 w 42"/>
              <a:gd name="T3" fmla="*/ 62 h 62"/>
              <a:gd name="T4" fmla="*/ 8 w 42"/>
              <a:gd name="T5" fmla="*/ 54 h 62"/>
              <a:gd name="T6" fmla="*/ 4 w 42"/>
              <a:gd name="T7" fmla="*/ 46 h 62"/>
              <a:gd name="T8" fmla="*/ 0 w 42"/>
              <a:gd name="T9" fmla="*/ 34 h 62"/>
              <a:gd name="T10" fmla="*/ 0 w 42"/>
              <a:gd name="T11" fmla="*/ 20 h 62"/>
              <a:gd name="T12" fmla="*/ 8 w 42"/>
              <a:gd name="T13" fmla="*/ 12 h 62"/>
              <a:gd name="T14" fmla="*/ 14 w 42"/>
              <a:gd name="T15" fmla="*/ 18 h 62"/>
              <a:gd name="T16" fmla="*/ 22 w 42"/>
              <a:gd name="T17" fmla="*/ 12 h 62"/>
              <a:gd name="T18" fmla="*/ 26 w 42"/>
              <a:gd name="T19" fmla="*/ 6 h 62"/>
              <a:gd name="T20" fmla="*/ 34 w 42"/>
              <a:gd name="T21" fmla="*/ 0 h 62"/>
              <a:gd name="T22" fmla="*/ 38 w 42"/>
              <a:gd name="T23" fmla="*/ 4 h 62"/>
              <a:gd name="T24" fmla="*/ 36 w 42"/>
              <a:gd name="T25" fmla="*/ 12 h 62"/>
              <a:gd name="T26" fmla="*/ 32 w 42"/>
              <a:gd name="T27" fmla="*/ 16 h 62"/>
              <a:gd name="T28" fmla="*/ 34 w 42"/>
              <a:gd name="T29" fmla="*/ 22 h 62"/>
              <a:gd name="T30" fmla="*/ 42 w 42"/>
              <a:gd name="T31" fmla="*/ 26 h 62"/>
              <a:gd name="T32" fmla="*/ 42 w 42"/>
              <a:gd name="T33" fmla="*/ 32 h 62"/>
              <a:gd name="T34" fmla="*/ 32 w 42"/>
              <a:gd name="T35" fmla="*/ 34 h 62"/>
              <a:gd name="T36" fmla="*/ 24 w 42"/>
              <a:gd name="T37" fmla="*/ 38 h 62"/>
              <a:gd name="T38" fmla="*/ 22 w 42"/>
              <a:gd name="T39" fmla="*/ 44 h 62"/>
              <a:gd name="T40" fmla="*/ 20 w 42"/>
              <a:gd name="T41" fmla="*/ 52 h 62"/>
              <a:gd name="T42" fmla="*/ 24 w 42"/>
              <a:gd name="T43" fmla="*/ 6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2" h="62">
                <a:moveTo>
                  <a:pt x="24" y="60"/>
                </a:moveTo>
                <a:lnTo>
                  <a:pt x="14" y="62"/>
                </a:lnTo>
                <a:lnTo>
                  <a:pt x="8" y="54"/>
                </a:lnTo>
                <a:lnTo>
                  <a:pt x="4" y="46"/>
                </a:lnTo>
                <a:lnTo>
                  <a:pt x="0" y="34"/>
                </a:lnTo>
                <a:lnTo>
                  <a:pt x="0" y="20"/>
                </a:lnTo>
                <a:lnTo>
                  <a:pt x="8" y="12"/>
                </a:lnTo>
                <a:lnTo>
                  <a:pt x="14" y="18"/>
                </a:lnTo>
                <a:lnTo>
                  <a:pt x="22" y="12"/>
                </a:lnTo>
                <a:lnTo>
                  <a:pt x="26" y="6"/>
                </a:lnTo>
                <a:lnTo>
                  <a:pt x="34" y="0"/>
                </a:lnTo>
                <a:lnTo>
                  <a:pt x="38" y="4"/>
                </a:lnTo>
                <a:lnTo>
                  <a:pt x="36" y="12"/>
                </a:lnTo>
                <a:lnTo>
                  <a:pt x="32" y="16"/>
                </a:lnTo>
                <a:lnTo>
                  <a:pt x="34" y="22"/>
                </a:lnTo>
                <a:lnTo>
                  <a:pt x="42" y="26"/>
                </a:lnTo>
                <a:lnTo>
                  <a:pt x="42" y="32"/>
                </a:lnTo>
                <a:lnTo>
                  <a:pt x="32" y="34"/>
                </a:lnTo>
                <a:lnTo>
                  <a:pt x="24" y="38"/>
                </a:lnTo>
                <a:lnTo>
                  <a:pt x="22" y="44"/>
                </a:lnTo>
                <a:lnTo>
                  <a:pt x="20" y="52"/>
                </a:lnTo>
                <a:lnTo>
                  <a:pt x="24" y="6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64" name="Freeform 201">
            <a:extLst>
              <a:ext uri="{FF2B5EF4-FFF2-40B4-BE49-F238E27FC236}">
                <a16:creationId xmlns:a16="http://schemas.microsoft.com/office/drawing/2014/main" id="{CB99FB32-E692-4FE5-8CD2-EAAFA4979802}"/>
              </a:ext>
            </a:extLst>
          </p:cNvPr>
          <p:cNvSpPr>
            <a:spLocks/>
          </p:cNvSpPr>
          <p:nvPr/>
        </p:nvSpPr>
        <p:spPr bwMode="gray">
          <a:xfrm>
            <a:off x="2727781" y="1741858"/>
            <a:ext cx="8715" cy="9347"/>
          </a:xfrm>
          <a:custGeom>
            <a:avLst/>
            <a:gdLst>
              <a:gd name="T0" fmla="*/ 2 w 12"/>
              <a:gd name="T1" fmla="*/ 0 h 14"/>
              <a:gd name="T2" fmla="*/ 12 w 12"/>
              <a:gd name="T3" fmla="*/ 0 h 14"/>
              <a:gd name="T4" fmla="*/ 12 w 12"/>
              <a:gd name="T5" fmla="*/ 8 h 14"/>
              <a:gd name="T6" fmla="*/ 12 w 12"/>
              <a:gd name="T7" fmla="*/ 14 h 14"/>
              <a:gd name="T8" fmla="*/ 4 w 12"/>
              <a:gd name="T9" fmla="*/ 14 h 14"/>
              <a:gd name="T10" fmla="*/ 0 w 12"/>
              <a:gd name="T11" fmla="*/ 8 h 14"/>
              <a:gd name="T12" fmla="*/ 2 w 12"/>
              <a:gd name="T13" fmla="*/ 0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2" h="14">
                <a:moveTo>
                  <a:pt x="2" y="0"/>
                </a:moveTo>
                <a:lnTo>
                  <a:pt x="12" y="0"/>
                </a:lnTo>
                <a:lnTo>
                  <a:pt x="12" y="8"/>
                </a:lnTo>
                <a:lnTo>
                  <a:pt x="12" y="14"/>
                </a:lnTo>
                <a:lnTo>
                  <a:pt x="4" y="14"/>
                </a:lnTo>
                <a:lnTo>
                  <a:pt x="0" y="8"/>
                </a:lnTo>
                <a:lnTo>
                  <a:pt x="2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65" name="Freeform 202">
            <a:extLst>
              <a:ext uri="{FF2B5EF4-FFF2-40B4-BE49-F238E27FC236}">
                <a16:creationId xmlns:a16="http://schemas.microsoft.com/office/drawing/2014/main" id="{79E2181A-5B84-4DF8-8118-31BD691FC5AA}"/>
              </a:ext>
            </a:extLst>
          </p:cNvPr>
          <p:cNvSpPr>
            <a:spLocks/>
          </p:cNvSpPr>
          <p:nvPr/>
        </p:nvSpPr>
        <p:spPr bwMode="gray">
          <a:xfrm>
            <a:off x="2740853" y="1735182"/>
            <a:ext cx="18156" cy="16023"/>
          </a:xfrm>
          <a:custGeom>
            <a:avLst/>
            <a:gdLst>
              <a:gd name="T0" fmla="*/ 0 w 25"/>
              <a:gd name="T1" fmla="*/ 6 h 24"/>
              <a:gd name="T2" fmla="*/ 7 w 25"/>
              <a:gd name="T3" fmla="*/ 6 h 24"/>
              <a:gd name="T4" fmla="*/ 15 w 25"/>
              <a:gd name="T5" fmla="*/ 8 h 24"/>
              <a:gd name="T6" fmla="*/ 15 w 25"/>
              <a:gd name="T7" fmla="*/ 2 h 24"/>
              <a:gd name="T8" fmla="*/ 23 w 25"/>
              <a:gd name="T9" fmla="*/ 0 h 24"/>
              <a:gd name="T10" fmla="*/ 25 w 25"/>
              <a:gd name="T11" fmla="*/ 4 h 24"/>
              <a:gd name="T12" fmla="*/ 21 w 25"/>
              <a:gd name="T13" fmla="*/ 10 h 24"/>
              <a:gd name="T14" fmla="*/ 15 w 25"/>
              <a:gd name="T15" fmla="*/ 12 h 24"/>
              <a:gd name="T16" fmla="*/ 15 w 25"/>
              <a:gd name="T17" fmla="*/ 18 h 24"/>
              <a:gd name="T18" fmla="*/ 15 w 25"/>
              <a:gd name="T19" fmla="*/ 24 h 24"/>
              <a:gd name="T20" fmla="*/ 3 w 25"/>
              <a:gd name="T21" fmla="*/ 20 h 24"/>
              <a:gd name="T22" fmla="*/ 0 w 25"/>
              <a:gd name="T23" fmla="*/ 14 h 24"/>
              <a:gd name="T24" fmla="*/ 0 w 25"/>
              <a:gd name="T25" fmla="*/ 6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5" h="24">
                <a:moveTo>
                  <a:pt x="0" y="6"/>
                </a:moveTo>
                <a:lnTo>
                  <a:pt x="7" y="6"/>
                </a:lnTo>
                <a:lnTo>
                  <a:pt x="15" y="8"/>
                </a:lnTo>
                <a:lnTo>
                  <a:pt x="15" y="2"/>
                </a:lnTo>
                <a:lnTo>
                  <a:pt x="23" y="0"/>
                </a:lnTo>
                <a:lnTo>
                  <a:pt x="25" y="4"/>
                </a:lnTo>
                <a:lnTo>
                  <a:pt x="21" y="10"/>
                </a:lnTo>
                <a:lnTo>
                  <a:pt x="15" y="12"/>
                </a:lnTo>
                <a:lnTo>
                  <a:pt x="15" y="18"/>
                </a:lnTo>
                <a:lnTo>
                  <a:pt x="15" y="24"/>
                </a:lnTo>
                <a:lnTo>
                  <a:pt x="3" y="20"/>
                </a:lnTo>
                <a:lnTo>
                  <a:pt x="0" y="14"/>
                </a:lnTo>
                <a:lnTo>
                  <a:pt x="0" y="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66" name="Freeform 203">
            <a:extLst>
              <a:ext uri="{FF2B5EF4-FFF2-40B4-BE49-F238E27FC236}">
                <a16:creationId xmlns:a16="http://schemas.microsoft.com/office/drawing/2014/main" id="{96CB6F8D-E5CA-4A7F-8D80-84718EEDFA85}"/>
              </a:ext>
            </a:extLst>
          </p:cNvPr>
          <p:cNvSpPr>
            <a:spLocks/>
          </p:cNvSpPr>
          <p:nvPr/>
        </p:nvSpPr>
        <p:spPr bwMode="gray">
          <a:xfrm>
            <a:off x="2682754" y="1752540"/>
            <a:ext cx="103852" cy="105483"/>
          </a:xfrm>
          <a:custGeom>
            <a:avLst/>
            <a:gdLst>
              <a:gd name="T0" fmla="*/ 10 w 143"/>
              <a:gd name="T1" fmla="*/ 30 h 158"/>
              <a:gd name="T2" fmla="*/ 18 w 143"/>
              <a:gd name="T3" fmla="*/ 28 h 158"/>
              <a:gd name="T4" fmla="*/ 26 w 143"/>
              <a:gd name="T5" fmla="*/ 28 h 158"/>
              <a:gd name="T6" fmla="*/ 36 w 143"/>
              <a:gd name="T7" fmla="*/ 32 h 158"/>
              <a:gd name="T8" fmla="*/ 40 w 143"/>
              <a:gd name="T9" fmla="*/ 26 h 158"/>
              <a:gd name="T10" fmla="*/ 48 w 143"/>
              <a:gd name="T11" fmla="*/ 22 h 158"/>
              <a:gd name="T12" fmla="*/ 46 w 143"/>
              <a:gd name="T13" fmla="*/ 16 h 158"/>
              <a:gd name="T14" fmla="*/ 44 w 143"/>
              <a:gd name="T15" fmla="*/ 8 h 158"/>
              <a:gd name="T16" fmla="*/ 46 w 143"/>
              <a:gd name="T17" fmla="*/ 2 h 158"/>
              <a:gd name="T18" fmla="*/ 56 w 143"/>
              <a:gd name="T19" fmla="*/ 0 h 158"/>
              <a:gd name="T20" fmla="*/ 62 w 143"/>
              <a:gd name="T21" fmla="*/ 6 h 158"/>
              <a:gd name="T22" fmla="*/ 64 w 143"/>
              <a:gd name="T23" fmla="*/ 12 h 158"/>
              <a:gd name="T24" fmla="*/ 74 w 143"/>
              <a:gd name="T25" fmla="*/ 16 h 158"/>
              <a:gd name="T26" fmla="*/ 80 w 143"/>
              <a:gd name="T27" fmla="*/ 20 h 158"/>
              <a:gd name="T28" fmla="*/ 89 w 143"/>
              <a:gd name="T29" fmla="*/ 22 h 158"/>
              <a:gd name="T30" fmla="*/ 95 w 143"/>
              <a:gd name="T31" fmla="*/ 16 h 158"/>
              <a:gd name="T32" fmla="*/ 109 w 143"/>
              <a:gd name="T33" fmla="*/ 12 h 158"/>
              <a:gd name="T34" fmla="*/ 117 w 143"/>
              <a:gd name="T35" fmla="*/ 10 h 158"/>
              <a:gd name="T36" fmla="*/ 119 w 143"/>
              <a:gd name="T37" fmla="*/ 16 h 158"/>
              <a:gd name="T38" fmla="*/ 131 w 143"/>
              <a:gd name="T39" fmla="*/ 24 h 158"/>
              <a:gd name="T40" fmla="*/ 135 w 143"/>
              <a:gd name="T41" fmla="*/ 34 h 158"/>
              <a:gd name="T42" fmla="*/ 131 w 143"/>
              <a:gd name="T43" fmla="*/ 46 h 158"/>
              <a:gd name="T44" fmla="*/ 139 w 143"/>
              <a:gd name="T45" fmla="*/ 50 h 158"/>
              <a:gd name="T46" fmla="*/ 137 w 143"/>
              <a:gd name="T47" fmla="*/ 60 h 158"/>
              <a:gd name="T48" fmla="*/ 139 w 143"/>
              <a:gd name="T49" fmla="*/ 74 h 158"/>
              <a:gd name="T50" fmla="*/ 143 w 143"/>
              <a:gd name="T51" fmla="*/ 82 h 158"/>
              <a:gd name="T52" fmla="*/ 137 w 143"/>
              <a:gd name="T53" fmla="*/ 84 h 158"/>
              <a:gd name="T54" fmla="*/ 129 w 143"/>
              <a:gd name="T55" fmla="*/ 86 h 158"/>
              <a:gd name="T56" fmla="*/ 119 w 143"/>
              <a:gd name="T57" fmla="*/ 90 h 158"/>
              <a:gd name="T58" fmla="*/ 107 w 143"/>
              <a:gd name="T59" fmla="*/ 94 h 158"/>
              <a:gd name="T60" fmla="*/ 95 w 143"/>
              <a:gd name="T61" fmla="*/ 100 h 158"/>
              <a:gd name="T62" fmla="*/ 103 w 143"/>
              <a:gd name="T63" fmla="*/ 110 h 158"/>
              <a:gd name="T64" fmla="*/ 111 w 143"/>
              <a:gd name="T65" fmla="*/ 120 h 158"/>
              <a:gd name="T66" fmla="*/ 123 w 143"/>
              <a:gd name="T67" fmla="*/ 128 h 158"/>
              <a:gd name="T68" fmla="*/ 123 w 143"/>
              <a:gd name="T69" fmla="*/ 134 h 158"/>
              <a:gd name="T70" fmla="*/ 115 w 143"/>
              <a:gd name="T71" fmla="*/ 138 h 158"/>
              <a:gd name="T72" fmla="*/ 107 w 143"/>
              <a:gd name="T73" fmla="*/ 142 h 158"/>
              <a:gd name="T74" fmla="*/ 107 w 143"/>
              <a:gd name="T75" fmla="*/ 150 h 158"/>
              <a:gd name="T76" fmla="*/ 95 w 143"/>
              <a:gd name="T77" fmla="*/ 150 h 158"/>
              <a:gd name="T78" fmla="*/ 85 w 143"/>
              <a:gd name="T79" fmla="*/ 156 h 158"/>
              <a:gd name="T80" fmla="*/ 56 w 143"/>
              <a:gd name="T81" fmla="*/ 158 h 158"/>
              <a:gd name="T82" fmla="*/ 58 w 143"/>
              <a:gd name="T83" fmla="*/ 154 h 158"/>
              <a:gd name="T84" fmla="*/ 56 w 143"/>
              <a:gd name="T85" fmla="*/ 152 h 158"/>
              <a:gd name="T86" fmla="*/ 48 w 143"/>
              <a:gd name="T87" fmla="*/ 150 h 158"/>
              <a:gd name="T88" fmla="*/ 38 w 143"/>
              <a:gd name="T89" fmla="*/ 152 h 158"/>
              <a:gd name="T90" fmla="*/ 28 w 143"/>
              <a:gd name="T91" fmla="*/ 152 h 158"/>
              <a:gd name="T92" fmla="*/ 22 w 143"/>
              <a:gd name="T93" fmla="*/ 152 h 158"/>
              <a:gd name="T94" fmla="*/ 22 w 143"/>
              <a:gd name="T95" fmla="*/ 146 h 158"/>
              <a:gd name="T96" fmla="*/ 32 w 143"/>
              <a:gd name="T97" fmla="*/ 126 h 158"/>
              <a:gd name="T98" fmla="*/ 30 w 143"/>
              <a:gd name="T99" fmla="*/ 122 h 158"/>
              <a:gd name="T100" fmla="*/ 12 w 143"/>
              <a:gd name="T101" fmla="*/ 122 h 158"/>
              <a:gd name="T102" fmla="*/ 8 w 143"/>
              <a:gd name="T103" fmla="*/ 118 h 158"/>
              <a:gd name="T104" fmla="*/ 2 w 143"/>
              <a:gd name="T105" fmla="*/ 114 h 158"/>
              <a:gd name="T106" fmla="*/ 4 w 143"/>
              <a:gd name="T107" fmla="*/ 106 h 158"/>
              <a:gd name="T108" fmla="*/ 2 w 143"/>
              <a:gd name="T109" fmla="*/ 102 h 158"/>
              <a:gd name="T110" fmla="*/ 4 w 143"/>
              <a:gd name="T111" fmla="*/ 96 h 158"/>
              <a:gd name="T112" fmla="*/ 0 w 143"/>
              <a:gd name="T113" fmla="*/ 86 h 158"/>
              <a:gd name="T114" fmla="*/ 0 w 143"/>
              <a:gd name="T115" fmla="*/ 68 h 158"/>
              <a:gd name="T116" fmla="*/ 12 w 143"/>
              <a:gd name="T117" fmla="*/ 60 h 158"/>
              <a:gd name="T118" fmla="*/ 12 w 143"/>
              <a:gd name="T119" fmla="*/ 50 h 158"/>
              <a:gd name="T120" fmla="*/ 16 w 143"/>
              <a:gd name="T121" fmla="*/ 44 h 158"/>
              <a:gd name="T122" fmla="*/ 10 w 143"/>
              <a:gd name="T123" fmla="*/ 30 h 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43" h="158">
                <a:moveTo>
                  <a:pt x="10" y="30"/>
                </a:moveTo>
                <a:lnTo>
                  <a:pt x="18" y="28"/>
                </a:lnTo>
                <a:lnTo>
                  <a:pt x="26" y="28"/>
                </a:lnTo>
                <a:lnTo>
                  <a:pt x="36" y="32"/>
                </a:lnTo>
                <a:lnTo>
                  <a:pt x="40" y="26"/>
                </a:lnTo>
                <a:lnTo>
                  <a:pt x="48" y="22"/>
                </a:lnTo>
                <a:lnTo>
                  <a:pt x="46" y="16"/>
                </a:lnTo>
                <a:lnTo>
                  <a:pt x="44" y="8"/>
                </a:lnTo>
                <a:lnTo>
                  <a:pt x="46" y="2"/>
                </a:lnTo>
                <a:lnTo>
                  <a:pt x="56" y="0"/>
                </a:lnTo>
                <a:lnTo>
                  <a:pt x="62" y="6"/>
                </a:lnTo>
                <a:lnTo>
                  <a:pt x="64" y="12"/>
                </a:lnTo>
                <a:lnTo>
                  <a:pt x="74" y="16"/>
                </a:lnTo>
                <a:lnTo>
                  <a:pt x="80" y="20"/>
                </a:lnTo>
                <a:lnTo>
                  <a:pt x="89" y="22"/>
                </a:lnTo>
                <a:lnTo>
                  <a:pt x="95" y="16"/>
                </a:lnTo>
                <a:lnTo>
                  <a:pt x="109" y="12"/>
                </a:lnTo>
                <a:lnTo>
                  <a:pt x="117" y="10"/>
                </a:lnTo>
                <a:lnTo>
                  <a:pt x="119" y="16"/>
                </a:lnTo>
                <a:lnTo>
                  <a:pt x="131" y="24"/>
                </a:lnTo>
                <a:lnTo>
                  <a:pt x="135" y="34"/>
                </a:lnTo>
                <a:lnTo>
                  <a:pt x="131" y="46"/>
                </a:lnTo>
                <a:lnTo>
                  <a:pt x="139" y="50"/>
                </a:lnTo>
                <a:lnTo>
                  <a:pt x="137" y="60"/>
                </a:lnTo>
                <a:lnTo>
                  <a:pt x="139" y="74"/>
                </a:lnTo>
                <a:lnTo>
                  <a:pt x="143" y="82"/>
                </a:lnTo>
                <a:lnTo>
                  <a:pt x="137" y="84"/>
                </a:lnTo>
                <a:lnTo>
                  <a:pt x="129" y="86"/>
                </a:lnTo>
                <a:lnTo>
                  <a:pt x="119" y="90"/>
                </a:lnTo>
                <a:lnTo>
                  <a:pt x="107" y="94"/>
                </a:lnTo>
                <a:lnTo>
                  <a:pt x="95" y="100"/>
                </a:lnTo>
                <a:lnTo>
                  <a:pt x="103" y="110"/>
                </a:lnTo>
                <a:lnTo>
                  <a:pt x="111" y="120"/>
                </a:lnTo>
                <a:lnTo>
                  <a:pt x="123" y="128"/>
                </a:lnTo>
                <a:lnTo>
                  <a:pt x="123" y="134"/>
                </a:lnTo>
                <a:lnTo>
                  <a:pt x="115" y="138"/>
                </a:lnTo>
                <a:lnTo>
                  <a:pt x="107" y="142"/>
                </a:lnTo>
                <a:lnTo>
                  <a:pt x="107" y="150"/>
                </a:lnTo>
                <a:lnTo>
                  <a:pt x="95" y="150"/>
                </a:lnTo>
                <a:lnTo>
                  <a:pt x="85" y="156"/>
                </a:lnTo>
                <a:lnTo>
                  <a:pt x="56" y="158"/>
                </a:lnTo>
                <a:lnTo>
                  <a:pt x="58" y="154"/>
                </a:lnTo>
                <a:lnTo>
                  <a:pt x="56" y="152"/>
                </a:lnTo>
                <a:lnTo>
                  <a:pt x="48" y="150"/>
                </a:lnTo>
                <a:lnTo>
                  <a:pt x="38" y="152"/>
                </a:lnTo>
                <a:lnTo>
                  <a:pt x="28" y="152"/>
                </a:lnTo>
                <a:lnTo>
                  <a:pt x="22" y="152"/>
                </a:lnTo>
                <a:lnTo>
                  <a:pt x="22" y="146"/>
                </a:lnTo>
                <a:lnTo>
                  <a:pt x="32" y="126"/>
                </a:lnTo>
                <a:lnTo>
                  <a:pt x="30" y="122"/>
                </a:lnTo>
                <a:lnTo>
                  <a:pt x="12" y="122"/>
                </a:lnTo>
                <a:lnTo>
                  <a:pt x="8" y="118"/>
                </a:lnTo>
                <a:lnTo>
                  <a:pt x="2" y="114"/>
                </a:lnTo>
                <a:lnTo>
                  <a:pt x="4" y="106"/>
                </a:lnTo>
                <a:lnTo>
                  <a:pt x="2" y="102"/>
                </a:lnTo>
                <a:lnTo>
                  <a:pt x="4" y="96"/>
                </a:lnTo>
                <a:lnTo>
                  <a:pt x="0" y="86"/>
                </a:lnTo>
                <a:lnTo>
                  <a:pt x="0" y="68"/>
                </a:lnTo>
                <a:lnTo>
                  <a:pt x="12" y="60"/>
                </a:lnTo>
                <a:lnTo>
                  <a:pt x="12" y="50"/>
                </a:lnTo>
                <a:lnTo>
                  <a:pt x="16" y="44"/>
                </a:lnTo>
                <a:lnTo>
                  <a:pt x="10" y="3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67" name="Freeform 204">
            <a:extLst>
              <a:ext uri="{FF2B5EF4-FFF2-40B4-BE49-F238E27FC236}">
                <a16:creationId xmlns:a16="http://schemas.microsoft.com/office/drawing/2014/main" id="{57D3C471-CA79-465C-83C0-E6FC873D1A6E}"/>
              </a:ext>
            </a:extLst>
          </p:cNvPr>
          <p:cNvSpPr>
            <a:spLocks/>
          </p:cNvSpPr>
          <p:nvPr/>
        </p:nvSpPr>
        <p:spPr bwMode="gray">
          <a:xfrm>
            <a:off x="2751747" y="1807284"/>
            <a:ext cx="79886" cy="33381"/>
          </a:xfrm>
          <a:custGeom>
            <a:avLst/>
            <a:gdLst>
              <a:gd name="T0" fmla="*/ 48 w 110"/>
              <a:gd name="T1" fmla="*/ 0 h 50"/>
              <a:gd name="T2" fmla="*/ 56 w 110"/>
              <a:gd name="T3" fmla="*/ 4 h 50"/>
              <a:gd name="T4" fmla="*/ 68 w 110"/>
              <a:gd name="T5" fmla="*/ 8 h 50"/>
              <a:gd name="T6" fmla="*/ 70 w 110"/>
              <a:gd name="T7" fmla="*/ 16 h 50"/>
              <a:gd name="T8" fmla="*/ 78 w 110"/>
              <a:gd name="T9" fmla="*/ 18 h 50"/>
              <a:gd name="T10" fmla="*/ 80 w 110"/>
              <a:gd name="T11" fmla="*/ 14 h 50"/>
              <a:gd name="T12" fmla="*/ 88 w 110"/>
              <a:gd name="T13" fmla="*/ 16 h 50"/>
              <a:gd name="T14" fmla="*/ 94 w 110"/>
              <a:gd name="T15" fmla="*/ 20 h 50"/>
              <a:gd name="T16" fmla="*/ 102 w 110"/>
              <a:gd name="T17" fmla="*/ 24 h 50"/>
              <a:gd name="T18" fmla="*/ 110 w 110"/>
              <a:gd name="T19" fmla="*/ 30 h 50"/>
              <a:gd name="T20" fmla="*/ 100 w 110"/>
              <a:gd name="T21" fmla="*/ 36 h 50"/>
              <a:gd name="T22" fmla="*/ 92 w 110"/>
              <a:gd name="T23" fmla="*/ 44 h 50"/>
              <a:gd name="T24" fmla="*/ 82 w 110"/>
              <a:gd name="T25" fmla="*/ 46 h 50"/>
              <a:gd name="T26" fmla="*/ 76 w 110"/>
              <a:gd name="T27" fmla="*/ 50 h 50"/>
              <a:gd name="T28" fmla="*/ 66 w 110"/>
              <a:gd name="T29" fmla="*/ 50 h 50"/>
              <a:gd name="T30" fmla="*/ 46 w 110"/>
              <a:gd name="T31" fmla="*/ 42 h 50"/>
              <a:gd name="T32" fmla="*/ 44 w 110"/>
              <a:gd name="T33" fmla="*/ 48 h 50"/>
              <a:gd name="T34" fmla="*/ 28 w 110"/>
              <a:gd name="T35" fmla="*/ 46 h 50"/>
              <a:gd name="T36" fmla="*/ 20 w 110"/>
              <a:gd name="T37" fmla="*/ 40 h 50"/>
              <a:gd name="T38" fmla="*/ 14 w 110"/>
              <a:gd name="T39" fmla="*/ 34 h 50"/>
              <a:gd name="T40" fmla="*/ 0 w 110"/>
              <a:gd name="T41" fmla="*/ 18 h 50"/>
              <a:gd name="T42" fmla="*/ 12 w 110"/>
              <a:gd name="T43" fmla="*/ 12 h 50"/>
              <a:gd name="T44" fmla="*/ 24 w 110"/>
              <a:gd name="T45" fmla="*/ 8 h 50"/>
              <a:gd name="T46" fmla="*/ 34 w 110"/>
              <a:gd name="T47" fmla="*/ 4 h 50"/>
              <a:gd name="T48" fmla="*/ 42 w 110"/>
              <a:gd name="T49" fmla="*/ 2 h 50"/>
              <a:gd name="T50" fmla="*/ 48 w 110"/>
              <a:gd name="T51" fmla="*/ 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10" h="50">
                <a:moveTo>
                  <a:pt x="48" y="0"/>
                </a:moveTo>
                <a:lnTo>
                  <a:pt x="56" y="4"/>
                </a:lnTo>
                <a:lnTo>
                  <a:pt x="68" y="8"/>
                </a:lnTo>
                <a:lnTo>
                  <a:pt x="70" y="16"/>
                </a:lnTo>
                <a:lnTo>
                  <a:pt x="78" y="18"/>
                </a:lnTo>
                <a:lnTo>
                  <a:pt x="80" y="14"/>
                </a:lnTo>
                <a:lnTo>
                  <a:pt x="88" y="16"/>
                </a:lnTo>
                <a:lnTo>
                  <a:pt x="94" y="20"/>
                </a:lnTo>
                <a:lnTo>
                  <a:pt x="102" y="24"/>
                </a:lnTo>
                <a:lnTo>
                  <a:pt x="110" y="30"/>
                </a:lnTo>
                <a:lnTo>
                  <a:pt x="100" y="36"/>
                </a:lnTo>
                <a:lnTo>
                  <a:pt x="92" y="44"/>
                </a:lnTo>
                <a:lnTo>
                  <a:pt x="82" y="46"/>
                </a:lnTo>
                <a:lnTo>
                  <a:pt x="76" y="50"/>
                </a:lnTo>
                <a:lnTo>
                  <a:pt x="66" y="50"/>
                </a:lnTo>
                <a:lnTo>
                  <a:pt x="46" y="42"/>
                </a:lnTo>
                <a:lnTo>
                  <a:pt x="44" y="48"/>
                </a:lnTo>
                <a:lnTo>
                  <a:pt x="28" y="46"/>
                </a:lnTo>
                <a:lnTo>
                  <a:pt x="20" y="40"/>
                </a:lnTo>
                <a:lnTo>
                  <a:pt x="14" y="34"/>
                </a:lnTo>
                <a:lnTo>
                  <a:pt x="0" y="18"/>
                </a:lnTo>
                <a:lnTo>
                  <a:pt x="12" y="12"/>
                </a:lnTo>
                <a:lnTo>
                  <a:pt x="24" y="8"/>
                </a:lnTo>
                <a:lnTo>
                  <a:pt x="34" y="4"/>
                </a:lnTo>
                <a:lnTo>
                  <a:pt x="42" y="2"/>
                </a:lnTo>
                <a:lnTo>
                  <a:pt x="48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68" name="Freeform 205">
            <a:extLst>
              <a:ext uri="{FF2B5EF4-FFF2-40B4-BE49-F238E27FC236}">
                <a16:creationId xmlns:a16="http://schemas.microsoft.com/office/drawing/2014/main" id="{A412A3B6-01D5-4CA1-B2CE-9D81C10CF025}"/>
              </a:ext>
            </a:extLst>
          </p:cNvPr>
          <p:cNvSpPr>
            <a:spLocks/>
          </p:cNvSpPr>
          <p:nvPr/>
        </p:nvSpPr>
        <p:spPr bwMode="gray">
          <a:xfrm>
            <a:off x="2806941" y="1827312"/>
            <a:ext cx="65362" cy="25369"/>
          </a:xfrm>
          <a:custGeom>
            <a:avLst/>
            <a:gdLst>
              <a:gd name="T0" fmla="*/ 44 w 90"/>
              <a:gd name="T1" fmla="*/ 2 h 38"/>
              <a:gd name="T2" fmla="*/ 48 w 90"/>
              <a:gd name="T3" fmla="*/ 10 h 38"/>
              <a:gd name="T4" fmla="*/ 58 w 90"/>
              <a:gd name="T5" fmla="*/ 8 h 38"/>
              <a:gd name="T6" fmla="*/ 68 w 90"/>
              <a:gd name="T7" fmla="*/ 4 h 38"/>
              <a:gd name="T8" fmla="*/ 76 w 90"/>
              <a:gd name="T9" fmla="*/ 4 h 38"/>
              <a:gd name="T10" fmla="*/ 86 w 90"/>
              <a:gd name="T11" fmla="*/ 8 h 38"/>
              <a:gd name="T12" fmla="*/ 90 w 90"/>
              <a:gd name="T13" fmla="*/ 12 h 38"/>
              <a:gd name="T14" fmla="*/ 86 w 90"/>
              <a:gd name="T15" fmla="*/ 20 h 38"/>
              <a:gd name="T16" fmla="*/ 82 w 90"/>
              <a:gd name="T17" fmla="*/ 26 h 38"/>
              <a:gd name="T18" fmla="*/ 72 w 90"/>
              <a:gd name="T19" fmla="*/ 24 h 38"/>
              <a:gd name="T20" fmla="*/ 62 w 90"/>
              <a:gd name="T21" fmla="*/ 22 h 38"/>
              <a:gd name="T22" fmla="*/ 56 w 90"/>
              <a:gd name="T23" fmla="*/ 26 h 38"/>
              <a:gd name="T24" fmla="*/ 54 w 90"/>
              <a:gd name="T25" fmla="*/ 28 h 38"/>
              <a:gd name="T26" fmla="*/ 44 w 90"/>
              <a:gd name="T27" fmla="*/ 28 h 38"/>
              <a:gd name="T28" fmla="*/ 38 w 90"/>
              <a:gd name="T29" fmla="*/ 32 h 38"/>
              <a:gd name="T30" fmla="*/ 30 w 90"/>
              <a:gd name="T31" fmla="*/ 32 h 38"/>
              <a:gd name="T32" fmla="*/ 26 w 90"/>
              <a:gd name="T33" fmla="*/ 38 h 38"/>
              <a:gd name="T34" fmla="*/ 18 w 90"/>
              <a:gd name="T35" fmla="*/ 38 h 38"/>
              <a:gd name="T36" fmla="*/ 10 w 90"/>
              <a:gd name="T37" fmla="*/ 36 h 38"/>
              <a:gd name="T38" fmla="*/ 4 w 90"/>
              <a:gd name="T39" fmla="*/ 32 h 38"/>
              <a:gd name="T40" fmla="*/ 2 w 90"/>
              <a:gd name="T41" fmla="*/ 24 h 38"/>
              <a:gd name="T42" fmla="*/ 0 w 90"/>
              <a:gd name="T43" fmla="*/ 20 h 38"/>
              <a:gd name="T44" fmla="*/ 6 w 90"/>
              <a:gd name="T45" fmla="*/ 16 h 38"/>
              <a:gd name="T46" fmla="*/ 16 w 90"/>
              <a:gd name="T47" fmla="*/ 14 h 38"/>
              <a:gd name="T48" fmla="*/ 24 w 90"/>
              <a:gd name="T49" fmla="*/ 6 h 38"/>
              <a:gd name="T50" fmla="*/ 34 w 90"/>
              <a:gd name="T51" fmla="*/ 0 h 38"/>
              <a:gd name="T52" fmla="*/ 44 w 90"/>
              <a:gd name="T53" fmla="*/ 2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90" h="38">
                <a:moveTo>
                  <a:pt x="44" y="2"/>
                </a:moveTo>
                <a:lnTo>
                  <a:pt x="48" y="10"/>
                </a:lnTo>
                <a:lnTo>
                  <a:pt x="58" y="8"/>
                </a:lnTo>
                <a:lnTo>
                  <a:pt x="68" y="4"/>
                </a:lnTo>
                <a:lnTo>
                  <a:pt x="76" y="4"/>
                </a:lnTo>
                <a:lnTo>
                  <a:pt x="86" y="8"/>
                </a:lnTo>
                <a:lnTo>
                  <a:pt x="90" y="12"/>
                </a:lnTo>
                <a:lnTo>
                  <a:pt x="86" y="20"/>
                </a:lnTo>
                <a:lnTo>
                  <a:pt x="82" y="26"/>
                </a:lnTo>
                <a:lnTo>
                  <a:pt x="72" y="24"/>
                </a:lnTo>
                <a:lnTo>
                  <a:pt x="62" y="22"/>
                </a:lnTo>
                <a:lnTo>
                  <a:pt x="56" y="26"/>
                </a:lnTo>
                <a:lnTo>
                  <a:pt x="54" y="28"/>
                </a:lnTo>
                <a:lnTo>
                  <a:pt x="44" y="28"/>
                </a:lnTo>
                <a:lnTo>
                  <a:pt x="38" y="32"/>
                </a:lnTo>
                <a:lnTo>
                  <a:pt x="30" y="32"/>
                </a:lnTo>
                <a:lnTo>
                  <a:pt x="26" y="38"/>
                </a:lnTo>
                <a:lnTo>
                  <a:pt x="18" y="38"/>
                </a:lnTo>
                <a:lnTo>
                  <a:pt x="10" y="36"/>
                </a:lnTo>
                <a:lnTo>
                  <a:pt x="4" y="32"/>
                </a:lnTo>
                <a:lnTo>
                  <a:pt x="2" y="24"/>
                </a:lnTo>
                <a:lnTo>
                  <a:pt x="0" y="20"/>
                </a:lnTo>
                <a:lnTo>
                  <a:pt x="6" y="16"/>
                </a:lnTo>
                <a:lnTo>
                  <a:pt x="16" y="14"/>
                </a:lnTo>
                <a:lnTo>
                  <a:pt x="24" y="6"/>
                </a:lnTo>
                <a:lnTo>
                  <a:pt x="34" y="0"/>
                </a:lnTo>
                <a:lnTo>
                  <a:pt x="44" y="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69" name="Freeform 206">
            <a:extLst>
              <a:ext uri="{FF2B5EF4-FFF2-40B4-BE49-F238E27FC236}">
                <a16:creationId xmlns:a16="http://schemas.microsoft.com/office/drawing/2014/main" id="{A6E58FC4-5BC0-4BA5-B006-8D7CC990F841}"/>
              </a:ext>
            </a:extLst>
          </p:cNvPr>
          <p:cNvSpPr>
            <a:spLocks/>
          </p:cNvSpPr>
          <p:nvPr/>
        </p:nvSpPr>
        <p:spPr bwMode="gray">
          <a:xfrm>
            <a:off x="2721971" y="1835324"/>
            <a:ext cx="92232" cy="34716"/>
          </a:xfrm>
          <a:custGeom>
            <a:avLst/>
            <a:gdLst>
              <a:gd name="T0" fmla="*/ 14 w 127"/>
              <a:gd name="T1" fmla="*/ 46 h 52"/>
              <a:gd name="T2" fmla="*/ 12 w 127"/>
              <a:gd name="T3" fmla="*/ 42 h 52"/>
              <a:gd name="T4" fmla="*/ 8 w 127"/>
              <a:gd name="T5" fmla="*/ 42 h 52"/>
              <a:gd name="T6" fmla="*/ 0 w 127"/>
              <a:gd name="T7" fmla="*/ 40 h 52"/>
              <a:gd name="T8" fmla="*/ 2 w 127"/>
              <a:gd name="T9" fmla="*/ 34 h 52"/>
              <a:gd name="T10" fmla="*/ 18 w 127"/>
              <a:gd name="T11" fmla="*/ 34 h 52"/>
              <a:gd name="T12" fmla="*/ 31 w 127"/>
              <a:gd name="T13" fmla="*/ 32 h 52"/>
              <a:gd name="T14" fmla="*/ 41 w 127"/>
              <a:gd name="T15" fmla="*/ 26 h 52"/>
              <a:gd name="T16" fmla="*/ 53 w 127"/>
              <a:gd name="T17" fmla="*/ 26 h 52"/>
              <a:gd name="T18" fmla="*/ 53 w 127"/>
              <a:gd name="T19" fmla="*/ 18 h 52"/>
              <a:gd name="T20" fmla="*/ 69 w 127"/>
              <a:gd name="T21" fmla="*/ 10 h 52"/>
              <a:gd name="T22" fmla="*/ 69 w 127"/>
              <a:gd name="T23" fmla="*/ 4 h 52"/>
              <a:gd name="T24" fmla="*/ 85 w 127"/>
              <a:gd name="T25" fmla="*/ 6 h 52"/>
              <a:gd name="T26" fmla="*/ 87 w 127"/>
              <a:gd name="T27" fmla="*/ 0 h 52"/>
              <a:gd name="T28" fmla="*/ 107 w 127"/>
              <a:gd name="T29" fmla="*/ 8 h 52"/>
              <a:gd name="T30" fmla="*/ 117 w 127"/>
              <a:gd name="T31" fmla="*/ 8 h 52"/>
              <a:gd name="T32" fmla="*/ 119 w 127"/>
              <a:gd name="T33" fmla="*/ 12 h 52"/>
              <a:gd name="T34" fmla="*/ 121 w 127"/>
              <a:gd name="T35" fmla="*/ 20 h 52"/>
              <a:gd name="T36" fmla="*/ 127 w 127"/>
              <a:gd name="T37" fmla="*/ 24 h 52"/>
              <a:gd name="T38" fmla="*/ 117 w 127"/>
              <a:gd name="T39" fmla="*/ 28 h 52"/>
              <a:gd name="T40" fmla="*/ 111 w 127"/>
              <a:gd name="T41" fmla="*/ 34 h 52"/>
              <a:gd name="T42" fmla="*/ 109 w 127"/>
              <a:gd name="T43" fmla="*/ 40 h 52"/>
              <a:gd name="T44" fmla="*/ 103 w 127"/>
              <a:gd name="T45" fmla="*/ 44 h 52"/>
              <a:gd name="T46" fmla="*/ 89 w 127"/>
              <a:gd name="T47" fmla="*/ 50 h 52"/>
              <a:gd name="T48" fmla="*/ 77 w 127"/>
              <a:gd name="T49" fmla="*/ 52 h 52"/>
              <a:gd name="T50" fmla="*/ 67 w 127"/>
              <a:gd name="T51" fmla="*/ 48 h 52"/>
              <a:gd name="T52" fmla="*/ 51 w 127"/>
              <a:gd name="T53" fmla="*/ 50 h 52"/>
              <a:gd name="T54" fmla="*/ 41 w 127"/>
              <a:gd name="T55" fmla="*/ 46 h 52"/>
              <a:gd name="T56" fmla="*/ 41 w 127"/>
              <a:gd name="T57" fmla="*/ 40 h 52"/>
              <a:gd name="T58" fmla="*/ 26 w 127"/>
              <a:gd name="T59" fmla="*/ 40 h 52"/>
              <a:gd name="T60" fmla="*/ 24 w 127"/>
              <a:gd name="T61" fmla="*/ 46 h 52"/>
              <a:gd name="T62" fmla="*/ 14 w 127"/>
              <a:gd name="T63" fmla="*/ 46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27" h="52">
                <a:moveTo>
                  <a:pt x="14" y="46"/>
                </a:moveTo>
                <a:lnTo>
                  <a:pt x="12" y="42"/>
                </a:lnTo>
                <a:lnTo>
                  <a:pt x="8" y="42"/>
                </a:lnTo>
                <a:lnTo>
                  <a:pt x="0" y="40"/>
                </a:lnTo>
                <a:lnTo>
                  <a:pt x="2" y="34"/>
                </a:lnTo>
                <a:lnTo>
                  <a:pt x="18" y="34"/>
                </a:lnTo>
                <a:lnTo>
                  <a:pt x="31" y="32"/>
                </a:lnTo>
                <a:lnTo>
                  <a:pt x="41" y="26"/>
                </a:lnTo>
                <a:lnTo>
                  <a:pt x="53" y="26"/>
                </a:lnTo>
                <a:lnTo>
                  <a:pt x="53" y="18"/>
                </a:lnTo>
                <a:lnTo>
                  <a:pt x="69" y="10"/>
                </a:lnTo>
                <a:lnTo>
                  <a:pt x="69" y="4"/>
                </a:lnTo>
                <a:lnTo>
                  <a:pt x="85" y="6"/>
                </a:lnTo>
                <a:lnTo>
                  <a:pt x="87" y="0"/>
                </a:lnTo>
                <a:lnTo>
                  <a:pt x="107" y="8"/>
                </a:lnTo>
                <a:lnTo>
                  <a:pt x="117" y="8"/>
                </a:lnTo>
                <a:lnTo>
                  <a:pt x="119" y="12"/>
                </a:lnTo>
                <a:lnTo>
                  <a:pt x="121" y="20"/>
                </a:lnTo>
                <a:lnTo>
                  <a:pt x="127" y="24"/>
                </a:lnTo>
                <a:lnTo>
                  <a:pt x="117" y="28"/>
                </a:lnTo>
                <a:lnTo>
                  <a:pt x="111" y="34"/>
                </a:lnTo>
                <a:lnTo>
                  <a:pt x="109" y="40"/>
                </a:lnTo>
                <a:lnTo>
                  <a:pt x="103" y="44"/>
                </a:lnTo>
                <a:lnTo>
                  <a:pt x="89" y="50"/>
                </a:lnTo>
                <a:lnTo>
                  <a:pt x="77" y="52"/>
                </a:lnTo>
                <a:lnTo>
                  <a:pt x="67" y="48"/>
                </a:lnTo>
                <a:lnTo>
                  <a:pt x="51" y="50"/>
                </a:lnTo>
                <a:lnTo>
                  <a:pt x="41" y="46"/>
                </a:lnTo>
                <a:lnTo>
                  <a:pt x="41" y="40"/>
                </a:lnTo>
                <a:lnTo>
                  <a:pt x="26" y="40"/>
                </a:lnTo>
                <a:lnTo>
                  <a:pt x="24" y="46"/>
                </a:lnTo>
                <a:lnTo>
                  <a:pt x="14" y="4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70" name="Freeform 207">
            <a:extLst>
              <a:ext uri="{FF2B5EF4-FFF2-40B4-BE49-F238E27FC236}">
                <a16:creationId xmlns:a16="http://schemas.microsoft.com/office/drawing/2014/main" id="{2B05E05C-5609-4747-A0FC-92AD592F11B9}"/>
              </a:ext>
            </a:extLst>
          </p:cNvPr>
          <p:cNvSpPr>
            <a:spLocks/>
          </p:cNvSpPr>
          <p:nvPr/>
        </p:nvSpPr>
        <p:spPr bwMode="gray">
          <a:xfrm>
            <a:off x="2777892" y="1755210"/>
            <a:ext cx="111841" cy="80113"/>
          </a:xfrm>
          <a:custGeom>
            <a:avLst/>
            <a:gdLst>
              <a:gd name="T0" fmla="*/ 0 w 154"/>
              <a:gd name="T1" fmla="*/ 20 h 120"/>
              <a:gd name="T2" fmla="*/ 16 w 154"/>
              <a:gd name="T3" fmla="*/ 16 h 120"/>
              <a:gd name="T4" fmla="*/ 32 w 154"/>
              <a:gd name="T5" fmla="*/ 10 h 120"/>
              <a:gd name="T6" fmla="*/ 48 w 154"/>
              <a:gd name="T7" fmla="*/ 0 h 120"/>
              <a:gd name="T8" fmla="*/ 66 w 154"/>
              <a:gd name="T9" fmla="*/ 0 h 120"/>
              <a:gd name="T10" fmla="*/ 70 w 154"/>
              <a:gd name="T11" fmla="*/ 8 h 120"/>
              <a:gd name="T12" fmla="*/ 88 w 154"/>
              <a:gd name="T13" fmla="*/ 8 h 120"/>
              <a:gd name="T14" fmla="*/ 108 w 154"/>
              <a:gd name="T15" fmla="*/ 8 h 120"/>
              <a:gd name="T16" fmla="*/ 134 w 154"/>
              <a:gd name="T17" fmla="*/ 6 h 120"/>
              <a:gd name="T18" fmla="*/ 140 w 154"/>
              <a:gd name="T19" fmla="*/ 12 h 120"/>
              <a:gd name="T20" fmla="*/ 144 w 154"/>
              <a:gd name="T21" fmla="*/ 16 h 120"/>
              <a:gd name="T22" fmla="*/ 148 w 154"/>
              <a:gd name="T23" fmla="*/ 28 h 120"/>
              <a:gd name="T24" fmla="*/ 152 w 154"/>
              <a:gd name="T25" fmla="*/ 32 h 120"/>
              <a:gd name="T26" fmla="*/ 152 w 154"/>
              <a:gd name="T27" fmla="*/ 46 h 120"/>
              <a:gd name="T28" fmla="*/ 144 w 154"/>
              <a:gd name="T29" fmla="*/ 46 h 120"/>
              <a:gd name="T30" fmla="*/ 142 w 154"/>
              <a:gd name="T31" fmla="*/ 52 h 120"/>
              <a:gd name="T32" fmla="*/ 148 w 154"/>
              <a:gd name="T33" fmla="*/ 56 h 120"/>
              <a:gd name="T34" fmla="*/ 148 w 154"/>
              <a:gd name="T35" fmla="*/ 70 h 120"/>
              <a:gd name="T36" fmla="*/ 150 w 154"/>
              <a:gd name="T37" fmla="*/ 76 h 120"/>
              <a:gd name="T38" fmla="*/ 152 w 154"/>
              <a:gd name="T39" fmla="*/ 84 h 120"/>
              <a:gd name="T40" fmla="*/ 154 w 154"/>
              <a:gd name="T41" fmla="*/ 88 h 120"/>
              <a:gd name="T42" fmla="*/ 144 w 154"/>
              <a:gd name="T43" fmla="*/ 94 h 120"/>
              <a:gd name="T44" fmla="*/ 136 w 154"/>
              <a:gd name="T45" fmla="*/ 102 h 120"/>
              <a:gd name="T46" fmla="*/ 132 w 154"/>
              <a:gd name="T47" fmla="*/ 110 h 120"/>
              <a:gd name="T48" fmla="*/ 130 w 154"/>
              <a:gd name="T49" fmla="*/ 120 h 120"/>
              <a:gd name="T50" fmla="*/ 126 w 154"/>
              <a:gd name="T51" fmla="*/ 116 h 120"/>
              <a:gd name="T52" fmla="*/ 116 w 154"/>
              <a:gd name="T53" fmla="*/ 112 h 120"/>
              <a:gd name="T54" fmla="*/ 108 w 154"/>
              <a:gd name="T55" fmla="*/ 112 h 120"/>
              <a:gd name="T56" fmla="*/ 98 w 154"/>
              <a:gd name="T57" fmla="*/ 116 h 120"/>
              <a:gd name="T58" fmla="*/ 88 w 154"/>
              <a:gd name="T59" fmla="*/ 118 h 120"/>
              <a:gd name="T60" fmla="*/ 84 w 154"/>
              <a:gd name="T61" fmla="*/ 110 h 120"/>
              <a:gd name="T62" fmla="*/ 74 w 154"/>
              <a:gd name="T63" fmla="*/ 108 h 120"/>
              <a:gd name="T64" fmla="*/ 66 w 154"/>
              <a:gd name="T65" fmla="*/ 102 h 120"/>
              <a:gd name="T66" fmla="*/ 58 w 154"/>
              <a:gd name="T67" fmla="*/ 98 h 120"/>
              <a:gd name="T68" fmla="*/ 52 w 154"/>
              <a:gd name="T69" fmla="*/ 94 h 120"/>
              <a:gd name="T70" fmla="*/ 44 w 154"/>
              <a:gd name="T71" fmla="*/ 92 h 120"/>
              <a:gd name="T72" fmla="*/ 42 w 154"/>
              <a:gd name="T73" fmla="*/ 96 h 120"/>
              <a:gd name="T74" fmla="*/ 34 w 154"/>
              <a:gd name="T75" fmla="*/ 94 h 120"/>
              <a:gd name="T76" fmla="*/ 32 w 154"/>
              <a:gd name="T77" fmla="*/ 86 h 120"/>
              <a:gd name="T78" fmla="*/ 24 w 154"/>
              <a:gd name="T79" fmla="*/ 84 h 120"/>
              <a:gd name="T80" fmla="*/ 12 w 154"/>
              <a:gd name="T81" fmla="*/ 78 h 120"/>
              <a:gd name="T82" fmla="*/ 8 w 154"/>
              <a:gd name="T83" fmla="*/ 70 h 120"/>
              <a:gd name="T84" fmla="*/ 8 w 154"/>
              <a:gd name="T85" fmla="*/ 46 h 120"/>
              <a:gd name="T86" fmla="*/ 0 w 154"/>
              <a:gd name="T87" fmla="*/ 42 h 120"/>
              <a:gd name="T88" fmla="*/ 4 w 154"/>
              <a:gd name="T89" fmla="*/ 30 h 120"/>
              <a:gd name="T90" fmla="*/ 0 w 154"/>
              <a:gd name="T91" fmla="*/ 20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54" h="120">
                <a:moveTo>
                  <a:pt x="0" y="20"/>
                </a:moveTo>
                <a:lnTo>
                  <a:pt x="16" y="16"/>
                </a:lnTo>
                <a:lnTo>
                  <a:pt x="32" y="10"/>
                </a:lnTo>
                <a:lnTo>
                  <a:pt x="48" y="0"/>
                </a:lnTo>
                <a:lnTo>
                  <a:pt x="66" y="0"/>
                </a:lnTo>
                <a:lnTo>
                  <a:pt x="70" y="8"/>
                </a:lnTo>
                <a:lnTo>
                  <a:pt x="88" y="8"/>
                </a:lnTo>
                <a:lnTo>
                  <a:pt x="108" y="8"/>
                </a:lnTo>
                <a:lnTo>
                  <a:pt x="134" y="6"/>
                </a:lnTo>
                <a:lnTo>
                  <a:pt x="140" y="12"/>
                </a:lnTo>
                <a:lnTo>
                  <a:pt x="144" y="16"/>
                </a:lnTo>
                <a:lnTo>
                  <a:pt x="148" y="28"/>
                </a:lnTo>
                <a:lnTo>
                  <a:pt x="152" y="32"/>
                </a:lnTo>
                <a:lnTo>
                  <a:pt x="152" y="46"/>
                </a:lnTo>
                <a:lnTo>
                  <a:pt x="144" y="46"/>
                </a:lnTo>
                <a:lnTo>
                  <a:pt x="142" y="52"/>
                </a:lnTo>
                <a:lnTo>
                  <a:pt x="148" y="56"/>
                </a:lnTo>
                <a:lnTo>
                  <a:pt x="148" y="70"/>
                </a:lnTo>
                <a:lnTo>
                  <a:pt x="150" y="76"/>
                </a:lnTo>
                <a:lnTo>
                  <a:pt x="152" y="84"/>
                </a:lnTo>
                <a:lnTo>
                  <a:pt x="154" y="88"/>
                </a:lnTo>
                <a:lnTo>
                  <a:pt x="144" y="94"/>
                </a:lnTo>
                <a:lnTo>
                  <a:pt x="136" y="102"/>
                </a:lnTo>
                <a:lnTo>
                  <a:pt x="132" y="110"/>
                </a:lnTo>
                <a:lnTo>
                  <a:pt x="130" y="120"/>
                </a:lnTo>
                <a:lnTo>
                  <a:pt x="126" y="116"/>
                </a:lnTo>
                <a:lnTo>
                  <a:pt x="116" y="112"/>
                </a:lnTo>
                <a:lnTo>
                  <a:pt x="108" y="112"/>
                </a:lnTo>
                <a:lnTo>
                  <a:pt x="98" y="116"/>
                </a:lnTo>
                <a:lnTo>
                  <a:pt x="88" y="118"/>
                </a:lnTo>
                <a:lnTo>
                  <a:pt x="84" y="110"/>
                </a:lnTo>
                <a:lnTo>
                  <a:pt x="74" y="108"/>
                </a:lnTo>
                <a:lnTo>
                  <a:pt x="66" y="102"/>
                </a:lnTo>
                <a:lnTo>
                  <a:pt x="58" y="98"/>
                </a:lnTo>
                <a:lnTo>
                  <a:pt x="52" y="94"/>
                </a:lnTo>
                <a:lnTo>
                  <a:pt x="44" y="92"/>
                </a:lnTo>
                <a:lnTo>
                  <a:pt x="42" y="96"/>
                </a:lnTo>
                <a:lnTo>
                  <a:pt x="34" y="94"/>
                </a:lnTo>
                <a:lnTo>
                  <a:pt x="32" y="86"/>
                </a:lnTo>
                <a:lnTo>
                  <a:pt x="24" y="84"/>
                </a:lnTo>
                <a:lnTo>
                  <a:pt x="12" y="78"/>
                </a:lnTo>
                <a:lnTo>
                  <a:pt x="8" y="70"/>
                </a:lnTo>
                <a:lnTo>
                  <a:pt x="8" y="46"/>
                </a:lnTo>
                <a:lnTo>
                  <a:pt x="0" y="42"/>
                </a:lnTo>
                <a:lnTo>
                  <a:pt x="4" y="30"/>
                </a:lnTo>
                <a:lnTo>
                  <a:pt x="0" y="2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71" name="Freeform 208">
            <a:extLst>
              <a:ext uri="{FF2B5EF4-FFF2-40B4-BE49-F238E27FC236}">
                <a16:creationId xmlns:a16="http://schemas.microsoft.com/office/drawing/2014/main" id="{D3C0AE90-B563-44C9-B0D2-65DBD93B9787}"/>
              </a:ext>
            </a:extLst>
          </p:cNvPr>
          <p:cNvSpPr>
            <a:spLocks/>
          </p:cNvSpPr>
          <p:nvPr/>
        </p:nvSpPr>
        <p:spPr bwMode="gray">
          <a:xfrm>
            <a:off x="2801131" y="1842000"/>
            <a:ext cx="72624" cy="37386"/>
          </a:xfrm>
          <a:custGeom>
            <a:avLst/>
            <a:gdLst>
              <a:gd name="T0" fmla="*/ 0 w 100"/>
              <a:gd name="T1" fmla="*/ 30 h 56"/>
              <a:gd name="T2" fmla="*/ 2 w 100"/>
              <a:gd name="T3" fmla="*/ 24 h 56"/>
              <a:gd name="T4" fmla="*/ 8 w 100"/>
              <a:gd name="T5" fmla="*/ 18 h 56"/>
              <a:gd name="T6" fmla="*/ 18 w 100"/>
              <a:gd name="T7" fmla="*/ 14 h 56"/>
              <a:gd name="T8" fmla="*/ 34 w 100"/>
              <a:gd name="T9" fmla="*/ 16 h 56"/>
              <a:gd name="T10" fmla="*/ 38 w 100"/>
              <a:gd name="T11" fmla="*/ 10 h 56"/>
              <a:gd name="T12" fmla="*/ 46 w 100"/>
              <a:gd name="T13" fmla="*/ 10 h 56"/>
              <a:gd name="T14" fmla="*/ 52 w 100"/>
              <a:gd name="T15" fmla="*/ 6 h 56"/>
              <a:gd name="T16" fmla="*/ 62 w 100"/>
              <a:gd name="T17" fmla="*/ 6 h 56"/>
              <a:gd name="T18" fmla="*/ 64 w 100"/>
              <a:gd name="T19" fmla="*/ 4 h 56"/>
              <a:gd name="T20" fmla="*/ 70 w 100"/>
              <a:gd name="T21" fmla="*/ 0 h 56"/>
              <a:gd name="T22" fmla="*/ 90 w 100"/>
              <a:gd name="T23" fmla="*/ 4 h 56"/>
              <a:gd name="T24" fmla="*/ 96 w 100"/>
              <a:gd name="T25" fmla="*/ 8 h 56"/>
              <a:gd name="T26" fmla="*/ 100 w 100"/>
              <a:gd name="T27" fmla="*/ 14 h 56"/>
              <a:gd name="T28" fmla="*/ 92 w 100"/>
              <a:gd name="T29" fmla="*/ 22 h 56"/>
              <a:gd name="T30" fmla="*/ 82 w 100"/>
              <a:gd name="T31" fmla="*/ 36 h 56"/>
              <a:gd name="T32" fmla="*/ 68 w 100"/>
              <a:gd name="T33" fmla="*/ 50 h 56"/>
              <a:gd name="T34" fmla="*/ 48 w 100"/>
              <a:gd name="T35" fmla="*/ 50 h 56"/>
              <a:gd name="T36" fmla="*/ 40 w 100"/>
              <a:gd name="T37" fmla="*/ 54 h 56"/>
              <a:gd name="T38" fmla="*/ 22 w 100"/>
              <a:gd name="T39" fmla="*/ 56 h 56"/>
              <a:gd name="T40" fmla="*/ 10 w 100"/>
              <a:gd name="T41" fmla="*/ 46 h 56"/>
              <a:gd name="T42" fmla="*/ 2 w 100"/>
              <a:gd name="T43" fmla="*/ 38 h 56"/>
              <a:gd name="T44" fmla="*/ 0 w 100"/>
              <a:gd name="T45" fmla="*/ 3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00" h="56">
                <a:moveTo>
                  <a:pt x="0" y="30"/>
                </a:moveTo>
                <a:lnTo>
                  <a:pt x="2" y="24"/>
                </a:lnTo>
                <a:lnTo>
                  <a:pt x="8" y="18"/>
                </a:lnTo>
                <a:lnTo>
                  <a:pt x="18" y="14"/>
                </a:lnTo>
                <a:lnTo>
                  <a:pt x="34" y="16"/>
                </a:lnTo>
                <a:lnTo>
                  <a:pt x="38" y="10"/>
                </a:lnTo>
                <a:lnTo>
                  <a:pt x="46" y="10"/>
                </a:lnTo>
                <a:lnTo>
                  <a:pt x="52" y="6"/>
                </a:lnTo>
                <a:lnTo>
                  <a:pt x="62" y="6"/>
                </a:lnTo>
                <a:lnTo>
                  <a:pt x="64" y="4"/>
                </a:lnTo>
                <a:lnTo>
                  <a:pt x="70" y="0"/>
                </a:lnTo>
                <a:lnTo>
                  <a:pt x="90" y="4"/>
                </a:lnTo>
                <a:lnTo>
                  <a:pt x="96" y="8"/>
                </a:lnTo>
                <a:lnTo>
                  <a:pt x="100" y="14"/>
                </a:lnTo>
                <a:lnTo>
                  <a:pt x="92" y="22"/>
                </a:lnTo>
                <a:lnTo>
                  <a:pt x="82" y="36"/>
                </a:lnTo>
                <a:lnTo>
                  <a:pt x="68" y="50"/>
                </a:lnTo>
                <a:lnTo>
                  <a:pt x="48" y="50"/>
                </a:lnTo>
                <a:lnTo>
                  <a:pt x="40" y="54"/>
                </a:lnTo>
                <a:lnTo>
                  <a:pt x="22" y="56"/>
                </a:lnTo>
                <a:lnTo>
                  <a:pt x="10" y="46"/>
                </a:lnTo>
                <a:lnTo>
                  <a:pt x="2" y="38"/>
                </a:lnTo>
                <a:lnTo>
                  <a:pt x="0" y="3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72" name="Freeform 209">
            <a:extLst>
              <a:ext uri="{FF2B5EF4-FFF2-40B4-BE49-F238E27FC236}">
                <a16:creationId xmlns:a16="http://schemas.microsoft.com/office/drawing/2014/main" id="{F7303B43-58C1-448A-ABC3-175FF13A5999}"/>
              </a:ext>
            </a:extLst>
          </p:cNvPr>
          <p:cNvSpPr>
            <a:spLocks/>
          </p:cNvSpPr>
          <p:nvPr/>
        </p:nvSpPr>
        <p:spPr bwMode="gray">
          <a:xfrm>
            <a:off x="2764819" y="1862028"/>
            <a:ext cx="37764" cy="20028"/>
          </a:xfrm>
          <a:custGeom>
            <a:avLst/>
            <a:gdLst>
              <a:gd name="T0" fmla="*/ 10 w 52"/>
              <a:gd name="T1" fmla="*/ 28 h 30"/>
              <a:gd name="T2" fmla="*/ 20 w 52"/>
              <a:gd name="T3" fmla="*/ 30 h 30"/>
              <a:gd name="T4" fmla="*/ 32 w 52"/>
              <a:gd name="T5" fmla="*/ 28 h 30"/>
              <a:gd name="T6" fmla="*/ 38 w 52"/>
              <a:gd name="T7" fmla="*/ 22 h 30"/>
              <a:gd name="T8" fmla="*/ 44 w 52"/>
              <a:gd name="T9" fmla="*/ 16 h 30"/>
              <a:gd name="T10" fmla="*/ 52 w 52"/>
              <a:gd name="T11" fmla="*/ 8 h 30"/>
              <a:gd name="T12" fmla="*/ 50 w 52"/>
              <a:gd name="T13" fmla="*/ 0 h 30"/>
              <a:gd name="T14" fmla="*/ 44 w 52"/>
              <a:gd name="T15" fmla="*/ 4 h 30"/>
              <a:gd name="T16" fmla="*/ 30 w 52"/>
              <a:gd name="T17" fmla="*/ 10 h 30"/>
              <a:gd name="T18" fmla="*/ 18 w 52"/>
              <a:gd name="T19" fmla="*/ 12 h 30"/>
              <a:gd name="T20" fmla="*/ 8 w 52"/>
              <a:gd name="T21" fmla="*/ 8 h 30"/>
              <a:gd name="T22" fmla="*/ 2 w 52"/>
              <a:gd name="T23" fmla="*/ 16 h 30"/>
              <a:gd name="T24" fmla="*/ 0 w 52"/>
              <a:gd name="T25" fmla="*/ 24 h 30"/>
              <a:gd name="T26" fmla="*/ 10 w 52"/>
              <a:gd name="T27" fmla="*/ 28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2" h="30">
                <a:moveTo>
                  <a:pt x="10" y="28"/>
                </a:moveTo>
                <a:lnTo>
                  <a:pt x="20" y="30"/>
                </a:lnTo>
                <a:lnTo>
                  <a:pt x="32" y="28"/>
                </a:lnTo>
                <a:lnTo>
                  <a:pt x="38" y="22"/>
                </a:lnTo>
                <a:lnTo>
                  <a:pt x="44" y="16"/>
                </a:lnTo>
                <a:lnTo>
                  <a:pt x="52" y="8"/>
                </a:lnTo>
                <a:lnTo>
                  <a:pt x="50" y="0"/>
                </a:lnTo>
                <a:lnTo>
                  <a:pt x="44" y="4"/>
                </a:lnTo>
                <a:lnTo>
                  <a:pt x="30" y="10"/>
                </a:lnTo>
                <a:lnTo>
                  <a:pt x="18" y="12"/>
                </a:lnTo>
                <a:lnTo>
                  <a:pt x="8" y="8"/>
                </a:lnTo>
                <a:lnTo>
                  <a:pt x="2" y="16"/>
                </a:lnTo>
                <a:lnTo>
                  <a:pt x="0" y="24"/>
                </a:lnTo>
                <a:lnTo>
                  <a:pt x="10" y="28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73" name="Freeform 210">
            <a:extLst>
              <a:ext uri="{FF2B5EF4-FFF2-40B4-BE49-F238E27FC236}">
                <a16:creationId xmlns:a16="http://schemas.microsoft.com/office/drawing/2014/main" id="{935869FD-BBB0-4B37-9953-4DDF95BEA709}"/>
              </a:ext>
            </a:extLst>
          </p:cNvPr>
          <p:cNvSpPr>
            <a:spLocks/>
          </p:cNvSpPr>
          <p:nvPr/>
        </p:nvSpPr>
        <p:spPr bwMode="gray">
          <a:xfrm>
            <a:off x="2769177" y="1867369"/>
            <a:ext cx="65362" cy="49403"/>
          </a:xfrm>
          <a:custGeom>
            <a:avLst/>
            <a:gdLst>
              <a:gd name="T0" fmla="*/ 84 w 90"/>
              <a:gd name="T1" fmla="*/ 16 h 74"/>
              <a:gd name="T2" fmla="*/ 86 w 90"/>
              <a:gd name="T3" fmla="*/ 24 h 74"/>
              <a:gd name="T4" fmla="*/ 90 w 90"/>
              <a:gd name="T5" fmla="*/ 30 h 74"/>
              <a:gd name="T6" fmla="*/ 86 w 90"/>
              <a:gd name="T7" fmla="*/ 34 h 74"/>
              <a:gd name="T8" fmla="*/ 70 w 90"/>
              <a:gd name="T9" fmla="*/ 32 h 74"/>
              <a:gd name="T10" fmla="*/ 54 w 90"/>
              <a:gd name="T11" fmla="*/ 30 h 74"/>
              <a:gd name="T12" fmla="*/ 48 w 90"/>
              <a:gd name="T13" fmla="*/ 28 h 74"/>
              <a:gd name="T14" fmla="*/ 36 w 90"/>
              <a:gd name="T15" fmla="*/ 30 h 74"/>
              <a:gd name="T16" fmla="*/ 38 w 90"/>
              <a:gd name="T17" fmla="*/ 38 h 74"/>
              <a:gd name="T18" fmla="*/ 42 w 90"/>
              <a:gd name="T19" fmla="*/ 50 h 74"/>
              <a:gd name="T20" fmla="*/ 46 w 90"/>
              <a:gd name="T21" fmla="*/ 56 h 74"/>
              <a:gd name="T22" fmla="*/ 56 w 90"/>
              <a:gd name="T23" fmla="*/ 64 h 74"/>
              <a:gd name="T24" fmla="*/ 62 w 90"/>
              <a:gd name="T25" fmla="*/ 68 h 74"/>
              <a:gd name="T26" fmla="*/ 60 w 90"/>
              <a:gd name="T27" fmla="*/ 74 h 74"/>
              <a:gd name="T28" fmla="*/ 48 w 90"/>
              <a:gd name="T29" fmla="*/ 64 h 74"/>
              <a:gd name="T30" fmla="*/ 36 w 90"/>
              <a:gd name="T31" fmla="*/ 56 h 74"/>
              <a:gd name="T32" fmla="*/ 28 w 90"/>
              <a:gd name="T33" fmla="*/ 48 h 74"/>
              <a:gd name="T34" fmla="*/ 24 w 90"/>
              <a:gd name="T35" fmla="*/ 40 h 74"/>
              <a:gd name="T36" fmla="*/ 22 w 90"/>
              <a:gd name="T37" fmla="*/ 32 h 74"/>
              <a:gd name="T38" fmla="*/ 16 w 90"/>
              <a:gd name="T39" fmla="*/ 32 h 74"/>
              <a:gd name="T40" fmla="*/ 8 w 90"/>
              <a:gd name="T41" fmla="*/ 36 h 74"/>
              <a:gd name="T42" fmla="*/ 0 w 90"/>
              <a:gd name="T43" fmla="*/ 32 h 74"/>
              <a:gd name="T44" fmla="*/ 0 w 90"/>
              <a:gd name="T45" fmla="*/ 24 h 74"/>
              <a:gd name="T46" fmla="*/ 4 w 90"/>
              <a:gd name="T47" fmla="*/ 20 h 74"/>
              <a:gd name="T48" fmla="*/ 8 w 90"/>
              <a:gd name="T49" fmla="*/ 22 h 74"/>
              <a:gd name="T50" fmla="*/ 14 w 90"/>
              <a:gd name="T51" fmla="*/ 22 h 74"/>
              <a:gd name="T52" fmla="*/ 26 w 90"/>
              <a:gd name="T53" fmla="*/ 20 h 74"/>
              <a:gd name="T54" fmla="*/ 32 w 90"/>
              <a:gd name="T55" fmla="*/ 14 h 74"/>
              <a:gd name="T56" fmla="*/ 38 w 90"/>
              <a:gd name="T57" fmla="*/ 8 h 74"/>
              <a:gd name="T58" fmla="*/ 46 w 90"/>
              <a:gd name="T59" fmla="*/ 0 h 74"/>
              <a:gd name="T60" fmla="*/ 54 w 90"/>
              <a:gd name="T61" fmla="*/ 8 h 74"/>
              <a:gd name="T62" fmla="*/ 66 w 90"/>
              <a:gd name="T63" fmla="*/ 18 h 74"/>
              <a:gd name="T64" fmla="*/ 74 w 90"/>
              <a:gd name="T65" fmla="*/ 18 h 74"/>
              <a:gd name="T66" fmla="*/ 84 w 90"/>
              <a:gd name="T67" fmla="*/ 16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90" h="74">
                <a:moveTo>
                  <a:pt x="84" y="16"/>
                </a:moveTo>
                <a:lnTo>
                  <a:pt x="86" y="24"/>
                </a:lnTo>
                <a:lnTo>
                  <a:pt x="90" y="30"/>
                </a:lnTo>
                <a:lnTo>
                  <a:pt x="86" y="34"/>
                </a:lnTo>
                <a:lnTo>
                  <a:pt x="70" y="32"/>
                </a:lnTo>
                <a:lnTo>
                  <a:pt x="54" y="30"/>
                </a:lnTo>
                <a:lnTo>
                  <a:pt x="48" y="28"/>
                </a:lnTo>
                <a:lnTo>
                  <a:pt x="36" y="30"/>
                </a:lnTo>
                <a:lnTo>
                  <a:pt x="38" y="38"/>
                </a:lnTo>
                <a:lnTo>
                  <a:pt x="42" y="50"/>
                </a:lnTo>
                <a:lnTo>
                  <a:pt x="46" y="56"/>
                </a:lnTo>
                <a:lnTo>
                  <a:pt x="56" y="64"/>
                </a:lnTo>
                <a:lnTo>
                  <a:pt x="62" y="68"/>
                </a:lnTo>
                <a:lnTo>
                  <a:pt x="60" y="74"/>
                </a:lnTo>
                <a:lnTo>
                  <a:pt x="48" y="64"/>
                </a:lnTo>
                <a:lnTo>
                  <a:pt x="36" y="56"/>
                </a:lnTo>
                <a:lnTo>
                  <a:pt x="28" y="48"/>
                </a:lnTo>
                <a:lnTo>
                  <a:pt x="24" y="40"/>
                </a:lnTo>
                <a:lnTo>
                  <a:pt x="22" y="32"/>
                </a:lnTo>
                <a:lnTo>
                  <a:pt x="16" y="32"/>
                </a:lnTo>
                <a:lnTo>
                  <a:pt x="8" y="36"/>
                </a:lnTo>
                <a:lnTo>
                  <a:pt x="0" y="32"/>
                </a:lnTo>
                <a:lnTo>
                  <a:pt x="0" y="24"/>
                </a:lnTo>
                <a:lnTo>
                  <a:pt x="4" y="20"/>
                </a:lnTo>
                <a:lnTo>
                  <a:pt x="8" y="22"/>
                </a:lnTo>
                <a:lnTo>
                  <a:pt x="14" y="22"/>
                </a:lnTo>
                <a:lnTo>
                  <a:pt x="26" y="20"/>
                </a:lnTo>
                <a:lnTo>
                  <a:pt x="32" y="14"/>
                </a:lnTo>
                <a:lnTo>
                  <a:pt x="38" y="8"/>
                </a:lnTo>
                <a:lnTo>
                  <a:pt x="46" y="0"/>
                </a:lnTo>
                <a:lnTo>
                  <a:pt x="54" y="8"/>
                </a:lnTo>
                <a:lnTo>
                  <a:pt x="66" y="18"/>
                </a:lnTo>
                <a:lnTo>
                  <a:pt x="74" y="18"/>
                </a:lnTo>
                <a:lnTo>
                  <a:pt x="84" y="1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74" name="Freeform 211">
            <a:extLst>
              <a:ext uri="{FF2B5EF4-FFF2-40B4-BE49-F238E27FC236}">
                <a16:creationId xmlns:a16="http://schemas.microsoft.com/office/drawing/2014/main" id="{F57BBDCF-AA3D-4D09-9AE0-6B7B398A7428}"/>
              </a:ext>
            </a:extLst>
          </p:cNvPr>
          <p:cNvSpPr>
            <a:spLocks/>
          </p:cNvSpPr>
          <p:nvPr/>
        </p:nvSpPr>
        <p:spPr bwMode="gray">
          <a:xfrm>
            <a:off x="2795321" y="1886062"/>
            <a:ext cx="43574" cy="34716"/>
          </a:xfrm>
          <a:custGeom>
            <a:avLst/>
            <a:gdLst>
              <a:gd name="T0" fmla="*/ 0 w 60"/>
              <a:gd name="T1" fmla="*/ 2 h 52"/>
              <a:gd name="T2" fmla="*/ 12 w 60"/>
              <a:gd name="T3" fmla="*/ 0 h 52"/>
              <a:gd name="T4" fmla="*/ 26 w 60"/>
              <a:gd name="T5" fmla="*/ 2 h 52"/>
              <a:gd name="T6" fmla="*/ 50 w 60"/>
              <a:gd name="T7" fmla="*/ 6 h 52"/>
              <a:gd name="T8" fmla="*/ 56 w 60"/>
              <a:gd name="T9" fmla="*/ 6 h 52"/>
              <a:gd name="T10" fmla="*/ 58 w 60"/>
              <a:gd name="T11" fmla="*/ 14 h 52"/>
              <a:gd name="T12" fmla="*/ 54 w 60"/>
              <a:gd name="T13" fmla="*/ 18 h 52"/>
              <a:gd name="T14" fmla="*/ 60 w 60"/>
              <a:gd name="T15" fmla="*/ 26 h 52"/>
              <a:gd name="T16" fmla="*/ 52 w 60"/>
              <a:gd name="T17" fmla="*/ 32 h 52"/>
              <a:gd name="T18" fmla="*/ 50 w 60"/>
              <a:gd name="T19" fmla="*/ 40 h 52"/>
              <a:gd name="T20" fmla="*/ 44 w 60"/>
              <a:gd name="T21" fmla="*/ 40 h 52"/>
              <a:gd name="T22" fmla="*/ 42 w 60"/>
              <a:gd name="T23" fmla="*/ 52 h 52"/>
              <a:gd name="T24" fmla="*/ 34 w 60"/>
              <a:gd name="T25" fmla="*/ 46 h 52"/>
              <a:gd name="T26" fmla="*/ 26 w 60"/>
              <a:gd name="T27" fmla="*/ 40 h 52"/>
              <a:gd name="T28" fmla="*/ 16 w 60"/>
              <a:gd name="T29" fmla="*/ 32 h 52"/>
              <a:gd name="T30" fmla="*/ 10 w 60"/>
              <a:gd name="T31" fmla="*/ 28 h 52"/>
              <a:gd name="T32" fmla="*/ 6 w 60"/>
              <a:gd name="T33" fmla="*/ 22 h 52"/>
              <a:gd name="T34" fmla="*/ 2 w 60"/>
              <a:gd name="T35" fmla="*/ 10 h 52"/>
              <a:gd name="T36" fmla="*/ 0 w 60"/>
              <a:gd name="T37" fmla="*/ 2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0" h="52">
                <a:moveTo>
                  <a:pt x="0" y="2"/>
                </a:moveTo>
                <a:lnTo>
                  <a:pt x="12" y="0"/>
                </a:lnTo>
                <a:lnTo>
                  <a:pt x="26" y="2"/>
                </a:lnTo>
                <a:lnTo>
                  <a:pt x="50" y="6"/>
                </a:lnTo>
                <a:lnTo>
                  <a:pt x="56" y="6"/>
                </a:lnTo>
                <a:lnTo>
                  <a:pt x="58" y="14"/>
                </a:lnTo>
                <a:lnTo>
                  <a:pt x="54" y="18"/>
                </a:lnTo>
                <a:lnTo>
                  <a:pt x="60" y="26"/>
                </a:lnTo>
                <a:lnTo>
                  <a:pt x="52" y="32"/>
                </a:lnTo>
                <a:lnTo>
                  <a:pt x="50" y="40"/>
                </a:lnTo>
                <a:lnTo>
                  <a:pt x="44" y="40"/>
                </a:lnTo>
                <a:lnTo>
                  <a:pt x="42" y="52"/>
                </a:lnTo>
                <a:lnTo>
                  <a:pt x="34" y="46"/>
                </a:lnTo>
                <a:lnTo>
                  <a:pt x="26" y="40"/>
                </a:lnTo>
                <a:lnTo>
                  <a:pt x="16" y="32"/>
                </a:lnTo>
                <a:lnTo>
                  <a:pt x="10" y="28"/>
                </a:lnTo>
                <a:lnTo>
                  <a:pt x="6" y="22"/>
                </a:lnTo>
                <a:lnTo>
                  <a:pt x="2" y="1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75" name="Freeform 212">
            <a:extLst>
              <a:ext uri="{FF2B5EF4-FFF2-40B4-BE49-F238E27FC236}">
                <a16:creationId xmlns:a16="http://schemas.microsoft.com/office/drawing/2014/main" id="{E6591D8D-3B13-48C2-87F0-9984BFA2BAE5}"/>
              </a:ext>
            </a:extLst>
          </p:cNvPr>
          <p:cNvSpPr>
            <a:spLocks/>
          </p:cNvSpPr>
          <p:nvPr/>
        </p:nvSpPr>
        <p:spPr bwMode="gray">
          <a:xfrm>
            <a:off x="2825823" y="1875380"/>
            <a:ext cx="50837" cy="52074"/>
          </a:xfrm>
          <a:custGeom>
            <a:avLst/>
            <a:gdLst>
              <a:gd name="T0" fmla="*/ 14 w 70"/>
              <a:gd name="T1" fmla="*/ 78 h 78"/>
              <a:gd name="T2" fmla="*/ 6 w 70"/>
              <a:gd name="T3" fmla="*/ 72 h 78"/>
              <a:gd name="T4" fmla="*/ 0 w 70"/>
              <a:gd name="T5" fmla="*/ 68 h 78"/>
              <a:gd name="T6" fmla="*/ 2 w 70"/>
              <a:gd name="T7" fmla="*/ 56 h 78"/>
              <a:gd name="T8" fmla="*/ 8 w 70"/>
              <a:gd name="T9" fmla="*/ 56 h 78"/>
              <a:gd name="T10" fmla="*/ 10 w 70"/>
              <a:gd name="T11" fmla="*/ 48 h 78"/>
              <a:gd name="T12" fmla="*/ 18 w 70"/>
              <a:gd name="T13" fmla="*/ 42 h 78"/>
              <a:gd name="T14" fmla="*/ 12 w 70"/>
              <a:gd name="T15" fmla="*/ 34 h 78"/>
              <a:gd name="T16" fmla="*/ 16 w 70"/>
              <a:gd name="T17" fmla="*/ 30 h 78"/>
              <a:gd name="T18" fmla="*/ 14 w 70"/>
              <a:gd name="T19" fmla="*/ 22 h 78"/>
              <a:gd name="T20" fmla="*/ 8 w 70"/>
              <a:gd name="T21" fmla="*/ 22 h 78"/>
              <a:gd name="T22" fmla="*/ 12 w 70"/>
              <a:gd name="T23" fmla="*/ 18 h 78"/>
              <a:gd name="T24" fmla="*/ 6 w 70"/>
              <a:gd name="T25" fmla="*/ 4 h 78"/>
              <a:gd name="T26" fmla="*/ 14 w 70"/>
              <a:gd name="T27" fmla="*/ 0 h 78"/>
              <a:gd name="T28" fmla="*/ 34 w 70"/>
              <a:gd name="T29" fmla="*/ 0 h 78"/>
              <a:gd name="T30" fmla="*/ 36 w 70"/>
              <a:gd name="T31" fmla="*/ 8 h 78"/>
              <a:gd name="T32" fmla="*/ 42 w 70"/>
              <a:gd name="T33" fmla="*/ 16 h 78"/>
              <a:gd name="T34" fmla="*/ 50 w 70"/>
              <a:gd name="T35" fmla="*/ 28 h 78"/>
              <a:gd name="T36" fmla="*/ 66 w 70"/>
              <a:gd name="T37" fmla="*/ 30 h 78"/>
              <a:gd name="T38" fmla="*/ 66 w 70"/>
              <a:gd name="T39" fmla="*/ 40 h 78"/>
              <a:gd name="T40" fmla="*/ 60 w 70"/>
              <a:gd name="T41" fmla="*/ 44 h 78"/>
              <a:gd name="T42" fmla="*/ 66 w 70"/>
              <a:gd name="T43" fmla="*/ 52 h 78"/>
              <a:gd name="T44" fmla="*/ 70 w 70"/>
              <a:gd name="T45" fmla="*/ 58 h 78"/>
              <a:gd name="T46" fmla="*/ 64 w 70"/>
              <a:gd name="T47" fmla="*/ 70 h 78"/>
              <a:gd name="T48" fmla="*/ 54 w 70"/>
              <a:gd name="T49" fmla="*/ 72 h 78"/>
              <a:gd name="T50" fmla="*/ 44 w 70"/>
              <a:gd name="T51" fmla="*/ 76 h 78"/>
              <a:gd name="T52" fmla="*/ 36 w 70"/>
              <a:gd name="T53" fmla="*/ 76 h 78"/>
              <a:gd name="T54" fmla="*/ 28 w 70"/>
              <a:gd name="T55" fmla="*/ 70 h 78"/>
              <a:gd name="T56" fmla="*/ 20 w 70"/>
              <a:gd name="T57" fmla="*/ 68 h 78"/>
              <a:gd name="T58" fmla="*/ 16 w 70"/>
              <a:gd name="T59" fmla="*/ 72 h 78"/>
              <a:gd name="T60" fmla="*/ 14 w 70"/>
              <a:gd name="T61" fmla="*/ 78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0" h="78">
                <a:moveTo>
                  <a:pt x="14" y="78"/>
                </a:moveTo>
                <a:lnTo>
                  <a:pt x="6" y="72"/>
                </a:lnTo>
                <a:lnTo>
                  <a:pt x="0" y="68"/>
                </a:lnTo>
                <a:lnTo>
                  <a:pt x="2" y="56"/>
                </a:lnTo>
                <a:lnTo>
                  <a:pt x="8" y="56"/>
                </a:lnTo>
                <a:lnTo>
                  <a:pt x="10" y="48"/>
                </a:lnTo>
                <a:lnTo>
                  <a:pt x="18" y="42"/>
                </a:lnTo>
                <a:lnTo>
                  <a:pt x="12" y="34"/>
                </a:lnTo>
                <a:lnTo>
                  <a:pt x="16" y="30"/>
                </a:lnTo>
                <a:lnTo>
                  <a:pt x="14" y="22"/>
                </a:lnTo>
                <a:lnTo>
                  <a:pt x="8" y="22"/>
                </a:lnTo>
                <a:lnTo>
                  <a:pt x="12" y="18"/>
                </a:lnTo>
                <a:lnTo>
                  <a:pt x="6" y="4"/>
                </a:lnTo>
                <a:lnTo>
                  <a:pt x="14" y="0"/>
                </a:lnTo>
                <a:lnTo>
                  <a:pt x="34" y="0"/>
                </a:lnTo>
                <a:lnTo>
                  <a:pt x="36" y="8"/>
                </a:lnTo>
                <a:lnTo>
                  <a:pt x="42" y="16"/>
                </a:lnTo>
                <a:lnTo>
                  <a:pt x="50" y="28"/>
                </a:lnTo>
                <a:lnTo>
                  <a:pt x="66" y="30"/>
                </a:lnTo>
                <a:lnTo>
                  <a:pt x="66" y="40"/>
                </a:lnTo>
                <a:lnTo>
                  <a:pt x="60" y="44"/>
                </a:lnTo>
                <a:lnTo>
                  <a:pt x="66" y="52"/>
                </a:lnTo>
                <a:lnTo>
                  <a:pt x="70" y="58"/>
                </a:lnTo>
                <a:lnTo>
                  <a:pt x="64" y="70"/>
                </a:lnTo>
                <a:lnTo>
                  <a:pt x="54" y="72"/>
                </a:lnTo>
                <a:lnTo>
                  <a:pt x="44" y="76"/>
                </a:lnTo>
                <a:lnTo>
                  <a:pt x="36" y="76"/>
                </a:lnTo>
                <a:lnTo>
                  <a:pt x="28" y="70"/>
                </a:lnTo>
                <a:lnTo>
                  <a:pt x="20" y="68"/>
                </a:lnTo>
                <a:lnTo>
                  <a:pt x="16" y="72"/>
                </a:lnTo>
                <a:lnTo>
                  <a:pt x="14" y="78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76" name="Freeform 213">
            <a:extLst>
              <a:ext uri="{FF2B5EF4-FFF2-40B4-BE49-F238E27FC236}">
                <a16:creationId xmlns:a16="http://schemas.microsoft.com/office/drawing/2014/main" id="{EE086F4D-CB29-4D8F-9DF2-98FB96897CC0}"/>
              </a:ext>
            </a:extLst>
          </p:cNvPr>
          <p:cNvSpPr>
            <a:spLocks/>
          </p:cNvSpPr>
          <p:nvPr/>
        </p:nvSpPr>
        <p:spPr bwMode="gray">
          <a:xfrm>
            <a:off x="2850516" y="1922113"/>
            <a:ext cx="29050" cy="21364"/>
          </a:xfrm>
          <a:custGeom>
            <a:avLst/>
            <a:gdLst>
              <a:gd name="T0" fmla="*/ 30 w 40"/>
              <a:gd name="T1" fmla="*/ 0 h 32"/>
              <a:gd name="T2" fmla="*/ 32 w 40"/>
              <a:gd name="T3" fmla="*/ 8 h 32"/>
              <a:gd name="T4" fmla="*/ 38 w 40"/>
              <a:gd name="T5" fmla="*/ 14 h 32"/>
              <a:gd name="T6" fmla="*/ 40 w 40"/>
              <a:gd name="T7" fmla="*/ 20 h 32"/>
              <a:gd name="T8" fmla="*/ 32 w 40"/>
              <a:gd name="T9" fmla="*/ 26 h 32"/>
              <a:gd name="T10" fmla="*/ 20 w 40"/>
              <a:gd name="T11" fmla="*/ 28 h 32"/>
              <a:gd name="T12" fmla="*/ 6 w 40"/>
              <a:gd name="T13" fmla="*/ 32 h 32"/>
              <a:gd name="T14" fmla="*/ 0 w 40"/>
              <a:gd name="T15" fmla="*/ 20 h 32"/>
              <a:gd name="T16" fmla="*/ 2 w 40"/>
              <a:gd name="T17" fmla="*/ 6 h 32"/>
              <a:gd name="T18" fmla="*/ 10 w 40"/>
              <a:gd name="T19" fmla="*/ 6 h 32"/>
              <a:gd name="T20" fmla="*/ 20 w 40"/>
              <a:gd name="T21" fmla="*/ 2 h 32"/>
              <a:gd name="T22" fmla="*/ 30 w 40"/>
              <a:gd name="T23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0" h="32">
                <a:moveTo>
                  <a:pt x="30" y="0"/>
                </a:moveTo>
                <a:lnTo>
                  <a:pt x="32" y="8"/>
                </a:lnTo>
                <a:lnTo>
                  <a:pt x="38" y="14"/>
                </a:lnTo>
                <a:lnTo>
                  <a:pt x="40" y="20"/>
                </a:lnTo>
                <a:lnTo>
                  <a:pt x="32" y="26"/>
                </a:lnTo>
                <a:lnTo>
                  <a:pt x="20" y="28"/>
                </a:lnTo>
                <a:lnTo>
                  <a:pt x="6" y="32"/>
                </a:lnTo>
                <a:lnTo>
                  <a:pt x="0" y="20"/>
                </a:lnTo>
                <a:lnTo>
                  <a:pt x="2" y="6"/>
                </a:lnTo>
                <a:lnTo>
                  <a:pt x="10" y="6"/>
                </a:lnTo>
                <a:lnTo>
                  <a:pt x="20" y="2"/>
                </a:lnTo>
                <a:lnTo>
                  <a:pt x="30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77" name="Freeform 214">
            <a:extLst>
              <a:ext uri="{FF2B5EF4-FFF2-40B4-BE49-F238E27FC236}">
                <a16:creationId xmlns:a16="http://schemas.microsoft.com/office/drawing/2014/main" id="{F055130D-2821-4865-B4FB-18476B0B88ED}"/>
              </a:ext>
            </a:extLst>
          </p:cNvPr>
          <p:cNvSpPr>
            <a:spLocks/>
          </p:cNvSpPr>
          <p:nvPr/>
        </p:nvSpPr>
        <p:spPr bwMode="gray">
          <a:xfrm>
            <a:off x="2759009" y="1978192"/>
            <a:ext cx="30502" cy="16023"/>
          </a:xfrm>
          <a:custGeom>
            <a:avLst/>
            <a:gdLst>
              <a:gd name="T0" fmla="*/ 2 w 42"/>
              <a:gd name="T1" fmla="*/ 0 h 24"/>
              <a:gd name="T2" fmla="*/ 16 w 42"/>
              <a:gd name="T3" fmla="*/ 0 h 24"/>
              <a:gd name="T4" fmla="*/ 26 w 42"/>
              <a:gd name="T5" fmla="*/ 0 h 24"/>
              <a:gd name="T6" fmla="*/ 42 w 42"/>
              <a:gd name="T7" fmla="*/ 0 h 24"/>
              <a:gd name="T8" fmla="*/ 42 w 42"/>
              <a:gd name="T9" fmla="*/ 4 h 24"/>
              <a:gd name="T10" fmla="*/ 36 w 42"/>
              <a:gd name="T11" fmla="*/ 10 h 24"/>
              <a:gd name="T12" fmla="*/ 38 w 42"/>
              <a:gd name="T13" fmla="*/ 18 h 24"/>
              <a:gd name="T14" fmla="*/ 34 w 42"/>
              <a:gd name="T15" fmla="*/ 24 h 24"/>
              <a:gd name="T16" fmla="*/ 26 w 42"/>
              <a:gd name="T17" fmla="*/ 16 h 24"/>
              <a:gd name="T18" fmla="*/ 16 w 42"/>
              <a:gd name="T19" fmla="*/ 16 h 24"/>
              <a:gd name="T20" fmla="*/ 10 w 42"/>
              <a:gd name="T21" fmla="*/ 10 h 24"/>
              <a:gd name="T22" fmla="*/ 0 w 42"/>
              <a:gd name="T23" fmla="*/ 8 h 24"/>
              <a:gd name="T24" fmla="*/ 2 w 42"/>
              <a:gd name="T25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2" h="24">
                <a:moveTo>
                  <a:pt x="2" y="0"/>
                </a:moveTo>
                <a:lnTo>
                  <a:pt x="16" y="0"/>
                </a:lnTo>
                <a:lnTo>
                  <a:pt x="26" y="0"/>
                </a:lnTo>
                <a:lnTo>
                  <a:pt x="42" y="0"/>
                </a:lnTo>
                <a:lnTo>
                  <a:pt x="42" y="4"/>
                </a:lnTo>
                <a:lnTo>
                  <a:pt x="36" y="10"/>
                </a:lnTo>
                <a:lnTo>
                  <a:pt x="38" y="18"/>
                </a:lnTo>
                <a:lnTo>
                  <a:pt x="34" y="24"/>
                </a:lnTo>
                <a:lnTo>
                  <a:pt x="26" y="16"/>
                </a:lnTo>
                <a:lnTo>
                  <a:pt x="16" y="16"/>
                </a:lnTo>
                <a:lnTo>
                  <a:pt x="10" y="10"/>
                </a:lnTo>
                <a:lnTo>
                  <a:pt x="0" y="8"/>
                </a:lnTo>
                <a:lnTo>
                  <a:pt x="2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78" name="Freeform 215">
            <a:extLst>
              <a:ext uri="{FF2B5EF4-FFF2-40B4-BE49-F238E27FC236}">
                <a16:creationId xmlns:a16="http://schemas.microsoft.com/office/drawing/2014/main" id="{3D5E9669-12D2-4AD6-A0C6-9067143D0767}"/>
              </a:ext>
            </a:extLst>
          </p:cNvPr>
          <p:cNvSpPr>
            <a:spLocks/>
          </p:cNvSpPr>
          <p:nvPr/>
        </p:nvSpPr>
        <p:spPr bwMode="gray">
          <a:xfrm>
            <a:off x="2691469" y="1862028"/>
            <a:ext cx="135807" cy="117500"/>
          </a:xfrm>
          <a:custGeom>
            <a:avLst/>
            <a:gdLst>
              <a:gd name="T0" fmla="*/ 10 w 187"/>
              <a:gd name="T1" fmla="*/ 58 h 176"/>
              <a:gd name="T2" fmla="*/ 0 w 187"/>
              <a:gd name="T3" fmla="*/ 42 h 176"/>
              <a:gd name="T4" fmla="*/ 2 w 187"/>
              <a:gd name="T5" fmla="*/ 30 h 176"/>
              <a:gd name="T6" fmla="*/ 16 w 187"/>
              <a:gd name="T7" fmla="*/ 22 h 176"/>
              <a:gd name="T8" fmla="*/ 20 w 187"/>
              <a:gd name="T9" fmla="*/ 16 h 176"/>
              <a:gd name="T10" fmla="*/ 32 w 187"/>
              <a:gd name="T11" fmla="*/ 22 h 176"/>
              <a:gd name="T12" fmla="*/ 36 w 187"/>
              <a:gd name="T13" fmla="*/ 10 h 176"/>
              <a:gd name="T14" fmla="*/ 52 w 187"/>
              <a:gd name="T15" fmla="*/ 14 h 176"/>
              <a:gd name="T16" fmla="*/ 66 w 187"/>
              <a:gd name="T17" fmla="*/ 6 h 176"/>
              <a:gd name="T18" fmla="*/ 83 w 187"/>
              <a:gd name="T19" fmla="*/ 0 h 176"/>
              <a:gd name="T20" fmla="*/ 93 w 187"/>
              <a:gd name="T21" fmla="*/ 10 h 176"/>
              <a:gd name="T22" fmla="*/ 103 w 187"/>
              <a:gd name="T23" fmla="*/ 16 h 176"/>
              <a:gd name="T24" fmla="*/ 95 w 187"/>
              <a:gd name="T25" fmla="*/ 26 h 176"/>
              <a:gd name="T26" fmla="*/ 83 w 187"/>
              <a:gd name="T27" fmla="*/ 42 h 176"/>
              <a:gd name="T28" fmla="*/ 91 w 187"/>
              <a:gd name="T29" fmla="*/ 60 h 176"/>
              <a:gd name="T30" fmla="*/ 111 w 187"/>
              <a:gd name="T31" fmla="*/ 72 h 176"/>
              <a:gd name="T32" fmla="*/ 119 w 187"/>
              <a:gd name="T33" fmla="*/ 94 h 176"/>
              <a:gd name="T34" fmla="*/ 145 w 187"/>
              <a:gd name="T35" fmla="*/ 102 h 176"/>
              <a:gd name="T36" fmla="*/ 145 w 187"/>
              <a:gd name="T37" fmla="*/ 108 h 176"/>
              <a:gd name="T38" fmla="*/ 161 w 187"/>
              <a:gd name="T39" fmla="*/ 118 h 176"/>
              <a:gd name="T40" fmla="*/ 183 w 187"/>
              <a:gd name="T41" fmla="*/ 132 h 176"/>
              <a:gd name="T42" fmla="*/ 181 w 187"/>
              <a:gd name="T43" fmla="*/ 142 h 176"/>
              <a:gd name="T44" fmla="*/ 167 w 187"/>
              <a:gd name="T45" fmla="*/ 130 h 176"/>
              <a:gd name="T46" fmla="*/ 155 w 187"/>
              <a:gd name="T47" fmla="*/ 140 h 176"/>
              <a:gd name="T48" fmla="*/ 165 w 187"/>
              <a:gd name="T49" fmla="*/ 152 h 176"/>
              <a:gd name="T50" fmla="*/ 159 w 187"/>
              <a:gd name="T51" fmla="*/ 158 h 176"/>
              <a:gd name="T52" fmla="*/ 151 w 187"/>
              <a:gd name="T53" fmla="*/ 172 h 176"/>
              <a:gd name="T54" fmla="*/ 141 w 187"/>
              <a:gd name="T55" fmla="*/ 170 h 176"/>
              <a:gd name="T56" fmla="*/ 147 w 187"/>
              <a:gd name="T57" fmla="*/ 148 h 176"/>
              <a:gd name="T58" fmla="*/ 131 w 187"/>
              <a:gd name="T59" fmla="*/ 132 h 176"/>
              <a:gd name="T60" fmla="*/ 119 w 187"/>
              <a:gd name="T61" fmla="*/ 126 h 176"/>
              <a:gd name="T62" fmla="*/ 95 w 187"/>
              <a:gd name="T63" fmla="*/ 112 h 176"/>
              <a:gd name="T64" fmla="*/ 75 w 187"/>
              <a:gd name="T65" fmla="*/ 92 h 176"/>
              <a:gd name="T66" fmla="*/ 54 w 187"/>
              <a:gd name="T67" fmla="*/ 68 h 176"/>
              <a:gd name="T68" fmla="*/ 40 w 187"/>
              <a:gd name="T69" fmla="*/ 56 h 176"/>
              <a:gd name="T70" fmla="*/ 20 w 187"/>
              <a:gd name="T71" fmla="*/ 58 h 176"/>
              <a:gd name="T72" fmla="*/ 10 w 187"/>
              <a:gd name="T73" fmla="*/ 66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87" h="176">
                <a:moveTo>
                  <a:pt x="10" y="66"/>
                </a:moveTo>
                <a:lnTo>
                  <a:pt x="10" y="58"/>
                </a:lnTo>
                <a:lnTo>
                  <a:pt x="2" y="58"/>
                </a:lnTo>
                <a:lnTo>
                  <a:pt x="0" y="42"/>
                </a:lnTo>
                <a:lnTo>
                  <a:pt x="4" y="34"/>
                </a:lnTo>
                <a:lnTo>
                  <a:pt x="2" y="30"/>
                </a:lnTo>
                <a:lnTo>
                  <a:pt x="2" y="24"/>
                </a:lnTo>
                <a:lnTo>
                  <a:pt x="16" y="22"/>
                </a:lnTo>
                <a:lnTo>
                  <a:pt x="16" y="18"/>
                </a:lnTo>
                <a:lnTo>
                  <a:pt x="20" y="16"/>
                </a:lnTo>
                <a:lnTo>
                  <a:pt x="26" y="20"/>
                </a:lnTo>
                <a:lnTo>
                  <a:pt x="32" y="22"/>
                </a:lnTo>
                <a:lnTo>
                  <a:pt x="36" y="20"/>
                </a:lnTo>
                <a:lnTo>
                  <a:pt x="36" y="10"/>
                </a:lnTo>
                <a:lnTo>
                  <a:pt x="42" y="16"/>
                </a:lnTo>
                <a:lnTo>
                  <a:pt x="52" y="14"/>
                </a:lnTo>
                <a:lnTo>
                  <a:pt x="56" y="6"/>
                </a:lnTo>
                <a:lnTo>
                  <a:pt x="66" y="6"/>
                </a:lnTo>
                <a:lnTo>
                  <a:pt x="68" y="0"/>
                </a:lnTo>
                <a:lnTo>
                  <a:pt x="83" y="0"/>
                </a:lnTo>
                <a:lnTo>
                  <a:pt x="83" y="6"/>
                </a:lnTo>
                <a:lnTo>
                  <a:pt x="93" y="10"/>
                </a:lnTo>
                <a:lnTo>
                  <a:pt x="109" y="8"/>
                </a:lnTo>
                <a:lnTo>
                  <a:pt x="103" y="16"/>
                </a:lnTo>
                <a:lnTo>
                  <a:pt x="101" y="24"/>
                </a:lnTo>
                <a:lnTo>
                  <a:pt x="95" y="26"/>
                </a:lnTo>
                <a:lnTo>
                  <a:pt x="83" y="32"/>
                </a:lnTo>
                <a:lnTo>
                  <a:pt x="83" y="42"/>
                </a:lnTo>
                <a:lnTo>
                  <a:pt x="83" y="52"/>
                </a:lnTo>
                <a:lnTo>
                  <a:pt x="91" y="60"/>
                </a:lnTo>
                <a:lnTo>
                  <a:pt x="101" y="66"/>
                </a:lnTo>
                <a:lnTo>
                  <a:pt x="111" y="72"/>
                </a:lnTo>
                <a:lnTo>
                  <a:pt x="113" y="84"/>
                </a:lnTo>
                <a:lnTo>
                  <a:pt x="119" y="94"/>
                </a:lnTo>
                <a:lnTo>
                  <a:pt x="129" y="102"/>
                </a:lnTo>
                <a:lnTo>
                  <a:pt x="145" y="102"/>
                </a:lnTo>
                <a:lnTo>
                  <a:pt x="149" y="106"/>
                </a:lnTo>
                <a:lnTo>
                  <a:pt x="145" y="108"/>
                </a:lnTo>
                <a:lnTo>
                  <a:pt x="151" y="114"/>
                </a:lnTo>
                <a:lnTo>
                  <a:pt x="161" y="118"/>
                </a:lnTo>
                <a:lnTo>
                  <a:pt x="175" y="124"/>
                </a:lnTo>
                <a:lnTo>
                  <a:pt x="183" y="132"/>
                </a:lnTo>
                <a:lnTo>
                  <a:pt x="187" y="138"/>
                </a:lnTo>
                <a:lnTo>
                  <a:pt x="181" y="142"/>
                </a:lnTo>
                <a:lnTo>
                  <a:pt x="175" y="136"/>
                </a:lnTo>
                <a:lnTo>
                  <a:pt x="167" y="130"/>
                </a:lnTo>
                <a:lnTo>
                  <a:pt x="159" y="132"/>
                </a:lnTo>
                <a:lnTo>
                  <a:pt x="155" y="140"/>
                </a:lnTo>
                <a:lnTo>
                  <a:pt x="161" y="148"/>
                </a:lnTo>
                <a:lnTo>
                  <a:pt x="165" y="152"/>
                </a:lnTo>
                <a:lnTo>
                  <a:pt x="167" y="156"/>
                </a:lnTo>
                <a:lnTo>
                  <a:pt x="159" y="158"/>
                </a:lnTo>
                <a:lnTo>
                  <a:pt x="157" y="164"/>
                </a:lnTo>
                <a:lnTo>
                  <a:pt x="151" y="172"/>
                </a:lnTo>
                <a:lnTo>
                  <a:pt x="145" y="176"/>
                </a:lnTo>
                <a:lnTo>
                  <a:pt x="141" y="170"/>
                </a:lnTo>
                <a:lnTo>
                  <a:pt x="143" y="162"/>
                </a:lnTo>
                <a:lnTo>
                  <a:pt x="147" y="148"/>
                </a:lnTo>
                <a:lnTo>
                  <a:pt x="143" y="136"/>
                </a:lnTo>
                <a:lnTo>
                  <a:pt x="131" y="132"/>
                </a:lnTo>
                <a:lnTo>
                  <a:pt x="129" y="126"/>
                </a:lnTo>
                <a:lnTo>
                  <a:pt x="119" y="126"/>
                </a:lnTo>
                <a:lnTo>
                  <a:pt x="109" y="112"/>
                </a:lnTo>
                <a:lnTo>
                  <a:pt x="95" y="112"/>
                </a:lnTo>
                <a:lnTo>
                  <a:pt x="83" y="96"/>
                </a:lnTo>
                <a:lnTo>
                  <a:pt x="75" y="92"/>
                </a:lnTo>
                <a:lnTo>
                  <a:pt x="56" y="84"/>
                </a:lnTo>
                <a:lnTo>
                  <a:pt x="54" y="68"/>
                </a:lnTo>
                <a:lnTo>
                  <a:pt x="52" y="60"/>
                </a:lnTo>
                <a:lnTo>
                  <a:pt x="40" y="56"/>
                </a:lnTo>
                <a:lnTo>
                  <a:pt x="26" y="52"/>
                </a:lnTo>
                <a:lnTo>
                  <a:pt x="20" y="58"/>
                </a:lnTo>
                <a:lnTo>
                  <a:pt x="18" y="64"/>
                </a:lnTo>
                <a:lnTo>
                  <a:pt x="10" y="66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79" name="Freeform 216">
            <a:extLst>
              <a:ext uri="{FF2B5EF4-FFF2-40B4-BE49-F238E27FC236}">
                <a16:creationId xmlns:a16="http://schemas.microsoft.com/office/drawing/2014/main" id="{7716B964-1092-425A-A473-567C6327BE76}"/>
              </a:ext>
            </a:extLst>
          </p:cNvPr>
          <p:cNvSpPr>
            <a:spLocks/>
          </p:cNvSpPr>
          <p:nvPr/>
        </p:nvSpPr>
        <p:spPr bwMode="gray">
          <a:xfrm>
            <a:off x="2924592" y="1843335"/>
            <a:ext cx="37764" cy="40057"/>
          </a:xfrm>
          <a:custGeom>
            <a:avLst/>
            <a:gdLst>
              <a:gd name="T0" fmla="*/ 20 w 52"/>
              <a:gd name="T1" fmla="*/ 60 h 60"/>
              <a:gd name="T2" fmla="*/ 16 w 52"/>
              <a:gd name="T3" fmla="*/ 48 h 60"/>
              <a:gd name="T4" fmla="*/ 20 w 52"/>
              <a:gd name="T5" fmla="*/ 36 h 60"/>
              <a:gd name="T6" fmla="*/ 18 w 52"/>
              <a:gd name="T7" fmla="*/ 32 h 60"/>
              <a:gd name="T8" fmla="*/ 14 w 52"/>
              <a:gd name="T9" fmla="*/ 26 h 60"/>
              <a:gd name="T10" fmla="*/ 4 w 52"/>
              <a:gd name="T11" fmla="*/ 18 h 60"/>
              <a:gd name="T12" fmla="*/ 2 w 52"/>
              <a:gd name="T13" fmla="*/ 10 h 60"/>
              <a:gd name="T14" fmla="*/ 0 w 52"/>
              <a:gd name="T15" fmla="*/ 4 h 60"/>
              <a:gd name="T16" fmla="*/ 4 w 52"/>
              <a:gd name="T17" fmla="*/ 0 h 60"/>
              <a:gd name="T18" fmla="*/ 18 w 52"/>
              <a:gd name="T19" fmla="*/ 2 h 60"/>
              <a:gd name="T20" fmla="*/ 30 w 52"/>
              <a:gd name="T21" fmla="*/ 6 h 60"/>
              <a:gd name="T22" fmla="*/ 34 w 52"/>
              <a:gd name="T23" fmla="*/ 14 h 60"/>
              <a:gd name="T24" fmla="*/ 38 w 52"/>
              <a:gd name="T25" fmla="*/ 22 h 60"/>
              <a:gd name="T26" fmla="*/ 48 w 52"/>
              <a:gd name="T27" fmla="*/ 28 h 60"/>
              <a:gd name="T28" fmla="*/ 52 w 52"/>
              <a:gd name="T29" fmla="*/ 36 h 60"/>
              <a:gd name="T30" fmla="*/ 48 w 52"/>
              <a:gd name="T31" fmla="*/ 42 h 60"/>
              <a:gd name="T32" fmla="*/ 40 w 52"/>
              <a:gd name="T33" fmla="*/ 42 h 60"/>
              <a:gd name="T34" fmla="*/ 30 w 52"/>
              <a:gd name="T35" fmla="*/ 40 h 60"/>
              <a:gd name="T36" fmla="*/ 30 w 52"/>
              <a:gd name="T37" fmla="*/ 48 h 60"/>
              <a:gd name="T38" fmla="*/ 24 w 52"/>
              <a:gd name="T39" fmla="*/ 56 h 60"/>
              <a:gd name="T40" fmla="*/ 20 w 52"/>
              <a:gd name="T41" fmla="*/ 60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52" h="60">
                <a:moveTo>
                  <a:pt x="20" y="60"/>
                </a:moveTo>
                <a:lnTo>
                  <a:pt x="16" y="48"/>
                </a:lnTo>
                <a:lnTo>
                  <a:pt x="20" y="36"/>
                </a:lnTo>
                <a:lnTo>
                  <a:pt x="18" y="32"/>
                </a:lnTo>
                <a:lnTo>
                  <a:pt x="14" y="26"/>
                </a:lnTo>
                <a:lnTo>
                  <a:pt x="4" y="18"/>
                </a:lnTo>
                <a:lnTo>
                  <a:pt x="2" y="10"/>
                </a:lnTo>
                <a:lnTo>
                  <a:pt x="0" y="4"/>
                </a:lnTo>
                <a:lnTo>
                  <a:pt x="4" y="0"/>
                </a:lnTo>
                <a:lnTo>
                  <a:pt x="18" y="2"/>
                </a:lnTo>
                <a:lnTo>
                  <a:pt x="30" y="6"/>
                </a:lnTo>
                <a:lnTo>
                  <a:pt x="34" y="14"/>
                </a:lnTo>
                <a:lnTo>
                  <a:pt x="38" y="22"/>
                </a:lnTo>
                <a:lnTo>
                  <a:pt x="48" y="28"/>
                </a:lnTo>
                <a:lnTo>
                  <a:pt x="52" y="36"/>
                </a:lnTo>
                <a:lnTo>
                  <a:pt x="48" y="42"/>
                </a:lnTo>
                <a:lnTo>
                  <a:pt x="40" y="42"/>
                </a:lnTo>
                <a:lnTo>
                  <a:pt x="30" y="40"/>
                </a:lnTo>
                <a:lnTo>
                  <a:pt x="30" y="48"/>
                </a:lnTo>
                <a:lnTo>
                  <a:pt x="24" y="56"/>
                </a:lnTo>
                <a:lnTo>
                  <a:pt x="20" y="6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80" name="Freeform 217">
            <a:extLst>
              <a:ext uri="{FF2B5EF4-FFF2-40B4-BE49-F238E27FC236}">
                <a16:creationId xmlns:a16="http://schemas.microsoft.com/office/drawing/2014/main" id="{C88CAECD-D9D5-455C-9383-FC21EF81D1F3}"/>
              </a:ext>
            </a:extLst>
          </p:cNvPr>
          <p:cNvSpPr>
            <a:spLocks/>
          </p:cNvSpPr>
          <p:nvPr/>
        </p:nvSpPr>
        <p:spPr bwMode="gray">
          <a:xfrm>
            <a:off x="2866493" y="1789926"/>
            <a:ext cx="207705" cy="106818"/>
          </a:xfrm>
          <a:custGeom>
            <a:avLst/>
            <a:gdLst>
              <a:gd name="T0" fmla="*/ 158 w 286"/>
              <a:gd name="T1" fmla="*/ 6 h 160"/>
              <a:gd name="T2" fmla="*/ 168 w 286"/>
              <a:gd name="T3" fmla="*/ 0 h 160"/>
              <a:gd name="T4" fmla="*/ 192 w 286"/>
              <a:gd name="T5" fmla="*/ 0 h 160"/>
              <a:gd name="T6" fmla="*/ 194 w 286"/>
              <a:gd name="T7" fmla="*/ 22 h 160"/>
              <a:gd name="T8" fmla="*/ 216 w 286"/>
              <a:gd name="T9" fmla="*/ 40 h 160"/>
              <a:gd name="T10" fmla="*/ 250 w 286"/>
              <a:gd name="T11" fmla="*/ 48 h 160"/>
              <a:gd name="T12" fmla="*/ 286 w 286"/>
              <a:gd name="T13" fmla="*/ 58 h 160"/>
              <a:gd name="T14" fmla="*/ 284 w 286"/>
              <a:gd name="T15" fmla="*/ 90 h 160"/>
              <a:gd name="T16" fmla="*/ 258 w 286"/>
              <a:gd name="T17" fmla="*/ 98 h 160"/>
              <a:gd name="T18" fmla="*/ 242 w 286"/>
              <a:gd name="T19" fmla="*/ 112 h 160"/>
              <a:gd name="T20" fmla="*/ 208 w 286"/>
              <a:gd name="T21" fmla="*/ 124 h 160"/>
              <a:gd name="T22" fmla="*/ 190 w 286"/>
              <a:gd name="T23" fmla="*/ 132 h 160"/>
              <a:gd name="T24" fmla="*/ 206 w 286"/>
              <a:gd name="T25" fmla="*/ 140 h 160"/>
              <a:gd name="T26" fmla="*/ 216 w 286"/>
              <a:gd name="T27" fmla="*/ 144 h 160"/>
              <a:gd name="T28" fmla="*/ 238 w 286"/>
              <a:gd name="T29" fmla="*/ 144 h 160"/>
              <a:gd name="T30" fmla="*/ 234 w 286"/>
              <a:gd name="T31" fmla="*/ 150 h 160"/>
              <a:gd name="T32" fmla="*/ 210 w 286"/>
              <a:gd name="T33" fmla="*/ 150 h 160"/>
              <a:gd name="T34" fmla="*/ 194 w 286"/>
              <a:gd name="T35" fmla="*/ 160 h 160"/>
              <a:gd name="T36" fmla="*/ 184 w 286"/>
              <a:gd name="T37" fmla="*/ 152 h 160"/>
              <a:gd name="T38" fmla="*/ 170 w 286"/>
              <a:gd name="T39" fmla="*/ 140 h 160"/>
              <a:gd name="T40" fmla="*/ 184 w 286"/>
              <a:gd name="T41" fmla="*/ 132 h 160"/>
              <a:gd name="T42" fmla="*/ 162 w 286"/>
              <a:gd name="T43" fmla="*/ 128 h 160"/>
              <a:gd name="T44" fmla="*/ 146 w 286"/>
              <a:gd name="T45" fmla="*/ 116 h 160"/>
              <a:gd name="T46" fmla="*/ 138 w 286"/>
              <a:gd name="T47" fmla="*/ 126 h 160"/>
              <a:gd name="T48" fmla="*/ 120 w 286"/>
              <a:gd name="T49" fmla="*/ 146 h 160"/>
              <a:gd name="T50" fmla="*/ 110 w 286"/>
              <a:gd name="T51" fmla="*/ 144 h 160"/>
              <a:gd name="T52" fmla="*/ 100 w 286"/>
              <a:gd name="T53" fmla="*/ 140 h 160"/>
              <a:gd name="T54" fmla="*/ 110 w 286"/>
              <a:gd name="T55" fmla="*/ 120 h 160"/>
              <a:gd name="T56" fmla="*/ 132 w 286"/>
              <a:gd name="T57" fmla="*/ 116 h 160"/>
              <a:gd name="T58" fmla="*/ 118 w 286"/>
              <a:gd name="T59" fmla="*/ 102 h 160"/>
              <a:gd name="T60" fmla="*/ 98 w 286"/>
              <a:gd name="T61" fmla="*/ 82 h 160"/>
              <a:gd name="T62" fmla="*/ 84 w 286"/>
              <a:gd name="T63" fmla="*/ 80 h 160"/>
              <a:gd name="T64" fmla="*/ 68 w 286"/>
              <a:gd name="T65" fmla="*/ 84 h 160"/>
              <a:gd name="T66" fmla="*/ 44 w 286"/>
              <a:gd name="T67" fmla="*/ 92 h 160"/>
              <a:gd name="T68" fmla="*/ 10 w 286"/>
              <a:gd name="T69" fmla="*/ 94 h 160"/>
              <a:gd name="T70" fmla="*/ 0 w 286"/>
              <a:gd name="T71" fmla="*/ 82 h 160"/>
              <a:gd name="T72" fmla="*/ 8 w 286"/>
              <a:gd name="T73" fmla="*/ 66 h 160"/>
              <a:gd name="T74" fmla="*/ 18 w 286"/>
              <a:gd name="T75" fmla="*/ 46 h 160"/>
              <a:gd name="T76" fmla="*/ 32 w 286"/>
              <a:gd name="T77" fmla="*/ 36 h 160"/>
              <a:gd name="T78" fmla="*/ 28 w 286"/>
              <a:gd name="T79" fmla="*/ 16 h 160"/>
              <a:gd name="T80" fmla="*/ 84 w 286"/>
              <a:gd name="T81" fmla="*/ 14 h 160"/>
              <a:gd name="T82" fmla="*/ 114 w 286"/>
              <a:gd name="T83" fmla="*/ 20 h 160"/>
              <a:gd name="T84" fmla="*/ 138 w 286"/>
              <a:gd name="T85" fmla="*/ 4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86" h="160">
                <a:moveTo>
                  <a:pt x="150" y="2"/>
                </a:moveTo>
                <a:lnTo>
                  <a:pt x="158" y="6"/>
                </a:lnTo>
                <a:lnTo>
                  <a:pt x="164" y="4"/>
                </a:lnTo>
                <a:lnTo>
                  <a:pt x="168" y="0"/>
                </a:lnTo>
                <a:lnTo>
                  <a:pt x="176" y="0"/>
                </a:lnTo>
                <a:lnTo>
                  <a:pt x="192" y="0"/>
                </a:lnTo>
                <a:lnTo>
                  <a:pt x="196" y="10"/>
                </a:lnTo>
                <a:lnTo>
                  <a:pt x="194" y="22"/>
                </a:lnTo>
                <a:lnTo>
                  <a:pt x="212" y="26"/>
                </a:lnTo>
                <a:lnTo>
                  <a:pt x="216" y="40"/>
                </a:lnTo>
                <a:lnTo>
                  <a:pt x="248" y="42"/>
                </a:lnTo>
                <a:lnTo>
                  <a:pt x="250" y="48"/>
                </a:lnTo>
                <a:lnTo>
                  <a:pt x="270" y="48"/>
                </a:lnTo>
                <a:lnTo>
                  <a:pt x="286" y="58"/>
                </a:lnTo>
                <a:lnTo>
                  <a:pt x="286" y="78"/>
                </a:lnTo>
                <a:lnTo>
                  <a:pt x="284" y="90"/>
                </a:lnTo>
                <a:lnTo>
                  <a:pt x="268" y="94"/>
                </a:lnTo>
                <a:lnTo>
                  <a:pt x="258" y="98"/>
                </a:lnTo>
                <a:lnTo>
                  <a:pt x="256" y="106"/>
                </a:lnTo>
                <a:lnTo>
                  <a:pt x="242" y="112"/>
                </a:lnTo>
                <a:lnTo>
                  <a:pt x="224" y="116"/>
                </a:lnTo>
                <a:lnTo>
                  <a:pt x="208" y="124"/>
                </a:lnTo>
                <a:lnTo>
                  <a:pt x="192" y="128"/>
                </a:lnTo>
                <a:lnTo>
                  <a:pt x="190" y="132"/>
                </a:lnTo>
                <a:lnTo>
                  <a:pt x="200" y="134"/>
                </a:lnTo>
                <a:lnTo>
                  <a:pt x="206" y="140"/>
                </a:lnTo>
                <a:lnTo>
                  <a:pt x="210" y="142"/>
                </a:lnTo>
                <a:lnTo>
                  <a:pt x="216" y="144"/>
                </a:lnTo>
                <a:lnTo>
                  <a:pt x="232" y="142"/>
                </a:lnTo>
                <a:lnTo>
                  <a:pt x="238" y="144"/>
                </a:lnTo>
                <a:lnTo>
                  <a:pt x="240" y="150"/>
                </a:lnTo>
                <a:lnTo>
                  <a:pt x="234" y="150"/>
                </a:lnTo>
                <a:lnTo>
                  <a:pt x="220" y="150"/>
                </a:lnTo>
                <a:lnTo>
                  <a:pt x="210" y="150"/>
                </a:lnTo>
                <a:lnTo>
                  <a:pt x="202" y="154"/>
                </a:lnTo>
                <a:lnTo>
                  <a:pt x="194" y="160"/>
                </a:lnTo>
                <a:lnTo>
                  <a:pt x="184" y="160"/>
                </a:lnTo>
                <a:lnTo>
                  <a:pt x="184" y="152"/>
                </a:lnTo>
                <a:lnTo>
                  <a:pt x="180" y="146"/>
                </a:lnTo>
                <a:lnTo>
                  <a:pt x="170" y="140"/>
                </a:lnTo>
                <a:lnTo>
                  <a:pt x="176" y="136"/>
                </a:lnTo>
                <a:lnTo>
                  <a:pt x="184" y="132"/>
                </a:lnTo>
                <a:lnTo>
                  <a:pt x="184" y="128"/>
                </a:lnTo>
                <a:lnTo>
                  <a:pt x="162" y="128"/>
                </a:lnTo>
                <a:lnTo>
                  <a:pt x="158" y="116"/>
                </a:lnTo>
                <a:lnTo>
                  <a:pt x="146" y="116"/>
                </a:lnTo>
                <a:lnTo>
                  <a:pt x="138" y="118"/>
                </a:lnTo>
                <a:lnTo>
                  <a:pt x="138" y="126"/>
                </a:lnTo>
                <a:lnTo>
                  <a:pt x="126" y="134"/>
                </a:lnTo>
                <a:lnTo>
                  <a:pt x="120" y="146"/>
                </a:lnTo>
                <a:lnTo>
                  <a:pt x="114" y="140"/>
                </a:lnTo>
                <a:lnTo>
                  <a:pt x="110" y="144"/>
                </a:lnTo>
                <a:lnTo>
                  <a:pt x="100" y="142"/>
                </a:lnTo>
                <a:lnTo>
                  <a:pt x="100" y="140"/>
                </a:lnTo>
                <a:lnTo>
                  <a:pt x="110" y="128"/>
                </a:lnTo>
                <a:lnTo>
                  <a:pt x="110" y="120"/>
                </a:lnTo>
                <a:lnTo>
                  <a:pt x="128" y="122"/>
                </a:lnTo>
                <a:lnTo>
                  <a:pt x="132" y="116"/>
                </a:lnTo>
                <a:lnTo>
                  <a:pt x="128" y="108"/>
                </a:lnTo>
                <a:lnTo>
                  <a:pt x="118" y="102"/>
                </a:lnTo>
                <a:lnTo>
                  <a:pt x="110" y="86"/>
                </a:lnTo>
                <a:lnTo>
                  <a:pt x="98" y="82"/>
                </a:lnTo>
                <a:lnTo>
                  <a:pt x="88" y="80"/>
                </a:lnTo>
                <a:lnTo>
                  <a:pt x="84" y="80"/>
                </a:lnTo>
                <a:lnTo>
                  <a:pt x="80" y="84"/>
                </a:lnTo>
                <a:lnTo>
                  <a:pt x="68" y="84"/>
                </a:lnTo>
                <a:lnTo>
                  <a:pt x="64" y="92"/>
                </a:lnTo>
                <a:lnTo>
                  <a:pt x="44" y="92"/>
                </a:lnTo>
                <a:lnTo>
                  <a:pt x="32" y="86"/>
                </a:lnTo>
                <a:lnTo>
                  <a:pt x="10" y="94"/>
                </a:lnTo>
                <a:lnTo>
                  <a:pt x="6" y="86"/>
                </a:lnTo>
                <a:lnTo>
                  <a:pt x="0" y="82"/>
                </a:lnTo>
                <a:lnTo>
                  <a:pt x="4" y="76"/>
                </a:lnTo>
                <a:lnTo>
                  <a:pt x="8" y="66"/>
                </a:lnTo>
                <a:lnTo>
                  <a:pt x="10" y="58"/>
                </a:lnTo>
                <a:lnTo>
                  <a:pt x="18" y="46"/>
                </a:lnTo>
                <a:lnTo>
                  <a:pt x="22" y="42"/>
                </a:lnTo>
                <a:lnTo>
                  <a:pt x="32" y="36"/>
                </a:lnTo>
                <a:lnTo>
                  <a:pt x="28" y="24"/>
                </a:lnTo>
                <a:lnTo>
                  <a:pt x="28" y="16"/>
                </a:lnTo>
                <a:lnTo>
                  <a:pt x="36" y="4"/>
                </a:lnTo>
                <a:lnTo>
                  <a:pt x="84" y="14"/>
                </a:lnTo>
                <a:lnTo>
                  <a:pt x="112" y="14"/>
                </a:lnTo>
                <a:lnTo>
                  <a:pt x="114" y="20"/>
                </a:lnTo>
                <a:lnTo>
                  <a:pt x="134" y="22"/>
                </a:lnTo>
                <a:lnTo>
                  <a:pt x="138" y="4"/>
                </a:lnTo>
                <a:lnTo>
                  <a:pt x="150" y="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81" name="Freeform 218">
            <a:extLst>
              <a:ext uri="{FF2B5EF4-FFF2-40B4-BE49-F238E27FC236}">
                <a16:creationId xmlns:a16="http://schemas.microsoft.com/office/drawing/2014/main" id="{A23C059F-6723-4995-BEBA-28263932DAFA}"/>
              </a:ext>
            </a:extLst>
          </p:cNvPr>
          <p:cNvSpPr>
            <a:spLocks/>
          </p:cNvSpPr>
          <p:nvPr/>
        </p:nvSpPr>
        <p:spPr bwMode="gray">
          <a:xfrm>
            <a:off x="2850516" y="1846005"/>
            <a:ext cx="103126" cy="60085"/>
          </a:xfrm>
          <a:custGeom>
            <a:avLst/>
            <a:gdLst>
              <a:gd name="T0" fmla="*/ 32 w 142"/>
              <a:gd name="T1" fmla="*/ 10 h 90"/>
              <a:gd name="T2" fmla="*/ 46 w 142"/>
              <a:gd name="T3" fmla="*/ 4 h 90"/>
              <a:gd name="T4" fmla="*/ 54 w 142"/>
              <a:gd name="T5" fmla="*/ 2 h 90"/>
              <a:gd name="T6" fmla="*/ 66 w 142"/>
              <a:gd name="T7" fmla="*/ 8 h 90"/>
              <a:gd name="T8" fmla="*/ 86 w 142"/>
              <a:gd name="T9" fmla="*/ 8 h 90"/>
              <a:gd name="T10" fmla="*/ 90 w 142"/>
              <a:gd name="T11" fmla="*/ 0 h 90"/>
              <a:gd name="T12" fmla="*/ 102 w 142"/>
              <a:gd name="T13" fmla="*/ 0 h 90"/>
              <a:gd name="T14" fmla="*/ 106 w 142"/>
              <a:gd name="T15" fmla="*/ 10 h 90"/>
              <a:gd name="T16" fmla="*/ 108 w 142"/>
              <a:gd name="T17" fmla="*/ 16 h 90"/>
              <a:gd name="T18" fmla="*/ 120 w 142"/>
              <a:gd name="T19" fmla="*/ 28 h 90"/>
              <a:gd name="T20" fmla="*/ 122 w 142"/>
              <a:gd name="T21" fmla="*/ 32 h 90"/>
              <a:gd name="T22" fmla="*/ 118 w 142"/>
              <a:gd name="T23" fmla="*/ 42 h 90"/>
              <a:gd name="T24" fmla="*/ 120 w 142"/>
              <a:gd name="T25" fmla="*/ 52 h 90"/>
              <a:gd name="T26" fmla="*/ 122 w 142"/>
              <a:gd name="T27" fmla="*/ 58 h 90"/>
              <a:gd name="T28" fmla="*/ 132 w 142"/>
              <a:gd name="T29" fmla="*/ 60 h 90"/>
              <a:gd name="T30" fmla="*/ 136 w 142"/>
              <a:gd name="T31" fmla="*/ 56 h 90"/>
              <a:gd name="T32" fmla="*/ 142 w 142"/>
              <a:gd name="T33" fmla="*/ 62 h 90"/>
              <a:gd name="T34" fmla="*/ 138 w 142"/>
              <a:gd name="T35" fmla="*/ 68 h 90"/>
              <a:gd name="T36" fmla="*/ 130 w 142"/>
              <a:gd name="T37" fmla="*/ 72 h 90"/>
              <a:gd name="T38" fmla="*/ 126 w 142"/>
              <a:gd name="T39" fmla="*/ 78 h 90"/>
              <a:gd name="T40" fmla="*/ 124 w 142"/>
              <a:gd name="T41" fmla="*/ 90 h 90"/>
              <a:gd name="T42" fmla="*/ 118 w 142"/>
              <a:gd name="T43" fmla="*/ 90 h 90"/>
              <a:gd name="T44" fmla="*/ 106 w 142"/>
              <a:gd name="T45" fmla="*/ 84 h 90"/>
              <a:gd name="T46" fmla="*/ 92 w 142"/>
              <a:gd name="T47" fmla="*/ 80 h 90"/>
              <a:gd name="T48" fmla="*/ 84 w 142"/>
              <a:gd name="T49" fmla="*/ 88 h 90"/>
              <a:gd name="T50" fmla="*/ 72 w 142"/>
              <a:gd name="T51" fmla="*/ 88 h 90"/>
              <a:gd name="T52" fmla="*/ 44 w 142"/>
              <a:gd name="T53" fmla="*/ 88 h 90"/>
              <a:gd name="T54" fmla="*/ 32 w 142"/>
              <a:gd name="T55" fmla="*/ 84 h 90"/>
              <a:gd name="T56" fmla="*/ 32 w 142"/>
              <a:gd name="T57" fmla="*/ 74 h 90"/>
              <a:gd name="T58" fmla="*/ 16 w 142"/>
              <a:gd name="T59" fmla="*/ 72 h 90"/>
              <a:gd name="T60" fmla="*/ 8 w 142"/>
              <a:gd name="T61" fmla="*/ 60 h 90"/>
              <a:gd name="T62" fmla="*/ 2 w 142"/>
              <a:gd name="T63" fmla="*/ 52 h 90"/>
              <a:gd name="T64" fmla="*/ 0 w 142"/>
              <a:gd name="T65" fmla="*/ 44 h 90"/>
              <a:gd name="T66" fmla="*/ 14 w 142"/>
              <a:gd name="T67" fmla="*/ 30 h 90"/>
              <a:gd name="T68" fmla="*/ 24 w 142"/>
              <a:gd name="T69" fmla="*/ 16 h 90"/>
              <a:gd name="T70" fmla="*/ 32 w 142"/>
              <a:gd name="T71" fmla="*/ 10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42" h="90">
                <a:moveTo>
                  <a:pt x="32" y="10"/>
                </a:moveTo>
                <a:lnTo>
                  <a:pt x="46" y="4"/>
                </a:lnTo>
                <a:lnTo>
                  <a:pt x="54" y="2"/>
                </a:lnTo>
                <a:lnTo>
                  <a:pt x="66" y="8"/>
                </a:lnTo>
                <a:lnTo>
                  <a:pt x="86" y="8"/>
                </a:lnTo>
                <a:lnTo>
                  <a:pt x="90" y="0"/>
                </a:lnTo>
                <a:lnTo>
                  <a:pt x="102" y="0"/>
                </a:lnTo>
                <a:lnTo>
                  <a:pt x="106" y="10"/>
                </a:lnTo>
                <a:lnTo>
                  <a:pt x="108" y="16"/>
                </a:lnTo>
                <a:lnTo>
                  <a:pt x="120" y="28"/>
                </a:lnTo>
                <a:lnTo>
                  <a:pt x="122" y="32"/>
                </a:lnTo>
                <a:lnTo>
                  <a:pt x="118" y="42"/>
                </a:lnTo>
                <a:lnTo>
                  <a:pt x="120" y="52"/>
                </a:lnTo>
                <a:lnTo>
                  <a:pt x="122" y="58"/>
                </a:lnTo>
                <a:lnTo>
                  <a:pt x="132" y="60"/>
                </a:lnTo>
                <a:lnTo>
                  <a:pt x="136" y="56"/>
                </a:lnTo>
                <a:lnTo>
                  <a:pt x="142" y="62"/>
                </a:lnTo>
                <a:lnTo>
                  <a:pt x="138" y="68"/>
                </a:lnTo>
                <a:lnTo>
                  <a:pt x="130" y="72"/>
                </a:lnTo>
                <a:lnTo>
                  <a:pt x="126" y="78"/>
                </a:lnTo>
                <a:lnTo>
                  <a:pt x="124" y="90"/>
                </a:lnTo>
                <a:lnTo>
                  <a:pt x="118" y="90"/>
                </a:lnTo>
                <a:lnTo>
                  <a:pt x="106" y="84"/>
                </a:lnTo>
                <a:lnTo>
                  <a:pt x="92" y="80"/>
                </a:lnTo>
                <a:lnTo>
                  <a:pt x="84" y="88"/>
                </a:lnTo>
                <a:lnTo>
                  <a:pt x="72" y="88"/>
                </a:lnTo>
                <a:lnTo>
                  <a:pt x="44" y="88"/>
                </a:lnTo>
                <a:lnTo>
                  <a:pt x="32" y="84"/>
                </a:lnTo>
                <a:lnTo>
                  <a:pt x="32" y="74"/>
                </a:lnTo>
                <a:lnTo>
                  <a:pt x="16" y="72"/>
                </a:lnTo>
                <a:lnTo>
                  <a:pt x="8" y="60"/>
                </a:lnTo>
                <a:lnTo>
                  <a:pt x="2" y="52"/>
                </a:lnTo>
                <a:lnTo>
                  <a:pt x="0" y="44"/>
                </a:lnTo>
                <a:lnTo>
                  <a:pt x="14" y="30"/>
                </a:lnTo>
                <a:lnTo>
                  <a:pt x="24" y="16"/>
                </a:lnTo>
                <a:lnTo>
                  <a:pt x="32" y="1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82" name="Freeform 219">
            <a:extLst>
              <a:ext uri="{FF2B5EF4-FFF2-40B4-BE49-F238E27FC236}">
                <a16:creationId xmlns:a16="http://schemas.microsoft.com/office/drawing/2014/main" id="{D10B8AC8-387F-400F-A51E-ED43325DAF74}"/>
              </a:ext>
            </a:extLst>
          </p:cNvPr>
          <p:cNvSpPr>
            <a:spLocks/>
          </p:cNvSpPr>
          <p:nvPr/>
        </p:nvSpPr>
        <p:spPr bwMode="gray">
          <a:xfrm>
            <a:off x="2869398" y="1899414"/>
            <a:ext cx="71172" cy="37386"/>
          </a:xfrm>
          <a:custGeom>
            <a:avLst/>
            <a:gdLst>
              <a:gd name="T0" fmla="*/ 18 w 98"/>
              <a:gd name="T1" fmla="*/ 8 h 56"/>
              <a:gd name="T2" fmla="*/ 46 w 98"/>
              <a:gd name="T3" fmla="*/ 8 h 56"/>
              <a:gd name="T4" fmla="*/ 58 w 98"/>
              <a:gd name="T5" fmla="*/ 8 h 56"/>
              <a:gd name="T6" fmla="*/ 66 w 98"/>
              <a:gd name="T7" fmla="*/ 0 h 56"/>
              <a:gd name="T8" fmla="*/ 80 w 98"/>
              <a:gd name="T9" fmla="*/ 4 h 56"/>
              <a:gd name="T10" fmla="*/ 92 w 98"/>
              <a:gd name="T11" fmla="*/ 10 h 56"/>
              <a:gd name="T12" fmla="*/ 98 w 98"/>
              <a:gd name="T13" fmla="*/ 10 h 56"/>
              <a:gd name="T14" fmla="*/ 98 w 98"/>
              <a:gd name="T15" fmla="*/ 14 h 56"/>
              <a:gd name="T16" fmla="*/ 90 w 98"/>
              <a:gd name="T17" fmla="*/ 16 h 56"/>
              <a:gd name="T18" fmla="*/ 90 w 98"/>
              <a:gd name="T19" fmla="*/ 28 h 56"/>
              <a:gd name="T20" fmla="*/ 82 w 98"/>
              <a:gd name="T21" fmla="*/ 36 h 56"/>
              <a:gd name="T22" fmla="*/ 84 w 98"/>
              <a:gd name="T23" fmla="*/ 38 h 56"/>
              <a:gd name="T24" fmla="*/ 92 w 98"/>
              <a:gd name="T25" fmla="*/ 42 h 56"/>
              <a:gd name="T26" fmla="*/ 90 w 98"/>
              <a:gd name="T27" fmla="*/ 46 h 56"/>
              <a:gd name="T28" fmla="*/ 80 w 98"/>
              <a:gd name="T29" fmla="*/ 44 h 56"/>
              <a:gd name="T30" fmla="*/ 72 w 98"/>
              <a:gd name="T31" fmla="*/ 42 h 56"/>
              <a:gd name="T32" fmla="*/ 64 w 98"/>
              <a:gd name="T33" fmla="*/ 46 h 56"/>
              <a:gd name="T34" fmla="*/ 60 w 98"/>
              <a:gd name="T35" fmla="*/ 52 h 56"/>
              <a:gd name="T36" fmla="*/ 60 w 98"/>
              <a:gd name="T37" fmla="*/ 56 h 56"/>
              <a:gd name="T38" fmla="*/ 52 w 98"/>
              <a:gd name="T39" fmla="*/ 56 h 56"/>
              <a:gd name="T40" fmla="*/ 40 w 98"/>
              <a:gd name="T41" fmla="*/ 56 h 56"/>
              <a:gd name="T42" fmla="*/ 30 w 98"/>
              <a:gd name="T43" fmla="*/ 52 h 56"/>
              <a:gd name="T44" fmla="*/ 24 w 98"/>
              <a:gd name="T45" fmla="*/ 52 h 56"/>
              <a:gd name="T46" fmla="*/ 14 w 98"/>
              <a:gd name="T47" fmla="*/ 54 h 56"/>
              <a:gd name="T48" fmla="*/ 12 w 98"/>
              <a:gd name="T49" fmla="*/ 48 h 56"/>
              <a:gd name="T50" fmla="*/ 6 w 98"/>
              <a:gd name="T51" fmla="*/ 42 h 56"/>
              <a:gd name="T52" fmla="*/ 4 w 98"/>
              <a:gd name="T53" fmla="*/ 34 h 56"/>
              <a:gd name="T54" fmla="*/ 10 w 98"/>
              <a:gd name="T55" fmla="*/ 22 h 56"/>
              <a:gd name="T56" fmla="*/ 4 w 98"/>
              <a:gd name="T57" fmla="*/ 14 h 56"/>
              <a:gd name="T58" fmla="*/ 0 w 98"/>
              <a:gd name="T59" fmla="*/ 8 h 56"/>
              <a:gd name="T60" fmla="*/ 6 w 98"/>
              <a:gd name="T61" fmla="*/ 4 h 56"/>
              <a:gd name="T62" fmla="*/ 18 w 98"/>
              <a:gd name="T63" fmla="*/ 8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98" h="56">
                <a:moveTo>
                  <a:pt x="18" y="8"/>
                </a:moveTo>
                <a:lnTo>
                  <a:pt x="46" y="8"/>
                </a:lnTo>
                <a:lnTo>
                  <a:pt x="58" y="8"/>
                </a:lnTo>
                <a:lnTo>
                  <a:pt x="66" y="0"/>
                </a:lnTo>
                <a:lnTo>
                  <a:pt x="80" y="4"/>
                </a:lnTo>
                <a:lnTo>
                  <a:pt x="92" y="10"/>
                </a:lnTo>
                <a:lnTo>
                  <a:pt x="98" y="10"/>
                </a:lnTo>
                <a:lnTo>
                  <a:pt x="98" y="14"/>
                </a:lnTo>
                <a:lnTo>
                  <a:pt x="90" y="16"/>
                </a:lnTo>
                <a:lnTo>
                  <a:pt x="90" y="28"/>
                </a:lnTo>
                <a:lnTo>
                  <a:pt x="82" y="36"/>
                </a:lnTo>
                <a:lnTo>
                  <a:pt x="84" y="38"/>
                </a:lnTo>
                <a:lnTo>
                  <a:pt x="92" y="42"/>
                </a:lnTo>
                <a:lnTo>
                  <a:pt x="90" y="46"/>
                </a:lnTo>
                <a:lnTo>
                  <a:pt x="80" y="44"/>
                </a:lnTo>
                <a:lnTo>
                  <a:pt x="72" y="42"/>
                </a:lnTo>
                <a:lnTo>
                  <a:pt x="64" y="46"/>
                </a:lnTo>
                <a:lnTo>
                  <a:pt x="60" y="52"/>
                </a:lnTo>
                <a:lnTo>
                  <a:pt x="60" y="56"/>
                </a:lnTo>
                <a:lnTo>
                  <a:pt x="52" y="56"/>
                </a:lnTo>
                <a:lnTo>
                  <a:pt x="40" y="56"/>
                </a:lnTo>
                <a:lnTo>
                  <a:pt x="30" y="52"/>
                </a:lnTo>
                <a:lnTo>
                  <a:pt x="24" y="52"/>
                </a:lnTo>
                <a:lnTo>
                  <a:pt x="14" y="54"/>
                </a:lnTo>
                <a:lnTo>
                  <a:pt x="12" y="48"/>
                </a:lnTo>
                <a:lnTo>
                  <a:pt x="6" y="42"/>
                </a:lnTo>
                <a:lnTo>
                  <a:pt x="4" y="34"/>
                </a:lnTo>
                <a:lnTo>
                  <a:pt x="10" y="22"/>
                </a:lnTo>
                <a:lnTo>
                  <a:pt x="4" y="14"/>
                </a:lnTo>
                <a:lnTo>
                  <a:pt x="0" y="8"/>
                </a:lnTo>
                <a:lnTo>
                  <a:pt x="6" y="4"/>
                </a:lnTo>
                <a:lnTo>
                  <a:pt x="18" y="8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83" name="Freeform 220">
            <a:extLst>
              <a:ext uri="{FF2B5EF4-FFF2-40B4-BE49-F238E27FC236}">
                <a16:creationId xmlns:a16="http://schemas.microsoft.com/office/drawing/2014/main" id="{A137D4DC-A14F-4B10-86E9-5BB87FC708C6}"/>
              </a:ext>
            </a:extLst>
          </p:cNvPr>
          <p:cNvSpPr>
            <a:spLocks/>
          </p:cNvSpPr>
          <p:nvPr/>
        </p:nvSpPr>
        <p:spPr bwMode="gray">
          <a:xfrm>
            <a:off x="2912972" y="1927454"/>
            <a:ext cx="30502" cy="20028"/>
          </a:xfrm>
          <a:custGeom>
            <a:avLst/>
            <a:gdLst>
              <a:gd name="T0" fmla="*/ 0 w 42"/>
              <a:gd name="T1" fmla="*/ 14 h 30"/>
              <a:gd name="T2" fmla="*/ 0 w 42"/>
              <a:gd name="T3" fmla="*/ 20 h 30"/>
              <a:gd name="T4" fmla="*/ 2 w 42"/>
              <a:gd name="T5" fmla="*/ 26 h 30"/>
              <a:gd name="T6" fmla="*/ 10 w 42"/>
              <a:gd name="T7" fmla="*/ 26 h 30"/>
              <a:gd name="T8" fmla="*/ 4 w 42"/>
              <a:gd name="T9" fmla="*/ 30 h 30"/>
              <a:gd name="T10" fmla="*/ 14 w 42"/>
              <a:gd name="T11" fmla="*/ 28 h 30"/>
              <a:gd name="T12" fmla="*/ 26 w 42"/>
              <a:gd name="T13" fmla="*/ 20 h 30"/>
              <a:gd name="T14" fmla="*/ 34 w 42"/>
              <a:gd name="T15" fmla="*/ 16 h 30"/>
              <a:gd name="T16" fmla="*/ 42 w 42"/>
              <a:gd name="T17" fmla="*/ 18 h 30"/>
              <a:gd name="T18" fmla="*/ 38 w 42"/>
              <a:gd name="T19" fmla="*/ 14 h 30"/>
              <a:gd name="T20" fmla="*/ 32 w 42"/>
              <a:gd name="T21" fmla="*/ 10 h 30"/>
              <a:gd name="T22" fmla="*/ 30 w 42"/>
              <a:gd name="T23" fmla="*/ 4 h 30"/>
              <a:gd name="T24" fmla="*/ 22 w 42"/>
              <a:gd name="T25" fmla="*/ 4 h 30"/>
              <a:gd name="T26" fmla="*/ 12 w 42"/>
              <a:gd name="T27" fmla="*/ 0 h 30"/>
              <a:gd name="T28" fmla="*/ 4 w 42"/>
              <a:gd name="T29" fmla="*/ 4 h 30"/>
              <a:gd name="T30" fmla="*/ 0 w 42"/>
              <a:gd name="T31" fmla="*/ 10 h 30"/>
              <a:gd name="T32" fmla="*/ 0 w 42"/>
              <a:gd name="T33" fmla="*/ 14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2" h="30">
                <a:moveTo>
                  <a:pt x="0" y="14"/>
                </a:moveTo>
                <a:lnTo>
                  <a:pt x="0" y="20"/>
                </a:lnTo>
                <a:lnTo>
                  <a:pt x="2" y="26"/>
                </a:lnTo>
                <a:lnTo>
                  <a:pt x="10" y="26"/>
                </a:lnTo>
                <a:lnTo>
                  <a:pt x="4" y="30"/>
                </a:lnTo>
                <a:lnTo>
                  <a:pt x="14" y="28"/>
                </a:lnTo>
                <a:lnTo>
                  <a:pt x="26" y="20"/>
                </a:lnTo>
                <a:lnTo>
                  <a:pt x="34" y="16"/>
                </a:lnTo>
                <a:lnTo>
                  <a:pt x="42" y="18"/>
                </a:lnTo>
                <a:lnTo>
                  <a:pt x="38" y="14"/>
                </a:lnTo>
                <a:lnTo>
                  <a:pt x="32" y="10"/>
                </a:lnTo>
                <a:lnTo>
                  <a:pt x="30" y="4"/>
                </a:lnTo>
                <a:lnTo>
                  <a:pt x="22" y="4"/>
                </a:lnTo>
                <a:lnTo>
                  <a:pt x="12" y="0"/>
                </a:lnTo>
                <a:lnTo>
                  <a:pt x="4" y="4"/>
                </a:lnTo>
                <a:lnTo>
                  <a:pt x="0" y="10"/>
                </a:lnTo>
                <a:lnTo>
                  <a:pt x="0" y="1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84" name="Freeform 221">
            <a:extLst>
              <a:ext uri="{FF2B5EF4-FFF2-40B4-BE49-F238E27FC236}">
                <a16:creationId xmlns:a16="http://schemas.microsoft.com/office/drawing/2014/main" id="{E6F55042-E24A-4499-9CBE-BAE2EE0EC7A7}"/>
              </a:ext>
            </a:extLst>
          </p:cNvPr>
          <p:cNvSpPr>
            <a:spLocks/>
          </p:cNvSpPr>
          <p:nvPr/>
        </p:nvSpPr>
        <p:spPr bwMode="gray">
          <a:xfrm>
            <a:off x="2883923" y="2008903"/>
            <a:ext cx="31955" cy="6676"/>
          </a:xfrm>
          <a:custGeom>
            <a:avLst/>
            <a:gdLst>
              <a:gd name="T0" fmla="*/ 4 w 44"/>
              <a:gd name="T1" fmla="*/ 0 h 10"/>
              <a:gd name="T2" fmla="*/ 10 w 44"/>
              <a:gd name="T3" fmla="*/ 0 h 10"/>
              <a:gd name="T4" fmla="*/ 16 w 44"/>
              <a:gd name="T5" fmla="*/ 2 h 10"/>
              <a:gd name="T6" fmla="*/ 22 w 44"/>
              <a:gd name="T7" fmla="*/ 2 h 10"/>
              <a:gd name="T8" fmla="*/ 30 w 44"/>
              <a:gd name="T9" fmla="*/ 2 h 10"/>
              <a:gd name="T10" fmla="*/ 34 w 44"/>
              <a:gd name="T11" fmla="*/ 2 h 10"/>
              <a:gd name="T12" fmla="*/ 42 w 44"/>
              <a:gd name="T13" fmla="*/ 4 h 10"/>
              <a:gd name="T14" fmla="*/ 44 w 44"/>
              <a:gd name="T15" fmla="*/ 8 h 10"/>
              <a:gd name="T16" fmla="*/ 40 w 44"/>
              <a:gd name="T17" fmla="*/ 10 h 10"/>
              <a:gd name="T18" fmla="*/ 32 w 44"/>
              <a:gd name="T19" fmla="*/ 8 h 10"/>
              <a:gd name="T20" fmla="*/ 24 w 44"/>
              <a:gd name="T21" fmla="*/ 8 h 10"/>
              <a:gd name="T22" fmla="*/ 18 w 44"/>
              <a:gd name="T23" fmla="*/ 10 h 10"/>
              <a:gd name="T24" fmla="*/ 16 w 44"/>
              <a:gd name="T25" fmla="*/ 6 h 10"/>
              <a:gd name="T26" fmla="*/ 8 w 44"/>
              <a:gd name="T27" fmla="*/ 6 h 10"/>
              <a:gd name="T28" fmla="*/ 0 w 44"/>
              <a:gd name="T29" fmla="*/ 4 h 10"/>
              <a:gd name="T30" fmla="*/ 4 w 44"/>
              <a:gd name="T31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44" h="10">
                <a:moveTo>
                  <a:pt x="4" y="0"/>
                </a:moveTo>
                <a:lnTo>
                  <a:pt x="10" y="0"/>
                </a:lnTo>
                <a:lnTo>
                  <a:pt x="16" y="2"/>
                </a:lnTo>
                <a:lnTo>
                  <a:pt x="22" y="2"/>
                </a:lnTo>
                <a:lnTo>
                  <a:pt x="30" y="2"/>
                </a:lnTo>
                <a:lnTo>
                  <a:pt x="34" y="2"/>
                </a:lnTo>
                <a:lnTo>
                  <a:pt x="42" y="4"/>
                </a:lnTo>
                <a:lnTo>
                  <a:pt x="44" y="8"/>
                </a:lnTo>
                <a:lnTo>
                  <a:pt x="40" y="10"/>
                </a:lnTo>
                <a:lnTo>
                  <a:pt x="32" y="8"/>
                </a:lnTo>
                <a:lnTo>
                  <a:pt x="24" y="8"/>
                </a:lnTo>
                <a:lnTo>
                  <a:pt x="18" y="10"/>
                </a:lnTo>
                <a:lnTo>
                  <a:pt x="16" y="6"/>
                </a:lnTo>
                <a:lnTo>
                  <a:pt x="8" y="6"/>
                </a:lnTo>
                <a:lnTo>
                  <a:pt x="0" y="4"/>
                </a:lnTo>
                <a:lnTo>
                  <a:pt x="4" y="0"/>
                </a:lnTo>
                <a:close/>
              </a:path>
            </a:pathLst>
          </a:custGeom>
          <a:solidFill>
            <a:schemeClr val="accent1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85" name="Freeform 222">
            <a:extLst>
              <a:ext uri="{FF2B5EF4-FFF2-40B4-BE49-F238E27FC236}">
                <a16:creationId xmlns:a16="http://schemas.microsoft.com/office/drawing/2014/main" id="{E5F9A20B-E1AB-4B58-BABF-9EAD72E82E9B}"/>
              </a:ext>
            </a:extLst>
          </p:cNvPr>
          <p:cNvSpPr>
            <a:spLocks/>
          </p:cNvSpPr>
          <p:nvPr/>
        </p:nvSpPr>
        <p:spPr bwMode="gray">
          <a:xfrm>
            <a:off x="2844706" y="1932795"/>
            <a:ext cx="68267" cy="65426"/>
          </a:xfrm>
          <a:custGeom>
            <a:avLst/>
            <a:gdLst>
              <a:gd name="T0" fmla="*/ 46 w 94"/>
              <a:gd name="T1" fmla="*/ 64 h 98"/>
              <a:gd name="T2" fmla="*/ 38 w 94"/>
              <a:gd name="T3" fmla="*/ 68 h 98"/>
              <a:gd name="T4" fmla="*/ 24 w 94"/>
              <a:gd name="T5" fmla="*/ 66 h 98"/>
              <a:gd name="T6" fmla="*/ 20 w 94"/>
              <a:gd name="T7" fmla="*/ 78 h 98"/>
              <a:gd name="T8" fmla="*/ 26 w 94"/>
              <a:gd name="T9" fmla="*/ 88 h 98"/>
              <a:gd name="T10" fmla="*/ 32 w 94"/>
              <a:gd name="T11" fmla="*/ 86 h 98"/>
              <a:gd name="T12" fmla="*/ 36 w 94"/>
              <a:gd name="T13" fmla="*/ 98 h 98"/>
              <a:gd name="T14" fmla="*/ 42 w 94"/>
              <a:gd name="T15" fmla="*/ 92 h 98"/>
              <a:gd name="T16" fmla="*/ 48 w 94"/>
              <a:gd name="T17" fmla="*/ 94 h 98"/>
              <a:gd name="T18" fmla="*/ 44 w 94"/>
              <a:gd name="T19" fmla="*/ 86 h 98"/>
              <a:gd name="T20" fmla="*/ 42 w 94"/>
              <a:gd name="T21" fmla="*/ 76 h 98"/>
              <a:gd name="T22" fmla="*/ 52 w 94"/>
              <a:gd name="T23" fmla="*/ 74 h 98"/>
              <a:gd name="T24" fmla="*/ 48 w 94"/>
              <a:gd name="T25" fmla="*/ 64 h 98"/>
              <a:gd name="T26" fmla="*/ 58 w 94"/>
              <a:gd name="T27" fmla="*/ 70 h 98"/>
              <a:gd name="T28" fmla="*/ 62 w 94"/>
              <a:gd name="T29" fmla="*/ 60 h 98"/>
              <a:gd name="T30" fmla="*/ 50 w 94"/>
              <a:gd name="T31" fmla="*/ 54 h 98"/>
              <a:gd name="T32" fmla="*/ 44 w 94"/>
              <a:gd name="T33" fmla="*/ 44 h 98"/>
              <a:gd name="T34" fmla="*/ 38 w 94"/>
              <a:gd name="T35" fmla="*/ 32 h 98"/>
              <a:gd name="T36" fmla="*/ 38 w 94"/>
              <a:gd name="T37" fmla="*/ 22 h 98"/>
              <a:gd name="T38" fmla="*/ 48 w 94"/>
              <a:gd name="T39" fmla="*/ 26 h 98"/>
              <a:gd name="T40" fmla="*/ 58 w 94"/>
              <a:gd name="T41" fmla="*/ 26 h 98"/>
              <a:gd name="T42" fmla="*/ 58 w 94"/>
              <a:gd name="T43" fmla="*/ 16 h 98"/>
              <a:gd name="T44" fmla="*/ 70 w 94"/>
              <a:gd name="T45" fmla="*/ 14 h 98"/>
              <a:gd name="T46" fmla="*/ 84 w 94"/>
              <a:gd name="T47" fmla="*/ 14 h 98"/>
              <a:gd name="T48" fmla="*/ 94 w 94"/>
              <a:gd name="T49" fmla="*/ 12 h 98"/>
              <a:gd name="T50" fmla="*/ 86 w 94"/>
              <a:gd name="T51" fmla="*/ 6 h 98"/>
              <a:gd name="T52" fmla="*/ 70 w 94"/>
              <a:gd name="T53" fmla="*/ 4 h 98"/>
              <a:gd name="T54" fmla="*/ 58 w 94"/>
              <a:gd name="T55" fmla="*/ 0 h 98"/>
              <a:gd name="T56" fmla="*/ 40 w 94"/>
              <a:gd name="T57" fmla="*/ 10 h 98"/>
              <a:gd name="T58" fmla="*/ 26 w 94"/>
              <a:gd name="T59" fmla="*/ 12 h 98"/>
              <a:gd name="T60" fmla="*/ 14 w 94"/>
              <a:gd name="T61" fmla="*/ 16 h 98"/>
              <a:gd name="T62" fmla="*/ 10 w 94"/>
              <a:gd name="T63" fmla="*/ 26 h 98"/>
              <a:gd name="T64" fmla="*/ 0 w 94"/>
              <a:gd name="T65" fmla="*/ 38 h 98"/>
              <a:gd name="T66" fmla="*/ 10 w 94"/>
              <a:gd name="T67" fmla="*/ 46 h 98"/>
              <a:gd name="T68" fmla="*/ 20 w 94"/>
              <a:gd name="T69" fmla="*/ 48 h 98"/>
              <a:gd name="T70" fmla="*/ 14 w 94"/>
              <a:gd name="T71" fmla="*/ 58 h 98"/>
              <a:gd name="T72" fmla="*/ 26 w 94"/>
              <a:gd name="T73" fmla="*/ 58 h 98"/>
              <a:gd name="T74" fmla="*/ 42 w 94"/>
              <a:gd name="T75" fmla="*/ 62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94" h="98">
                <a:moveTo>
                  <a:pt x="42" y="62"/>
                </a:moveTo>
                <a:lnTo>
                  <a:pt x="46" y="64"/>
                </a:lnTo>
                <a:lnTo>
                  <a:pt x="44" y="68"/>
                </a:lnTo>
                <a:lnTo>
                  <a:pt x="38" y="68"/>
                </a:lnTo>
                <a:lnTo>
                  <a:pt x="30" y="66"/>
                </a:lnTo>
                <a:lnTo>
                  <a:pt x="24" y="66"/>
                </a:lnTo>
                <a:lnTo>
                  <a:pt x="20" y="70"/>
                </a:lnTo>
                <a:lnTo>
                  <a:pt x="20" y="78"/>
                </a:lnTo>
                <a:lnTo>
                  <a:pt x="26" y="82"/>
                </a:lnTo>
                <a:lnTo>
                  <a:pt x="26" y="88"/>
                </a:lnTo>
                <a:lnTo>
                  <a:pt x="28" y="92"/>
                </a:lnTo>
                <a:lnTo>
                  <a:pt x="32" y="86"/>
                </a:lnTo>
                <a:lnTo>
                  <a:pt x="34" y="90"/>
                </a:lnTo>
                <a:lnTo>
                  <a:pt x="36" y="98"/>
                </a:lnTo>
                <a:lnTo>
                  <a:pt x="42" y="96"/>
                </a:lnTo>
                <a:lnTo>
                  <a:pt x="42" y="92"/>
                </a:lnTo>
                <a:lnTo>
                  <a:pt x="46" y="98"/>
                </a:lnTo>
                <a:lnTo>
                  <a:pt x="48" y="94"/>
                </a:lnTo>
                <a:lnTo>
                  <a:pt x="48" y="90"/>
                </a:lnTo>
                <a:lnTo>
                  <a:pt x="44" y="86"/>
                </a:lnTo>
                <a:lnTo>
                  <a:pt x="40" y="80"/>
                </a:lnTo>
                <a:lnTo>
                  <a:pt x="42" y="76"/>
                </a:lnTo>
                <a:lnTo>
                  <a:pt x="46" y="76"/>
                </a:lnTo>
                <a:lnTo>
                  <a:pt x="52" y="74"/>
                </a:lnTo>
                <a:lnTo>
                  <a:pt x="48" y="70"/>
                </a:lnTo>
                <a:lnTo>
                  <a:pt x="48" y="64"/>
                </a:lnTo>
                <a:lnTo>
                  <a:pt x="52" y="68"/>
                </a:lnTo>
                <a:lnTo>
                  <a:pt x="58" y="70"/>
                </a:lnTo>
                <a:lnTo>
                  <a:pt x="64" y="66"/>
                </a:lnTo>
                <a:lnTo>
                  <a:pt x="62" y="60"/>
                </a:lnTo>
                <a:lnTo>
                  <a:pt x="58" y="56"/>
                </a:lnTo>
                <a:lnTo>
                  <a:pt x="50" y="54"/>
                </a:lnTo>
                <a:lnTo>
                  <a:pt x="46" y="50"/>
                </a:lnTo>
                <a:lnTo>
                  <a:pt x="44" y="44"/>
                </a:lnTo>
                <a:lnTo>
                  <a:pt x="44" y="40"/>
                </a:lnTo>
                <a:lnTo>
                  <a:pt x="38" y="32"/>
                </a:lnTo>
                <a:lnTo>
                  <a:pt x="36" y="28"/>
                </a:lnTo>
                <a:lnTo>
                  <a:pt x="38" y="22"/>
                </a:lnTo>
                <a:lnTo>
                  <a:pt x="44" y="20"/>
                </a:lnTo>
                <a:lnTo>
                  <a:pt x="48" y="26"/>
                </a:lnTo>
                <a:lnTo>
                  <a:pt x="56" y="28"/>
                </a:lnTo>
                <a:lnTo>
                  <a:pt x="58" y="26"/>
                </a:lnTo>
                <a:lnTo>
                  <a:pt x="60" y="22"/>
                </a:lnTo>
                <a:lnTo>
                  <a:pt x="58" y="16"/>
                </a:lnTo>
                <a:lnTo>
                  <a:pt x="64" y="16"/>
                </a:lnTo>
                <a:lnTo>
                  <a:pt x="70" y="14"/>
                </a:lnTo>
                <a:lnTo>
                  <a:pt x="78" y="14"/>
                </a:lnTo>
                <a:lnTo>
                  <a:pt x="84" y="14"/>
                </a:lnTo>
                <a:lnTo>
                  <a:pt x="90" y="14"/>
                </a:lnTo>
                <a:lnTo>
                  <a:pt x="94" y="12"/>
                </a:lnTo>
                <a:lnTo>
                  <a:pt x="94" y="6"/>
                </a:lnTo>
                <a:lnTo>
                  <a:pt x="86" y="6"/>
                </a:lnTo>
                <a:lnTo>
                  <a:pt x="74" y="6"/>
                </a:lnTo>
                <a:lnTo>
                  <a:pt x="70" y="4"/>
                </a:lnTo>
                <a:lnTo>
                  <a:pt x="64" y="2"/>
                </a:lnTo>
                <a:lnTo>
                  <a:pt x="58" y="0"/>
                </a:lnTo>
                <a:lnTo>
                  <a:pt x="48" y="4"/>
                </a:lnTo>
                <a:lnTo>
                  <a:pt x="40" y="10"/>
                </a:lnTo>
                <a:lnTo>
                  <a:pt x="34" y="10"/>
                </a:lnTo>
                <a:lnTo>
                  <a:pt x="26" y="12"/>
                </a:lnTo>
                <a:lnTo>
                  <a:pt x="18" y="14"/>
                </a:lnTo>
                <a:lnTo>
                  <a:pt x="14" y="16"/>
                </a:lnTo>
                <a:lnTo>
                  <a:pt x="14" y="20"/>
                </a:lnTo>
                <a:lnTo>
                  <a:pt x="10" y="26"/>
                </a:lnTo>
                <a:lnTo>
                  <a:pt x="2" y="34"/>
                </a:lnTo>
                <a:lnTo>
                  <a:pt x="0" y="38"/>
                </a:lnTo>
                <a:lnTo>
                  <a:pt x="4" y="42"/>
                </a:lnTo>
                <a:lnTo>
                  <a:pt x="10" y="46"/>
                </a:lnTo>
                <a:lnTo>
                  <a:pt x="16" y="46"/>
                </a:lnTo>
                <a:lnTo>
                  <a:pt x="20" y="48"/>
                </a:lnTo>
                <a:lnTo>
                  <a:pt x="14" y="52"/>
                </a:lnTo>
                <a:lnTo>
                  <a:pt x="14" y="58"/>
                </a:lnTo>
                <a:lnTo>
                  <a:pt x="18" y="60"/>
                </a:lnTo>
                <a:lnTo>
                  <a:pt x="26" y="58"/>
                </a:lnTo>
                <a:lnTo>
                  <a:pt x="32" y="60"/>
                </a:lnTo>
                <a:lnTo>
                  <a:pt x="42" y="6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86" name="Freeform 223">
            <a:extLst>
              <a:ext uri="{FF2B5EF4-FFF2-40B4-BE49-F238E27FC236}">
                <a16:creationId xmlns:a16="http://schemas.microsoft.com/office/drawing/2014/main" id="{93BD028F-3C2E-47C8-AB6E-0A63D397C8CE}"/>
              </a:ext>
            </a:extLst>
          </p:cNvPr>
          <p:cNvSpPr>
            <a:spLocks/>
          </p:cNvSpPr>
          <p:nvPr/>
        </p:nvSpPr>
        <p:spPr bwMode="gray">
          <a:xfrm>
            <a:off x="2835991" y="1920778"/>
            <a:ext cx="18882" cy="37386"/>
          </a:xfrm>
          <a:custGeom>
            <a:avLst/>
            <a:gdLst>
              <a:gd name="T0" fmla="*/ 0 w 26"/>
              <a:gd name="T1" fmla="*/ 12 h 56"/>
              <a:gd name="T2" fmla="*/ 2 w 26"/>
              <a:gd name="T3" fmla="*/ 4 h 56"/>
              <a:gd name="T4" fmla="*/ 6 w 26"/>
              <a:gd name="T5" fmla="*/ 0 h 56"/>
              <a:gd name="T6" fmla="*/ 14 w 26"/>
              <a:gd name="T7" fmla="*/ 2 h 56"/>
              <a:gd name="T8" fmla="*/ 22 w 26"/>
              <a:gd name="T9" fmla="*/ 8 h 56"/>
              <a:gd name="T10" fmla="*/ 20 w 26"/>
              <a:gd name="T11" fmla="*/ 16 h 56"/>
              <a:gd name="T12" fmla="*/ 20 w 26"/>
              <a:gd name="T13" fmla="*/ 22 h 56"/>
              <a:gd name="T14" fmla="*/ 24 w 26"/>
              <a:gd name="T15" fmla="*/ 30 h 56"/>
              <a:gd name="T16" fmla="*/ 26 w 26"/>
              <a:gd name="T17" fmla="*/ 34 h 56"/>
              <a:gd name="T18" fmla="*/ 26 w 26"/>
              <a:gd name="T19" fmla="*/ 38 h 56"/>
              <a:gd name="T20" fmla="*/ 22 w 26"/>
              <a:gd name="T21" fmla="*/ 44 h 56"/>
              <a:gd name="T22" fmla="*/ 12 w 26"/>
              <a:gd name="T23" fmla="*/ 56 h 56"/>
              <a:gd name="T24" fmla="*/ 2 w 26"/>
              <a:gd name="T25" fmla="*/ 40 h 56"/>
              <a:gd name="T26" fmla="*/ 4 w 26"/>
              <a:gd name="T27" fmla="*/ 28 h 56"/>
              <a:gd name="T28" fmla="*/ 2 w 26"/>
              <a:gd name="T29" fmla="*/ 18 h 56"/>
              <a:gd name="T30" fmla="*/ 0 w 26"/>
              <a:gd name="T31" fmla="*/ 12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6" h="56">
                <a:moveTo>
                  <a:pt x="0" y="12"/>
                </a:moveTo>
                <a:lnTo>
                  <a:pt x="2" y="4"/>
                </a:lnTo>
                <a:lnTo>
                  <a:pt x="6" y="0"/>
                </a:lnTo>
                <a:lnTo>
                  <a:pt x="14" y="2"/>
                </a:lnTo>
                <a:lnTo>
                  <a:pt x="22" y="8"/>
                </a:lnTo>
                <a:lnTo>
                  <a:pt x="20" y="16"/>
                </a:lnTo>
                <a:lnTo>
                  <a:pt x="20" y="22"/>
                </a:lnTo>
                <a:lnTo>
                  <a:pt x="24" y="30"/>
                </a:lnTo>
                <a:lnTo>
                  <a:pt x="26" y="34"/>
                </a:lnTo>
                <a:lnTo>
                  <a:pt x="26" y="38"/>
                </a:lnTo>
                <a:lnTo>
                  <a:pt x="22" y="44"/>
                </a:lnTo>
                <a:lnTo>
                  <a:pt x="12" y="56"/>
                </a:lnTo>
                <a:lnTo>
                  <a:pt x="2" y="40"/>
                </a:lnTo>
                <a:lnTo>
                  <a:pt x="4" y="28"/>
                </a:lnTo>
                <a:lnTo>
                  <a:pt x="2" y="18"/>
                </a:lnTo>
                <a:lnTo>
                  <a:pt x="0" y="12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87" name="Freeform 224">
            <a:extLst>
              <a:ext uri="{FF2B5EF4-FFF2-40B4-BE49-F238E27FC236}">
                <a16:creationId xmlns:a16="http://schemas.microsoft.com/office/drawing/2014/main" id="{52D36224-FC99-4E67-887D-A4E7BF33B433}"/>
              </a:ext>
            </a:extLst>
          </p:cNvPr>
          <p:cNvSpPr>
            <a:spLocks/>
          </p:cNvSpPr>
          <p:nvPr/>
        </p:nvSpPr>
        <p:spPr bwMode="gray">
          <a:xfrm>
            <a:off x="2772082" y="2002894"/>
            <a:ext cx="10167" cy="8011"/>
          </a:xfrm>
          <a:custGeom>
            <a:avLst/>
            <a:gdLst>
              <a:gd name="T0" fmla="*/ 11 w 14"/>
              <a:gd name="T1" fmla="*/ 4 h 12"/>
              <a:gd name="T2" fmla="*/ 9 w 14"/>
              <a:gd name="T3" fmla="*/ 12 h 12"/>
              <a:gd name="T4" fmla="*/ 11 w 14"/>
              <a:gd name="T5" fmla="*/ 4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2">
                <a:moveTo>
                  <a:pt x="11" y="4"/>
                </a:moveTo>
                <a:cubicBezTo>
                  <a:pt x="0" y="0"/>
                  <a:pt x="1" y="7"/>
                  <a:pt x="9" y="12"/>
                </a:cubicBezTo>
                <a:cubicBezTo>
                  <a:pt x="13" y="5"/>
                  <a:pt x="14" y="7"/>
                  <a:pt x="11" y="4"/>
                </a:cubicBezTo>
                <a:close/>
              </a:path>
            </a:pathLst>
          </a:custGeom>
          <a:solidFill>
            <a:schemeClr val="accent1"/>
          </a:solidFill>
          <a:ln w="1270" cmpd="sng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013" dirty="0"/>
          </a:p>
        </p:txBody>
      </p:sp>
      <p:sp>
        <p:nvSpPr>
          <p:cNvPr id="288" name="Freeform 225">
            <a:extLst>
              <a:ext uri="{FF2B5EF4-FFF2-40B4-BE49-F238E27FC236}">
                <a16:creationId xmlns:a16="http://schemas.microsoft.com/office/drawing/2014/main" id="{64D42BDC-1BB3-4907-8AEF-39EE472EC04B}"/>
              </a:ext>
            </a:extLst>
          </p:cNvPr>
          <p:cNvSpPr>
            <a:spLocks/>
          </p:cNvSpPr>
          <p:nvPr/>
        </p:nvSpPr>
        <p:spPr bwMode="gray">
          <a:xfrm>
            <a:off x="3793175" y="2245237"/>
            <a:ext cx="58099" cy="45398"/>
          </a:xfrm>
          <a:custGeom>
            <a:avLst/>
            <a:gdLst>
              <a:gd name="T0" fmla="*/ 40 w 80"/>
              <a:gd name="T1" fmla="*/ 66 h 68"/>
              <a:gd name="T2" fmla="*/ 34 w 80"/>
              <a:gd name="T3" fmla="*/ 66 h 68"/>
              <a:gd name="T4" fmla="*/ 32 w 80"/>
              <a:gd name="T5" fmla="*/ 68 h 68"/>
              <a:gd name="T6" fmla="*/ 18 w 80"/>
              <a:gd name="T7" fmla="*/ 64 h 68"/>
              <a:gd name="T8" fmla="*/ 12 w 80"/>
              <a:gd name="T9" fmla="*/ 54 h 68"/>
              <a:gd name="T10" fmla="*/ 8 w 80"/>
              <a:gd name="T11" fmla="*/ 44 h 68"/>
              <a:gd name="T12" fmla="*/ 0 w 80"/>
              <a:gd name="T13" fmla="*/ 24 h 68"/>
              <a:gd name="T14" fmla="*/ 0 w 80"/>
              <a:gd name="T15" fmla="*/ 18 h 68"/>
              <a:gd name="T16" fmla="*/ 8 w 80"/>
              <a:gd name="T17" fmla="*/ 4 h 68"/>
              <a:gd name="T18" fmla="*/ 48 w 80"/>
              <a:gd name="T19" fmla="*/ 2 h 68"/>
              <a:gd name="T20" fmla="*/ 48 w 80"/>
              <a:gd name="T21" fmla="*/ 8 h 68"/>
              <a:gd name="T22" fmla="*/ 58 w 80"/>
              <a:gd name="T23" fmla="*/ 8 h 68"/>
              <a:gd name="T24" fmla="*/ 62 w 80"/>
              <a:gd name="T25" fmla="*/ 0 h 68"/>
              <a:gd name="T26" fmla="*/ 66 w 80"/>
              <a:gd name="T27" fmla="*/ 2 h 68"/>
              <a:gd name="T28" fmla="*/ 68 w 80"/>
              <a:gd name="T29" fmla="*/ 6 h 68"/>
              <a:gd name="T30" fmla="*/ 80 w 80"/>
              <a:gd name="T31" fmla="*/ 6 h 68"/>
              <a:gd name="T32" fmla="*/ 80 w 80"/>
              <a:gd name="T33" fmla="*/ 16 h 68"/>
              <a:gd name="T34" fmla="*/ 76 w 80"/>
              <a:gd name="T35" fmla="*/ 26 h 68"/>
              <a:gd name="T36" fmla="*/ 70 w 80"/>
              <a:gd name="T37" fmla="*/ 38 h 68"/>
              <a:gd name="T38" fmla="*/ 64 w 80"/>
              <a:gd name="T39" fmla="*/ 46 h 68"/>
              <a:gd name="T40" fmla="*/ 54 w 80"/>
              <a:gd name="T41" fmla="*/ 50 h 68"/>
              <a:gd name="T42" fmla="*/ 54 w 80"/>
              <a:gd name="T43" fmla="*/ 58 h 68"/>
              <a:gd name="T44" fmla="*/ 44 w 80"/>
              <a:gd name="T45" fmla="*/ 62 h 68"/>
              <a:gd name="T46" fmla="*/ 40 w 80"/>
              <a:gd name="T47" fmla="*/ 66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0" h="68">
                <a:moveTo>
                  <a:pt x="40" y="66"/>
                </a:moveTo>
                <a:lnTo>
                  <a:pt x="34" y="66"/>
                </a:lnTo>
                <a:lnTo>
                  <a:pt x="32" y="68"/>
                </a:lnTo>
                <a:lnTo>
                  <a:pt x="18" y="64"/>
                </a:lnTo>
                <a:lnTo>
                  <a:pt x="12" y="54"/>
                </a:lnTo>
                <a:lnTo>
                  <a:pt x="8" y="44"/>
                </a:lnTo>
                <a:lnTo>
                  <a:pt x="0" y="24"/>
                </a:lnTo>
                <a:lnTo>
                  <a:pt x="0" y="18"/>
                </a:lnTo>
                <a:lnTo>
                  <a:pt x="8" y="4"/>
                </a:lnTo>
                <a:lnTo>
                  <a:pt x="48" y="2"/>
                </a:lnTo>
                <a:lnTo>
                  <a:pt x="48" y="8"/>
                </a:lnTo>
                <a:lnTo>
                  <a:pt x="58" y="8"/>
                </a:lnTo>
                <a:lnTo>
                  <a:pt x="62" y="0"/>
                </a:lnTo>
                <a:lnTo>
                  <a:pt x="66" y="2"/>
                </a:lnTo>
                <a:lnTo>
                  <a:pt x="68" y="6"/>
                </a:lnTo>
                <a:lnTo>
                  <a:pt x="80" y="6"/>
                </a:lnTo>
                <a:lnTo>
                  <a:pt x="80" y="16"/>
                </a:lnTo>
                <a:lnTo>
                  <a:pt x="76" y="26"/>
                </a:lnTo>
                <a:lnTo>
                  <a:pt x="70" y="38"/>
                </a:lnTo>
                <a:lnTo>
                  <a:pt x="64" y="46"/>
                </a:lnTo>
                <a:lnTo>
                  <a:pt x="54" y="50"/>
                </a:lnTo>
                <a:lnTo>
                  <a:pt x="54" y="58"/>
                </a:lnTo>
                <a:lnTo>
                  <a:pt x="44" y="62"/>
                </a:lnTo>
                <a:lnTo>
                  <a:pt x="40" y="6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89" name="Freeform 226">
            <a:extLst>
              <a:ext uri="{FF2B5EF4-FFF2-40B4-BE49-F238E27FC236}">
                <a16:creationId xmlns:a16="http://schemas.microsoft.com/office/drawing/2014/main" id="{4906AFDC-62AC-4111-9FD9-818E77EDEDF4}"/>
              </a:ext>
            </a:extLst>
          </p:cNvPr>
          <p:cNvSpPr>
            <a:spLocks/>
          </p:cNvSpPr>
          <p:nvPr/>
        </p:nvSpPr>
        <p:spPr bwMode="gray">
          <a:xfrm>
            <a:off x="3791723" y="2153107"/>
            <a:ext cx="81339" cy="156221"/>
          </a:xfrm>
          <a:custGeom>
            <a:avLst/>
            <a:gdLst>
              <a:gd name="T0" fmla="*/ 42 w 112"/>
              <a:gd name="T1" fmla="*/ 204 h 234"/>
              <a:gd name="T2" fmla="*/ 44 w 112"/>
              <a:gd name="T3" fmla="*/ 206 h 234"/>
              <a:gd name="T4" fmla="*/ 44 w 112"/>
              <a:gd name="T5" fmla="*/ 208 h 234"/>
              <a:gd name="T6" fmla="*/ 44 w 112"/>
              <a:gd name="T7" fmla="*/ 214 h 234"/>
              <a:gd name="T8" fmla="*/ 42 w 112"/>
              <a:gd name="T9" fmla="*/ 214 h 234"/>
              <a:gd name="T10" fmla="*/ 40 w 112"/>
              <a:gd name="T11" fmla="*/ 234 h 234"/>
              <a:gd name="T12" fmla="*/ 52 w 112"/>
              <a:gd name="T13" fmla="*/ 226 h 234"/>
              <a:gd name="T14" fmla="*/ 66 w 112"/>
              <a:gd name="T15" fmla="*/ 218 h 234"/>
              <a:gd name="T16" fmla="*/ 66 w 112"/>
              <a:gd name="T17" fmla="*/ 210 h 234"/>
              <a:gd name="T18" fmla="*/ 70 w 112"/>
              <a:gd name="T19" fmla="*/ 204 h 234"/>
              <a:gd name="T20" fmla="*/ 82 w 112"/>
              <a:gd name="T21" fmla="*/ 206 h 234"/>
              <a:gd name="T22" fmla="*/ 94 w 112"/>
              <a:gd name="T23" fmla="*/ 202 h 234"/>
              <a:gd name="T24" fmla="*/ 108 w 112"/>
              <a:gd name="T25" fmla="*/ 190 h 234"/>
              <a:gd name="T26" fmla="*/ 112 w 112"/>
              <a:gd name="T27" fmla="*/ 172 h 234"/>
              <a:gd name="T28" fmla="*/ 108 w 112"/>
              <a:gd name="T29" fmla="*/ 152 h 234"/>
              <a:gd name="T30" fmla="*/ 104 w 112"/>
              <a:gd name="T31" fmla="*/ 138 h 234"/>
              <a:gd name="T32" fmla="*/ 100 w 112"/>
              <a:gd name="T33" fmla="*/ 122 h 234"/>
              <a:gd name="T34" fmla="*/ 60 w 112"/>
              <a:gd name="T35" fmla="*/ 78 h 234"/>
              <a:gd name="T36" fmla="*/ 54 w 112"/>
              <a:gd name="T37" fmla="*/ 70 h 234"/>
              <a:gd name="T38" fmla="*/ 62 w 112"/>
              <a:gd name="T39" fmla="*/ 50 h 234"/>
              <a:gd name="T40" fmla="*/ 74 w 112"/>
              <a:gd name="T41" fmla="*/ 34 h 234"/>
              <a:gd name="T42" fmla="*/ 82 w 112"/>
              <a:gd name="T43" fmla="*/ 32 h 234"/>
              <a:gd name="T44" fmla="*/ 80 w 112"/>
              <a:gd name="T45" fmla="*/ 24 h 234"/>
              <a:gd name="T46" fmla="*/ 70 w 112"/>
              <a:gd name="T47" fmla="*/ 20 h 234"/>
              <a:gd name="T48" fmla="*/ 68 w 112"/>
              <a:gd name="T49" fmla="*/ 6 h 234"/>
              <a:gd name="T50" fmla="*/ 58 w 112"/>
              <a:gd name="T51" fmla="*/ 4 h 234"/>
              <a:gd name="T52" fmla="*/ 50 w 112"/>
              <a:gd name="T53" fmla="*/ 0 h 234"/>
              <a:gd name="T54" fmla="*/ 44 w 112"/>
              <a:gd name="T55" fmla="*/ 0 h 234"/>
              <a:gd name="T56" fmla="*/ 34 w 112"/>
              <a:gd name="T57" fmla="*/ 6 h 234"/>
              <a:gd name="T58" fmla="*/ 2 w 112"/>
              <a:gd name="T59" fmla="*/ 8 h 234"/>
              <a:gd name="T60" fmla="*/ 0 w 112"/>
              <a:gd name="T61" fmla="*/ 14 h 234"/>
              <a:gd name="T62" fmla="*/ 10 w 112"/>
              <a:gd name="T63" fmla="*/ 24 h 234"/>
              <a:gd name="T64" fmla="*/ 12 w 112"/>
              <a:gd name="T65" fmla="*/ 38 h 234"/>
              <a:gd name="T66" fmla="*/ 34 w 112"/>
              <a:gd name="T67" fmla="*/ 36 h 234"/>
              <a:gd name="T68" fmla="*/ 40 w 112"/>
              <a:gd name="T69" fmla="*/ 46 h 234"/>
              <a:gd name="T70" fmla="*/ 42 w 112"/>
              <a:gd name="T71" fmla="*/ 56 h 234"/>
              <a:gd name="T72" fmla="*/ 28 w 112"/>
              <a:gd name="T73" fmla="*/ 56 h 234"/>
              <a:gd name="T74" fmla="*/ 26 w 112"/>
              <a:gd name="T75" fmla="*/ 66 h 234"/>
              <a:gd name="T76" fmla="*/ 34 w 112"/>
              <a:gd name="T77" fmla="*/ 70 h 234"/>
              <a:gd name="T78" fmla="*/ 62 w 112"/>
              <a:gd name="T79" fmla="*/ 96 h 234"/>
              <a:gd name="T80" fmla="*/ 80 w 112"/>
              <a:gd name="T81" fmla="*/ 116 h 234"/>
              <a:gd name="T82" fmla="*/ 84 w 112"/>
              <a:gd name="T83" fmla="*/ 130 h 234"/>
              <a:gd name="T84" fmla="*/ 82 w 112"/>
              <a:gd name="T85" fmla="*/ 144 h 234"/>
              <a:gd name="T86" fmla="*/ 82 w 112"/>
              <a:gd name="T87" fmla="*/ 152 h 234"/>
              <a:gd name="T88" fmla="*/ 78 w 112"/>
              <a:gd name="T89" fmla="*/ 164 h 234"/>
              <a:gd name="T90" fmla="*/ 72 w 112"/>
              <a:gd name="T91" fmla="*/ 176 h 234"/>
              <a:gd name="T92" fmla="*/ 66 w 112"/>
              <a:gd name="T93" fmla="*/ 184 h 234"/>
              <a:gd name="T94" fmla="*/ 56 w 112"/>
              <a:gd name="T95" fmla="*/ 188 h 234"/>
              <a:gd name="T96" fmla="*/ 56 w 112"/>
              <a:gd name="T97" fmla="*/ 196 h 234"/>
              <a:gd name="T98" fmla="*/ 46 w 112"/>
              <a:gd name="T99" fmla="*/ 200 h 234"/>
              <a:gd name="T100" fmla="*/ 42 w 112"/>
              <a:gd name="T101" fmla="*/ 204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12" h="234">
                <a:moveTo>
                  <a:pt x="42" y="204"/>
                </a:moveTo>
                <a:lnTo>
                  <a:pt x="44" y="206"/>
                </a:lnTo>
                <a:lnTo>
                  <a:pt x="44" y="208"/>
                </a:lnTo>
                <a:lnTo>
                  <a:pt x="44" y="214"/>
                </a:lnTo>
                <a:lnTo>
                  <a:pt x="42" y="214"/>
                </a:lnTo>
                <a:lnTo>
                  <a:pt x="40" y="234"/>
                </a:lnTo>
                <a:lnTo>
                  <a:pt x="52" y="226"/>
                </a:lnTo>
                <a:lnTo>
                  <a:pt x="66" y="218"/>
                </a:lnTo>
                <a:lnTo>
                  <a:pt x="66" y="210"/>
                </a:lnTo>
                <a:lnTo>
                  <a:pt x="70" y="204"/>
                </a:lnTo>
                <a:lnTo>
                  <a:pt x="82" y="206"/>
                </a:lnTo>
                <a:lnTo>
                  <a:pt x="94" y="202"/>
                </a:lnTo>
                <a:lnTo>
                  <a:pt x="108" y="190"/>
                </a:lnTo>
                <a:lnTo>
                  <a:pt x="112" y="172"/>
                </a:lnTo>
                <a:lnTo>
                  <a:pt x="108" y="152"/>
                </a:lnTo>
                <a:lnTo>
                  <a:pt x="104" y="138"/>
                </a:lnTo>
                <a:lnTo>
                  <a:pt x="100" y="122"/>
                </a:lnTo>
                <a:lnTo>
                  <a:pt x="60" y="78"/>
                </a:lnTo>
                <a:lnTo>
                  <a:pt x="54" y="70"/>
                </a:lnTo>
                <a:lnTo>
                  <a:pt x="62" y="50"/>
                </a:lnTo>
                <a:lnTo>
                  <a:pt x="74" y="34"/>
                </a:lnTo>
                <a:lnTo>
                  <a:pt x="82" y="32"/>
                </a:lnTo>
                <a:lnTo>
                  <a:pt x="80" y="24"/>
                </a:lnTo>
                <a:lnTo>
                  <a:pt x="70" y="20"/>
                </a:lnTo>
                <a:lnTo>
                  <a:pt x="68" y="6"/>
                </a:lnTo>
                <a:lnTo>
                  <a:pt x="58" y="4"/>
                </a:lnTo>
                <a:lnTo>
                  <a:pt x="50" y="0"/>
                </a:lnTo>
                <a:lnTo>
                  <a:pt x="44" y="0"/>
                </a:lnTo>
                <a:lnTo>
                  <a:pt x="34" y="6"/>
                </a:lnTo>
                <a:lnTo>
                  <a:pt x="2" y="8"/>
                </a:lnTo>
                <a:lnTo>
                  <a:pt x="0" y="14"/>
                </a:lnTo>
                <a:lnTo>
                  <a:pt x="10" y="24"/>
                </a:lnTo>
                <a:lnTo>
                  <a:pt x="12" y="38"/>
                </a:lnTo>
                <a:lnTo>
                  <a:pt x="34" y="36"/>
                </a:lnTo>
                <a:lnTo>
                  <a:pt x="40" y="46"/>
                </a:lnTo>
                <a:lnTo>
                  <a:pt x="42" y="56"/>
                </a:lnTo>
                <a:lnTo>
                  <a:pt x="28" y="56"/>
                </a:lnTo>
                <a:lnTo>
                  <a:pt x="26" y="66"/>
                </a:lnTo>
                <a:lnTo>
                  <a:pt x="34" y="70"/>
                </a:lnTo>
                <a:lnTo>
                  <a:pt x="62" y="96"/>
                </a:lnTo>
                <a:lnTo>
                  <a:pt x="80" y="116"/>
                </a:lnTo>
                <a:lnTo>
                  <a:pt x="84" y="130"/>
                </a:lnTo>
                <a:lnTo>
                  <a:pt x="82" y="144"/>
                </a:lnTo>
                <a:lnTo>
                  <a:pt x="82" y="152"/>
                </a:lnTo>
                <a:lnTo>
                  <a:pt x="78" y="164"/>
                </a:lnTo>
                <a:lnTo>
                  <a:pt x="72" y="176"/>
                </a:lnTo>
                <a:lnTo>
                  <a:pt x="66" y="184"/>
                </a:lnTo>
                <a:lnTo>
                  <a:pt x="56" y="188"/>
                </a:lnTo>
                <a:lnTo>
                  <a:pt x="56" y="196"/>
                </a:lnTo>
                <a:lnTo>
                  <a:pt x="46" y="200"/>
                </a:lnTo>
                <a:lnTo>
                  <a:pt x="42" y="20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90" name="Freeform 227">
            <a:extLst>
              <a:ext uri="{FF2B5EF4-FFF2-40B4-BE49-F238E27FC236}">
                <a16:creationId xmlns:a16="http://schemas.microsoft.com/office/drawing/2014/main" id="{B1743708-9B32-4243-BE9D-C1CC96855669}"/>
              </a:ext>
            </a:extLst>
          </p:cNvPr>
          <p:cNvSpPr>
            <a:spLocks/>
          </p:cNvSpPr>
          <p:nvPr/>
        </p:nvSpPr>
        <p:spPr bwMode="gray">
          <a:xfrm>
            <a:off x="3511394" y="2002226"/>
            <a:ext cx="27597" cy="24034"/>
          </a:xfrm>
          <a:custGeom>
            <a:avLst/>
            <a:gdLst>
              <a:gd name="T0" fmla="*/ 14 w 38"/>
              <a:gd name="T1" fmla="*/ 36 h 36"/>
              <a:gd name="T2" fmla="*/ 12 w 38"/>
              <a:gd name="T3" fmla="*/ 28 h 36"/>
              <a:gd name="T4" fmla="*/ 2 w 38"/>
              <a:gd name="T5" fmla="*/ 22 h 36"/>
              <a:gd name="T6" fmla="*/ 0 w 38"/>
              <a:gd name="T7" fmla="*/ 8 h 36"/>
              <a:gd name="T8" fmla="*/ 6 w 38"/>
              <a:gd name="T9" fmla="*/ 4 h 36"/>
              <a:gd name="T10" fmla="*/ 20 w 38"/>
              <a:gd name="T11" fmla="*/ 0 h 36"/>
              <a:gd name="T12" fmla="*/ 28 w 38"/>
              <a:gd name="T13" fmla="*/ 6 h 36"/>
              <a:gd name="T14" fmla="*/ 38 w 38"/>
              <a:gd name="T15" fmla="*/ 12 h 36"/>
              <a:gd name="T16" fmla="*/ 38 w 38"/>
              <a:gd name="T17" fmla="*/ 20 h 36"/>
              <a:gd name="T18" fmla="*/ 32 w 38"/>
              <a:gd name="T19" fmla="*/ 26 h 36"/>
              <a:gd name="T20" fmla="*/ 24 w 38"/>
              <a:gd name="T21" fmla="*/ 30 h 36"/>
              <a:gd name="T22" fmla="*/ 14 w 38"/>
              <a:gd name="T23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8" h="36">
                <a:moveTo>
                  <a:pt x="14" y="36"/>
                </a:moveTo>
                <a:lnTo>
                  <a:pt x="12" y="28"/>
                </a:lnTo>
                <a:lnTo>
                  <a:pt x="2" y="22"/>
                </a:lnTo>
                <a:lnTo>
                  <a:pt x="0" y="8"/>
                </a:lnTo>
                <a:lnTo>
                  <a:pt x="6" y="4"/>
                </a:lnTo>
                <a:lnTo>
                  <a:pt x="20" y="0"/>
                </a:lnTo>
                <a:lnTo>
                  <a:pt x="28" y="6"/>
                </a:lnTo>
                <a:lnTo>
                  <a:pt x="38" y="12"/>
                </a:lnTo>
                <a:lnTo>
                  <a:pt x="38" y="20"/>
                </a:lnTo>
                <a:lnTo>
                  <a:pt x="32" y="26"/>
                </a:lnTo>
                <a:lnTo>
                  <a:pt x="24" y="30"/>
                </a:lnTo>
                <a:lnTo>
                  <a:pt x="14" y="3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91" name="Freeform 228">
            <a:extLst>
              <a:ext uri="{FF2B5EF4-FFF2-40B4-BE49-F238E27FC236}">
                <a16:creationId xmlns:a16="http://schemas.microsoft.com/office/drawing/2014/main" id="{F36F1D03-B5F8-4392-9AF7-CBE5459E5A34}"/>
              </a:ext>
            </a:extLst>
          </p:cNvPr>
          <p:cNvSpPr>
            <a:spLocks/>
          </p:cNvSpPr>
          <p:nvPr/>
        </p:nvSpPr>
        <p:spPr bwMode="gray">
          <a:xfrm>
            <a:off x="3534634" y="2067652"/>
            <a:ext cx="94411" cy="48068"/>
          </a:xfrm>
          <a:custGeom>
            <a:avLst/>
            <a:gdLst>
              <a:gd name="T0" fmla="*/ 16 w 130"/>
              <a:gd name="T1" fmla="*/ 6 h 72"/>
              <a:gd name="T2" fmla="*/ 30 w 130"/>
              <a:gd name="T3" fmla="*/ 0 h 72"/>
              <a:gd name="T4" fmla="*/ 44 w 130"/>
              <a:gd name="T5" fmla="*/ 14 h 72"/>
              <a:gd name="T6" fmla="*/ 60 w 130"/>
              <a:gd name="T7" fmla="*/ 22 h 72"/>
              <a:gd name="T8" fmla="*/ 72 w 130"/>
              <a:gd name="T9" fmla="*/ 30 h 72"/>
              <a:gd name="T10" fmla="*/ 88 w 130"/>
              <a:gd name="T11" fmla="*/ 40 h 72"/>
              <a:gd name="T12" fmla="*/ 104 w 130"/>
              <a:gd name="T13" fmla="*/ 44 h 72"/>
              <a:gd name="T14" fmla="*/ 128 w 130"/>
              <a:gd name="T15" fmla="*/ 46 h 72"/>
              <a:gd name="T16" fmla="*/ 128 w 130"/>
              <a:gd name="T17" fmla="*/ 58 h 72"/>
              <a:gd name="T18" fmla="*/ 130 w 130"/>
              <a:gd name="T19" fmla="*/ 70 h 72"/>
              <a:gd name="T20" fmla="*/ 102 w 130"/>
              <a:gd name="T21" fmla="*/ 72 h 72"/>
              <a:gd name="T22" fmla="*/ 88 w 130"/>
              <a:gd name="T23" fmla="*/ 66 h 72"/>
              <a:gd name="T24" fmla="*/ 72 w 130"/>
              <a:gd name="T25" fmla="*/ 54 h 72"/>
              <a:gd name="T26" fmla="*/ 48 w 130"/>
              <a:gd name="T27" fmla="*/ 52 h 72"/>
              <a:gd name="T28" fmla="*/ 34 w 130"/>
              <a:gd name="T29" fmla="*/ 46 h 72"/>
              <a:gd name="T30" fmla="*/ 20 w 130"/>
              <a:gd name="T31" fmla="*/ 36 h 72"/>
              <a:gd name="T32" fmla="*/ 0 w 130"/>
              <a:gd name="T33" fmla="*/ 30 h 72"/>
              <a:gd name="T34" fmla="*/ 4 w 130"/>
              <a:gd name="T35" fmla="*/ 14 h 72"/>
              <a:gd name="T36" fmla="*/ 16 w 130"/>
              <a:gd name="T37" fmla="*/ 6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130" h="72">
                <a:moveTo>
                  <a:pt x="16" y="6"/>
                </a:moveTo>
                <a:lnTo>
                  <a:pt x="30" y="0"/>
                </a:lnTo>
                <a:lnTo>
                  <a:pt x="44" y="14"/>
                </a:lnTo>
                <a:lnTo>
                  <a:pt x="60" y="22"/>
                </a:lnTo>
                <a:lnTo>
                  <a:pt x="72" y="30"/>
                </a:lnTo>
                <a:lnTo>
                  <a:pt x="88" y="40"/>
                </a:lnTo>
                <a:lnTo>
                  <a:pt x="104" y="44"/>
                </a:lnTo>
                <a:lnTo>
                  <a:pt x="128" y="46"/>
                </a:lnTo>
                <a:lnTo>
                  <a:pt x="128" y="58"/>
                </a:lnTo>
                <a:lnTo>
                  <a:pt x="130" y="70"/>
                </a:lnTo>
                <a:lnTo>
                  <a:pt x="102" y="72"/>
                </a:lnTo>
                <a:lnTo>
                  <a:pt x="88" y="66"/>
                </a:lnTo>
                <a:lnTo>
                  <a:pt x="72" y="54"/>
                </a:lnTo>
                <a:lnTo>
                  <a:pt x="48" y="52"/>
                </a:lnTo>
                <a:lnTo>
                  <a:pt x="34" y="46"/>
                </a:lnTo>
                <a:lnTo>
                  <a:pt x="20" y="36"/>
                </a:lnTo>
                <a:lnTo>
                  <a:pt x="0" y="30"/>
                </a:lnTo>
                <a:lnTo>
                  <a:pt x="4" y="14"/>
                </a:lnTo>
                <a:lnTo>
                  <a:pt x="16" y="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92" name="Freeform 229">
            <a:extLst>
              <a:ext uri="{FF2B5EF4-FFF2-40B4-BE49-F238E27FC236}">
                <a16:creationId xmlns:a16="http://schemas.microsoft.com/office/drawing/2014/main" id="{AC52D54B-429E-4A50-98B3-1B07D5793152}"/>
              </a:ext>
            </a:extLst>
          </p:cNvPr>
          <p:cNvSpPr>
            <a:spLocks/>
          </p:cNvSpPr>
          <p:nvPr/>
        </p:nvSpPr>
        <p:spPr bwMode="gray">
          <a:xfrm>
            <a:off x="3639212" y="2094357"/>
            <a:ext cx="36312" cy="17358"/>
          </a:xfrm>
          <a:custGeom>
            <a:avLst/>
            <a:gdLst>
              <a:gd name="T0" fmla="*/ 10 w 50"/>
              <a:gd name="T1" fmla="*/ 0 h 26"/>
              <a:gd name="T2" fmla="*/ 4 w 50"/>
              <a:gd name="T3" fmla="*/ 6 h 26"/>
              <a:gd name="T4" fmla="*/ 2 w 50"/>
              <a:gd name="T5" fmla="*/ 6 h 26"/>
              <a:gd name="T6" fmla="*/ 0 w 50"/>
              <a:gd name="T7" fmla="*/ 14 h 26"/>
              <a:gd name="T8" fmla="*/ 2 w 50"/>
              <a:gd name="T9" fmla="*/ 20 h 26"/>
              <a:gd name="T10" fmla="*/ 8 w 50"/>
              <a:gd name="T11" fmla="*/ 24 h 26"/>
              <a:gd name="T12" fmla="*/ 16 w 50"/>
              <a:gd name="T13" fmla="*/ 26 h 26"/>
              <a:gd name="T14" fmla="*/ 32 w 50"/>
              <a:gd name="T15" fmla="*/ 24 h 26"/>
              <a:gd name="T16" fmla="*/ 46 w 50"/>
              <a:gd name="T17" fmla="*/ 22 h 26"/>
              <a:gd name="T18" fmla="*/ 50 w 50"/>
              <a:gd name="T19" fmla="*/ 16 h 26"/>
              <a:gd name="T20" fmla="*/ 46 w 50"/>
              <a:gd name="T21" fmla="*/ 6 h 26"/>
              <a:gd name="T22" fmla="*/ 32 w 50"/>
              <a:gd name="T23" fmla="*/ 4 h 26"/>
              <a:gd name="T24" fmla="*/ 20 w 50"/>
              <a:gd name="T25" fmla="*/ 0 h 26"/>
              <a:gd name="T26" fmla="*/ 10 w 50"/>
              <a:gd name="T27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0" h="26">
                <a:moveTo>
                  <a:pt x="10" y="0"/>
                </a:moveTo>
                <a:lnTo>
                  <a:pt x="4" y="6"/>
                </a:lnTo>
                <a:lnTo>
                  <a:pt x="2" y="6"/>
                </a:lnTo>
                <a:lnTo>
                  <a:pt x="0" y="14"/>
                </a:lnTo>
                <a:lnTo>
                  <a:pt x="2" y="20"/>
                </a:lnTo>
                <a:lnTo>
                  <a:pt x="8" y="24"/>
                </a:lnTo>
                <a:lnTo>
                  <a:pt x="16" y="26"/>
                </a:lnTo>
                <a:lnTo>
                  <a:pt x="32" y="24"/>
                </a:lnTo>
                <a:lnTo>
                  <a:pt x="46" y="22"/>
                </a:lnTo>
                <a:lnTo>
                  <a:pt x="50" y="16"/>
                </a:lnTo>
                <a:lnTo>
                  <a:pt x="46" y="6"/>
                </a:lnTo>
                <a:lnTo>
                  <a:pt x="32" y="4"/>
                </a:lnTo>
                <a:lnTo>
                  <a:pt x="20" y="0"/>
                </a:lnTo>
                <a:lnTo>
                  <a:pt x="10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93" name="Freeform 230">
            <a:extLst>
              <a:ext uri="{FF2B5EF4-FFF2-40B4-BE49-F238E27FC236}">
                <a16:creationId xmlns:a16="http://schemas.microsoft.com/office/drawing/2014/main" id="{89F0442C-23C5-4B0D-A053-98B0C86EE719}"/>
              </a:ext>
            </a:extLst>
          </p:cNvPr>
          <p:cNvSpPr>
            <a:spLocks/>
          </p:cNvSpPr>
          <p:nvPr/>
        </p:nvSpPr>
        <p:spPr bwMode="gray">
          <a:xfrm>
            <a:off x="3629045" y="2114385"/>
            <a:ext cx="50837" cy="60085"/>
          </a:xfrm>
          <a:custGeom>
            <a:avLst/>
            <a:gdLst>
              <a:gd name="T0" fmla="*/ 14 w 70"/>
              <a:gd name="T1" fmla="*/ 74 h 90"/>
              <a:gd name="T2" fmla="*/ 10 w 70"/>
              <a:gd name="T3" fmla="*/ 50 h 90"/>
              <a:gd name="T4" fmla="*/ 8 w 70"/>
              <a:gd name="T5" fmla="*/ 38 h 90"/>
              <a:gd name="T6" fmla="*/ 2 w 70"/>
              <a:gd name="T7" fmla="*/ 34 h 90"/>
              <a:gd name="T8" fmla="*/ 0 w 70"/>
              <a:gd name="T9" fmla="*/ 26 h 90"/>
              <a:gd name="T10" fmla="*/ 12 w 70"/>
              <a:gd name="T11" fmla="*/ 20 h 90"/>
              <a:gd name="T12" fmla="*/ 4 w 70"/>
              <a:gd name="T13" fmla="*/ 12 h 90"/>
              <a:gd name="T14" fmla="*/ 4 w 70"/>
              <a:gd name="T15" fmla="*/ 6 h 90"/>
              <a:gd name="T16" fmla="*/ 10 w 70"/>
              <a:gd name="T17" fmla="*/ 0 h 90"/>
              <a:gd name="T18" fmla="*/ 14 w 70"/>
              <a:gd name="T19" fmla="*/ 6 h 90"/>
              <a:gd name="T20" fmla="*/ 24 w 70"/>
              <a:gd name="T21" fmla="*/ 10 h 90"/>
              <a:gd name="T22" fmla="*/ 30 w 70"/>
              <a:gd name="T23" fmla="*/ 22 h 90"/>
              <a:gd name="T24" fmla="*/ 64 w 70"/>
              <a:gd name="T25" fmla="*/ 22 h 90"/>
              <a:gd name="T26" fmla="*/ 64 w 70"/>
              <a:gd name="T27" fmla="*/ 34 h 90"/>
              <a:gd name="T28" fmla="*/ 56 w 70"/>
              <a:gd name="T29" fmla="*/ 38 h 90"/>
              <a:gd name="T30" fmla="*/ 52 w 70"/>
              <a:gd name="T31" fmla="*/ 40 h 90"/>
              <a:gd name="T32" fmla="*/ 48 w 70"/>
              <a:gd name="T33" fmla="*/ 46 h 90"/>
              <a:gd name="T34" fmla="*/ 48 w 70"/>
              <a:gd name="T35" fmla="*/ 50 h 90"/>
              <a:gd name="T36" fmla="*/ 48 w 70"/>
              <a:gd name="T37" fmla="*/ 54 h 90"/>
              <a:gd name="T38" fmla="*/ 56 w 70"/>
              <a:gd name="T39" fmla="*/ 58 h 90"/>
              <a:gd name="T40" fmla="*/ 60 w 70"/>
              <a:gd name="T41" fmla="*/ 46 h 90"/>
              <a:gd name="T42" fmla="*/ 70 w 70"/>
              <a:gd name="T43" fmla="*/ 48 h 90"/>
              <a:gd name="T44" fmla="*/ 68 w 70"/>
              <a:gd name="T45" fmla="*/ 60 h 90"/>
              <a:gd name="T46" fmla="*/ 68 w 70"/>
              <a:gd name="T47" fmla="*/ 70 h 90"/>
              <a:gd name="T48" fmla="*/ 70 w 70"/>
              <a:gd name="T49" fmla="*/ 76 h 90"/>
              <a:gd name="T50" fmla="*/ 70 w 70"/>
              <a:gd name="T51" fmla="*/ 86 h 90"/>
              <a:gd name="T52" fmla="*/ 64 w 70"/>
              <a:gd name="T53" fmla="*/ 90 h 90"/>
              <a:gd name="T54" fmla="*/ 60 w 70"/>
              <a:gd name="T55" fmla="*/ 82 h 90"/>
              <a:gd name="T56" fmla="*/ 58 w 70"/>
              <a:gd name="T57" fmla="*/ 68 h 90"/>
              <a:gd name="T58" fmla="*/ 54 w 70"/>
              <a:gd name="T59" fmla="*/ 64 h 90"/>
              <a:gd name="T60" fmla="*/ 48 w 70"/>
              <a:gd name="T61" fmla="*/ 62 h 90"/>
              <a:gd name="T62" fmla="*/ 40 w 70"/>
              <a:gd name="T63" fmla="*/ 56 h 90"/>
              <a:gd name="T64" fmla="*/ 36 w 70"/>
              <a:gd name="T65" fmla="*/ 62 h 90"/>
              <a:gd name="T66" fmla="*/ 36 w 70"/>
              <a:gd name="T67" fmla="*/ 74 h 90"/>
              <a:gd name="T68" fmla="*/ 26 w 70"/>
              <a:gd name="T69" fmla="*/ 74 h 90"/>
              <a:gd name="T70" fmla="*/ 14 w 70"/>
              <a:gd name="T71" fmla="*/ 74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70" h="90">
                <a:moveTo>
                  <a:pt x="14" y="74"/>
                </a:moveTo>
                <a:lnTo>
                  <a:pt x="10" y="50"/>
                </a:lnTo>
                <a:lnTo>
                  <a:pt x="8" y="38"/>
                </a:lnTo>
                <a:lnTo>
                  <a:pt x="2" y="34"/>
                </a:lnTo>
                <a:lnTo>
                  <a:pt x="0" y="26"/>
                </a:lnTo>
                <a:lnTo>
                  <a:pt x="12" y="20"/>
                </a:lnTo>
                <a:lnTo>
                  <a:pt x="4" y="12"/>
                </a:lnTo>
                <a:lnTo>
                  <a:pt x="4" y="6"/>
                </a:lnTo>
                <a:lnTo>
                  <a:pt x="10" y="0"/>
                </a:lnTo>
                <a:lnTo>
                  <a:pt x="14" y="6"/>
                </a:lnTo>
                <a:lnTo>
                  <a:pt x="24" y="10"/>
                </a:lnTo>
                <a:lnTo>
                  <a:pt x="30" y="22"/>
                </a:lnTo>
                <a:lnTo>
                  <a:pt x="64" y="22"/>
                </a:lnTo>
                <a:lnTo>
                  <a:pt x="64" y="34"/>
                </a:lnTo>
                <a:lnTo>
                  <a:pt x="56" y="38"/>
                </a:lnTo>
                <a:lnTo>
                  <a:pt x="52" y="40"/>
                </a:lnTo>
                <a:lnTo>
                  <a:pt x="48" y="46"/>
                </a:lnTo>
                <a:lnTo>
                  <a:pt x="48" y="50"/>
                </a:lnTo>
                <a:lnTo>
                  <a:pt x="48" y="54"/>
                </a:lnTo>
                <a:lnTo>
                  <a:pt x="56" y="58"/>
                </a:lnTo>
                <a:lnTo>
                  <a:pt x="60" y="46"/>
                </a:lnTo>
                <a:lnTo>
                  <a:pt x="70" y="48"/>
                </a:lnTo>
                <a:lnTo>
                  <a:pt x="68" y="60"/>
                </a:lnTo>
                <a:lnTo>
                  <a:pt x="68" y="70"/>
                </a:lnTo>
                <a:lnTo>
                  <a:pt x="70" y="76"/>
                </a:lnTo>
                <a:lnTo>
                  <a:pt x="70" y="86"/>
                </a:lnTo>
                <a:lnTo>
                  <a:pt x="64" y="90"/>
                </a:lnTo>
                <a:lnTo>
                  <a:pt x="60" y="82"/>
                </a:lnTo>
                <a:lnTo>
                  <a:pt x="58" y="68"/>
                </a:lnTo>
                <a:lnTo>
                  <a:pt x="54" y="64"/>
                </a:lnTo>
                <a:lnTo>
                  <a:pt x="48" y="62"/>
                </a:lnTo>
                <a:lnTo>
                  <a:pt x="40" y="56"/>
                </a:lnTo>
                <a:lnTo>
                  <a:pt x="36" y="62"/>
                </a:lnTo>
                <a:lnTo>
                  <a:pt x="36" y="74"/>
                </a:lnTo>
                <a:lnTo>
                  <a:pt x="26" y="74"/>
                </a:lnTo>
                <a:lnTo>
                  <a:pt x="14" y="7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94" name="Freeform 231">
            <a:extLst>
              <a:ext uri="{FF2B5EF4-FFF2-40B4-BE49-F238E27FC236}">
                <a16:creationId xmlns:a16="http://schemas.microsoft.com/office/drawing/2014/main" id="{E8F3A349-37EB-45B3-A4AF-6BF03772D608}"/>
              </a:ext>
            </a:extLst>
          </p:cNvPr>
          <p:cNvSpPr>
            <a:spLocks/>
          </p:cNvSpPr>
          <p:nvPr/>
        </p:nvSpPr>
        <p:spPr bwMode="gray">
          <a:xfrm>
            <a:off x="3533181" y="2297311"/>
            <a:ext cx="23240" cy="38721"/>
          </a:xfrm>
          <a:custGeom>
            <a:avLst/>
            <a:gdLst>
              <a:gd name="T0" fmla="*/ 6 w 32"/>
              <a:gd name="T1" fmla="*/ 0 h 58"/>
              <a:gd name="T2" fmla="*/ 16 w 32"/>
              <a:gd name="T3" fmla="*/ 12 h 58"/>
              <a:gd name="T4" fmla="*/ 26 w 32"/>
              <a:gd name="T5" fmla="*/ 26 h 58"/>
              <a:gd name="T6" fmla="*/ 32 w 32"/>
              <a:gd name="T7" fmla="*/ 40 h 58"/>
              <a:gd name="T8" fmla="*/ 26 w 32"/>
              <a:gd name="T9" fmla="*/ 56 h 58"/>
              <a:gd name="T10" fmla="*/ 16 w 32"/>
              <a:gd name="T11" fmla="*/ 58 h 58"/>
              <a:gd name="T12" fmla="*/ 6 w 32"/>
              <a:gd name="T13" fmla="*/ 56 h 58"/>
              <a:gd name="T14" fmla="*/ 0 w 32"/>
              <a:gd name="T15" fmla="*/ 44 h 58"/>
              <a:gd name="T16" fmla="*/ 0 w 32"/>
              <a:gd name="T17" fmla="*/ 26 h 58"/>
              <a:gd name="T18" fmla="*/ 4 w 32"/>
              <a:gd name="T19" fmla="*/ 12 h 58"/>
              <a:gd name="T20" fmla="*/ 6 w 32"/>
              <a:gd name="T21" fmla="*/ 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2" h="58">
                <a:moveTo>
                  <a:pt x="6" y="0"/>
                </a:moveTo>
                <a:lnTo>
                  <a:pt x="16" y="12"/>
                </a:lnTo>
                <a:lnTo>
                  <a:pt x="26" y="26"/>
                </a:lnTo>
                <a:lnTo>
                  <a:pt x="32" y="40"/>
                </a:lnTo>
                <a:lnTo>
                  <a:pt x="26" y="56"/>
                </a:lnTo>
                <a:lnTo>
                  <a:pt x="16" y="58"/>
                </a:lnTo>
                <a:lnTo>
                  <a:pt x="6" y="56"/>
                </a:lnTo>
                <a:lnTo>
                  <a:pt x="0" y="44"/>
                </a:lnTo>
                <a:lnTo>
                  <a:pt x="0" y="26"/>
                </a:lnTo>
                <a:lnTo>
                  <a:pt x="4" y="12"/>
                </a:lnTo>
                <a:lnTo>
                  <a:pt x="6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95" name="Freeform 232">
            <a:extLst>
              <a:ext uri="{FF2B5EF4-FFF2-40B4-BE49-F238E27FC236}">
                <a16:creationId xmlns:a16="http://schemas.microsoft.com/office/drawing/2014/main" id="{319F1E25-F937-4412-99E4-08CB01E6D41E}"/>
              </a:ext>
            </a:extLst>
          </p:cNvPr>
          <p:cNvSpPr>
            <a:spLocks/>
          </p:cNvSpPr>
          <p:nvPr/>
        </p:nvSpPr>
        <p:spPr bwMode="gray">
          <a:xfrm>
            <a:off x="3401006" y="2006232"/>
            <a:ext cx="334070" cy="309772"/>
          </a:xfrm>
          <a:custGeom>
            <a:avLst/>
            <a:gdLst>
              <a:gd name="T0" fmla="*/ 14 w 460"/>
              <a:gd name="T1" fmla="*/ 196 h 464"/>
              <a:gd name="T2" fmla="*/ 40 w 460"/>
              <a:gd name="T3" fmla="*/ 196 h 464"/>
              <a:gd name="T4" fmla="*/ 24 w 460"/>
              <a:gd name="T5" fmla="*/ 158 h 464"/>
              <a:gd name="T6" fmla="*/ 26 w 460"/>
              <a:gd name="T7" fmla="*/ 136 h 464"/>
              <a:gd name="T8" fmla="*/ 54 w 460"/>
              <a:gd name="T9" fmla="*/ 138 h 464"/>
              <a:gd name="T10" fmla="*/ 106 w 460"/>
              <a:gd name="T11" fmla="*/ 62 h 464"/>
              <a:gd name="T12" fmla="*/ 118 w 460"/>
              <a:gd name="T13" fmla="*/ 22 h 464"/>
              <a:gd name="T14" fmla="*/ 152 w 460"/>
              <a:gd name="T15" fmla="*/ 2 h 464"/>
              <a:gd name="T16" fmla="*/ 166 w 460"/>
              <a:gd name="T17" fmla="*/ 30 h 464"/>
              <a:gd name="T18" fmla="*/ 176 w 460"/>
              <a:gd name="T19" fmla="*/ 56 h 464"/>
              <a:gd name="T20" fmla="*/ 162 w 460"/>
              <a:gd name="T21" fmla="*/ 76 h 464"/>
              <a:gd name="T22" fmla="*/ 188 w 460"/>
              <a:gd name="T23" fmla="*/ 106 h 464"/>
              <a:gd name="T24" fmla="*/ 232 w 460"/>
              <a:gd name="T25" fmla="*/ 144 h 464"/>
              <a:gd name="T26" fmla="*/ 286 w 460"/>
              <a:gd name="T27" fmla="*/ 164 h 464"/>
              <a:gd name="T28" fmla="*/ 328 w 460"/>
              <a:gd name="T29" fmla="*/ 138 h 464"/>
              <a:gd name="T30" fmla="*/ 336 w 460"/>
              <a:gd name="T31" fmla="*/ 156 h 464"/>
              <a:gd name="T32" fmla="*/ 378 w 460"/>
              <a:gd name="T33" fmla="*/ 148 h 464"/>
              <a:gd name="T34" fmla="*/ 394 w 460"/>
              <a:gd name="T35" fmla="*/ 122 h 464"/>
              <a:gd name="T36" fmla="*/ 434 w 460"/>
              <a:gd name="T37" fmla="*/ 114 h 464"/>
              <a:gd name="T38" fmla="*/ 460 w 460"/>
              <a:gd name="T39" fmla="*/ 128 h 464"/>
              <a:gd name="T40" fmla="*/ 440 w 460"/>
              <a:gd name="T41" fmla="*/ 148 h 464"/>
              <a:gd name="T42" fmla="*/ 414 w 460"/>
              <a:gd name="T43" fmla="*/ 182 h 464"/>
              <a:gd name="T44" fmla="*/ 390 w 460"/>
              <a:gd name="T45" fmla="*/ 232 h 464"/>
              <a:gd name="T46" fmla="*/ 382 w 460"/>
              <a:gd name="T47" fmla="*/ 222 h 464"/>
              <a:gd name="T48" fmla="*/ 370 w 460"/>
              <a:gd name="T49" fmla="*/ 220 h 464"/>
              <a:gd name="T50" fmla="*/ 366 w 460"/>
              <a:gd name="T51" fmla="*/ 202 h 464"/>
              <a:gd name="T52" fmla="*/ 378 w 460"/>
              <a:gd name="T53" fmla="*/ 184 h 464"/>
              <a:gd name="T54" fmla="*/ 328 w 460"/>
              <a:gd name="T55" fmla="*/ 168 h 464"/>
              <a:gd name="T56" fmla="*/ 318 w 460"/>
              <a:gd name="T57" fmla="*/ 174 h 464"/>
              <a:gd name="T58" fmla="*/ 316 w 460"/>
              <a:gd name="T59" fmla="*/ 196 h 464"/>
              <a:gd name="T60" fmla="*/ 328 w 460"/>
              <a:gd name="T61" fmla="*/ 236 h 464"/>
              <a:gd name="T62" fmla="*/ 290 w 460"/>
              <a:gd name="T63" fmla="*/ 262 h 464"/>
              <a:gd name="T64" fmla="*/ 258 w 460"/>
              <a:gd name="T65" fmla="*/ 290 h 464"/>
              <a:gd name="T66" fmla="*/ 218 w 460"/>
              <a:gd name="T67" fmla="*/ 320 h 464"/>
              <a:gd name="T68" fmla="*/ 202 w 460"/>
              <a:gd name="T69" fmla="*/ 340 h 464"/>
              <a:gd name="T70" fmla="*/ 188 w 460"/>
              <a:gd name="T71" fmla="*/ 368 h 464"/>
              <a:gd name="T72" fmla="*/ 180 w 460"/>
              <a:gd name="T73" fmla="*/ 404 h 464"/>
              <a:gd name="T74" fmla="*/ 170 w 460"/>
              <a:gd name="T75" fmla="*/ 446 h 464"/>
              <a:gd name="T76" fmla="*/ 148 w 460"/>
              <a:gd name="T77" fmla="*/ 464 h 464"/>
              <a:gd name="T78" fmla="*/ 126 w 460"/>
              <a:gd name="T79" fmla="*/ 428 h 464"/>
              <a:gd name="T80" fmla="*/ 80 w 460"/>
              <a:gd name="T81" fmla="*/ 330 h 464"/>
              <a:gd name="T82" fmla="*/ 74 w 460"/>
              <a:gd name="T83" fmla="*/ 254 h 464"/>
              <a:gd name="T84" fmla="*/ 60 w 460"/>
              <a:gd name="T85" fmla="*/ 234 h 464"/>
              <a:gd name="T86" fmla="*/ 38 w 460"/>
              <a:gd name="T87" fmla="*/ 260 h 464"/>
              <a:gd name="T88" fmla="*/ 10 w 460"/>
              <a:gd name="T89" fmla="*/ 232 h 464"/>
              <a:gd name="T90" fmla="*/ 24 w 460"/>
              <a:gd name="T91" fmla="*/ 222 h 464"/>
              <a:gd name="T92" fmla="*/ 0 w 460"/>
              <a:gd name="T93" fmla="*/ 208 h 4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0" h="464">
                <a:moveTo>
                  <a:pt x="0" y="208"/>
                </a:moveTo>
                <a:lnTo>
                  <a:pt x="6" y="196"/>
                </a:lnTo>
                <a:lnTo>
                  <a:pt x="14" y="196"/>
                </a:lnTo>
                <a:lnTo>
                  <a:pt x="22" y="202"/>
                </a:lnTo>
                <a:lnTo>
                  <a:pt x="26" y="196"/>
                </a:lnTo>
                <a:lnTo>
                  <a:pt x="40" y="196"/>
                </a:lnTo>
                <a:lnTo>
                  <a:pt x="40" y="186"/>
                </a:lnTo>
                <a:lnTo>
                  <a:pt x="28" y="172"/>
                </a:lnTo>
                <a:lnTo>
                  <a:pt x="24" y="158"/>
                </a:lnTo>
                <a:lnTo>
                  <a:pt x="16" y="158"/>
                </a:lnTo>
                <a:lnTo>
                  <a:pt x="16" y="148"/>
                </a:lnTo>
                <a:lnTo>
                  <a:pt x="26" y="136"/>
                </a:lnTo>
                <a:lnTo>
                  <a:pt x="34" y="136"/>
                </a:lnTo>
                <a:lnTo>
                  <a:pt x="42" y="140"/>
                </a:lnTo>
                <a:lnTo>
                  <a:pt x="54" y="138"/>
                </a:lnTo>
                <a:lnTo>
                  <a:pt x="98" y="82"/>
                </a:lnTo>
                <a:lnTo>
                  <a:pt x="100" y="68"/>
                </a:lnTo>
                <a:lnTo>
                  <a:pt x="106" y="62"/>
                </a:lnTo>
                <a:lnTo>
                  <a:pt x="90" y="48"/>
                </a:lnTo>
                <a:lnTo>
                  <a:pt x="88" y="18"/>
                </a:lnTo>
                <a:lnTo>
                  <a:pt x="118" y="22"/>
                </a:lnTo>
                <a:lnTo>
                  <a:pt x="134" y="18"/>
                </a:lnTo>
                <a:lnTo>
                  <a:pt x="140" y="0"/>
                </a:lnTo>
                <a:lnTo>
                  <a:pt x="152" y="2"/>
                </a:lnTo>
                <a:lnTo>
                  <a:pt x="154" y="16"/>
                </a:lnTo>
                <a:lnTo>
                  <a:pt x="164" y="22"/>
                </a:lnTo>
                <a:lnTo>
                  <a:pt x="166" y="30"/>
                </a:lnTo>
                <a:lnTo>
                  <a:pt x="166" y="40"/>
                </a:lnTo>
                <a:lnTo>
                  <a:pt x="178" y="48"/>
                </a:lnTo>
                <a:lnTo>
                  <a:pt x="176" y="56"/>
                </a:lnTo>
                <a:lnTo>
                  <a:pt x="166" y="58"/>
                </a:lnTo>
                <a:lnTo>
                  <a:pt x="162" y="68"/>
                </a:lnTo>
                <a:lnTo>
                  <a:pt x="162" y="76"/>
                </a:lnTo>
                <a:lnTo>
                  <a:pt x="188" y="88"/>
                </a:lnTo>
                <a:lnTo>
                  <a:pt x="200" y="98"/>
                </a:lnTo>
                <a:lnTo>
                  <a:pt x="188" y="106"/>
                </a:lnTo>
                <a:lnTo>
                  <a:pt x="184" y="122"/>
                </a:lnTo>
                <a:lnTo>
                  <a:pt x="204" y="128"/>
                </a:lnTo>
                <a:lnTo>
                  <a:pt x="232" y="144"/>
                </a:lnTo>
                <a:lnTo>
                  <a:pt x="256" y="146"/>
                </a:lnTo>
                <a:lnTo>
                  <a:pt x="272" y="158"/>
                </a:lnTo>
                <a:lnTo>
                  <a:pt x="286" y="164"/>
                </a:lnTo>
                <a:lnTo>
                  <a:pt x="314" y="162"/>
                </a:lnTo>
                <a:lnTo>
                  <a:pt x="312" y="138"/>
                </a:lnTo>
                <a:lnTo>
                  <a:pt x="328" y="138"/>
                </a:lnTo>
                <a:lnTo>
                  <a:pt x="328" y="146"/>
                </a:lnTo>
                <a:lnTo>
                  <a:pt x="330" y="152"/>
                </a:lnTo>
                <a:lnTo>
                  <a:pt x="336" y="156"/>
                </a:lnTo>
                <a:lnTo>
                  <a:pt x="344" y="158"/>
                </a:lnTo>
                <a:lnTo>
                  <a:pt x="374" y="154"/>
                </a:lnTo>
                <a:lnTo>
                  <a:pt x="378" y="148"/>
                </a:lnTo>
                <a:lnTo>
                  <a:pt x="374" y="138"/>
                </a:lnTo>
                <a:lnTo>
                  <a:pt x="384" y="136"/>
                </a:lnTo>
                <a:lnTo>
                  <a:pt x="394" y="122"/>
                </a:lnTo>
                <a:lnTo>
                  <a:pt x="406" y="122"/>
                </a:lnTo>
                <a:lnTo>
                  <a:pt x="412" y="114"/>
                </a:lnTo>
                <a:lnTo>
                  <a:pt x="434" y="114"/>
                </a:lnTo>
                <a:lnTo>
                  <a:pt x="444" y="112"/>
                </a:lnTo>
                <a:lnTo>
                  <a:pt x="444" y="126"/>
                </a:lnTo>
                <a:lnTo>
                  <a:pt x="460" y="128"/>
                </a:lnTo>
                <a:lnTo>
                  <a:pt x="454" y="138"/>
                </a:lnTo>
                <a:lnTo>
                  <a:pt x="454" y="148"/>
                </a:lnTo>
                <a:lnTo>
                  <a:pt x="440" y="148"/>
                </a:lnTo>
                <a:lnTo>
                  <a:pt x="424" y="162"/>
                </a:lnTo>
                <a:lnTo>
                  <a:pt x="422" y="174"/>
                </a:lnTo>
                <a:lnTo>
                  <a:pt x="414" y="182"/>
                </a:lnTo>
                <a:lnTo>
                  <a:pt x="410" y="202"/>
                </a:lnTo>
                <a:lnTo>
                  <a:pt x="396" y="204"/>
                </a:lnTo>
                <a:lnTo>
                  <a:pt x="390" y="232"/>
                </a:lnTo>
                <a:lnTo>
                  <a:pt x="384" y="238"/>
                </a:lnTo>
                <a:lnTo>
                  <a:pt x="382" y="232"/>
                </a:lnTo>
                <a:lnTo>
                  <a:pt x="382" y="222"/>
                </a:lnTo>
                <a:lnTo>
                  <a:pt x="384" y="210"/>
                </a:lnTo>
                <a:lnTo>
                  <a:pt x="374" y="208"/>
                </a:lnTo>
                <a:lnTo>
                  <a:pt x="370" y="220"/>
                </a:lnTo>
                <a:lnTo>
                  <a:pt x="362" y="216"/>
                </a:lnTo>
                <a:lnTo>
                  <a:pt x="362" y="208"/>
                </a:lnTo>
                <a:lnTo>
                  <a:pt x="366" y="202"/>
                </a:lnTo>
                <a:lnTo>
                  <a:pt x="370" y="200"/>
                </a:lnTo>
                <a:lnTo>
                  <a:pt x="378" y="196"/>
                </a:lnTo>
                <a:lnTo>
                  <a:pt x="378" y="184"/>
                </a:lnTo>
                <a:lnTo>
                  <a:pt x="344" y="184"/>
                </a:lnTo>
                <a:lnTo>
                  <a:pt x="338" y="172"/>
                </a:lnTo>
                <a:lnTo>
                  <a:pt x="328" y="168"/>
                </a:lnTo>
                <a:lnTo>
                  <a:pt x="324" y="162"/>
                </a:lnTo>
                <a:lnTo>
                  <a:pt x="318" y="168"/>
                </a:lnTo>
                <a:lnTo>
                  <a:pt x="318" y="174"/>
                </a:lnTo>
                <a:lnTo>
                  <a:pt x="326" y="182"/>
                </a:lnTo>
                <a:lnTo>
                  <a:pt x="314" y="188"/>
                </a:lnTo>
                <a:lnTo>
                  <a:pt x="316" y="196"/>
                </a:lnTo>
                <a:lnTo>
                  <a:pt x="322" y="200"/>
                </a:lnTo>
                <a:lnTo>
                  <a:pt x="324" y="214"/>
                </a:lnTo>
                <a:lnTo>
                  <a:pt x="328" y="236"/>
                </a:lnTo>
                <a:lnTo>
                  <a:pt x="318" y="242"/>
                </a:lnTo>
                <a:lnTo>
                  <a:pt x="296" y="246"/>
                </a:lnTo>
                <a:lnTo>
                  <a:pt x="290" y="262"/>
                </a:lnTo>
                <a:lnTo>
                  <a:pt x="276" y="274"/>
                </a:lnTo>
                <a:lnTo>
                  <a:pt x="262" y="278"/>
                </a:lnTo>
                <a:lnTo>
                  <a:pt x="258" y="290"/>
                </a:lnTo>
                <a:lnTo>
                  <a:pt x="234" y="312"/>
                </a:lnTo>
                <a:lnTo>
                  <a:pt x="222" y="314"/>
                </a:lnTo>
                <a:lnTo>
                  <a:pt x="218" y="320"/>
                </a:lnTo>
                <a:lnTo>
                  <a:pt x="216" y="328"/>
                </a:lnTo>
                <a:lnTo>
                  <a:pt x="204" y="332"/>
                </a:lnTo>
                <a:lnTo>
                  <a:pt x="202" y="340"/>
                </a:lnTo>
                <a:lnTo>
                  <a:pt x="190" y="342"/>
                </a:lnTo>
                <a:lnTo>
                  <a:pt x="182" y="350"/>
                </a:lnTo>
                <a:lnTo>
                  <a:pt x="188" y="368"/>
                </a:lnTo>
                <a:lnTo>
                  <a:pt x="186" y="376"/>
                </a:lnTo>
                <a:lnTo>
                  <a:pt x="188" y="388"/>
                </a:lnTo>
                <a:lnTo>
                  <a:pt x="180" y="404"/>
                </a:lnTo>
                <a:lnTo>
                  <a:pt x="180" y="424"/>
                </a:lnTo>
                <a:lnTo>
                  <a:pt x="166" y="436"/>
                </a:lnTo>
                <a:lnTo>
                  <a:pt x="170" y="446"/>
                </a:lnTo>
                <a:lnTo>
                  <a:pt x="160" y="446"/>
                </a:lnTo>
                <a:lnTo>
                  <a:pt x="156" y="452"/>
                </a:lnTo>
                <a:lnTo>
                  <a:pt x="148" y="464"/>
                </a:lnTo>
                <a:lnTo>
                  <a:pt x="136" y="460"/>
                </a:lnTo>
                <a:lnTo>
                  <a:pt x="124" y="440"/>
                </a:lnTo>
                <a:lnTo>
                  <a:pt x="126" y="428"/>
                </a:lnTo>
                <a:lnTo>
                  <a:pt x="104" y="390"/>
                </a:lnTo>
                <a:lnTo>
                  <a:pt x="102" y="374"/>
                </a:lnTo>
                <a:lnTo>
                  <a:pt x="80" y="330"/>
                </a:lnTo>
                <a:lnTo>
                  <a:pt x="74" y="278"/>
                </a:lnTo>
                <a:lnTo>
                  <a:pt x="68" y="262"/>
                </a:lnTo>
                <a:lnTo>
                  <a:pt x="74" y="254"/>
                </a:lnTo>
                <a:lnTo>
                  <a:pt x="72" y="246"/>
                </a:lnTo>
                <a:lnTo>
                  <a:pt x="68" y="234"/>
                </a:lnTo>
                <a:lnTo>
                  <a:pt x="60" y="234"/>
                </a:lnTo>
                <a:lnTo>
                  <a:pt x="58" y="246"/>
                </a:lnTo>
                <a:lnTo>
                  <a:pt x="46" y="258"/>
                </a:lnTo>
                <a:lnTo>
                  <a:pt x="38" y="260"/>
                </a:lnTo>
                <a:lnTo>
                  <a:pt x="24" y="252"/>
                </a:lnTo>
                <a:lnTo>
                  <a:pt x="20" y="244"/>
                </a:lnTo>
                <a:lnTo>
                  <a:pt x="10" y="232"/>
                </a:lnTo>
                <a:lnTo>
                  <a:pt x="26" y="232"/>
                </a:lnTo>
                <a:lnTo>
                  <a:pt x="32" y="224"/>
                </a:lnTo>
                <a:lnTo>
                  <a:pt x="24" y="222"/>
                </a:lnTo>
                <a:lnTo>
                  <a:pt x="10" y="222"/>
                </a:lnTo>
                <a:lnTo>
                  <a:pt x="4" y="216"/>
                </a:lnTo>
                <a:lnTo>
                  <a:pt x="0" y="208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96" name="Freeform 233">
            <a:extLst>
              <a:ext uri="{FF2B5EF4-FFF2-40B4-BE49-F238E27FC236}">
                <a16:creationId xmlns:a16="http://schemas.microsoft.com/office/drawing/2014/main" id="{553AB24A-56C2-4432-A6E8-8730A94AA6C9}"/>
              </a:ext>
            </a:extLst>
          </p:cNvPr>
          <p:cNvSpPr>
            <a:spLocks/>
          </p:cNvSpPr>
          <p:nvPr/>
        </p:nvSpPr>
        <p:spPr bwMode="gray">
          <a:xfrm>
            <a:off x="3675524" y="2091686"/>
            <a:ext cx="97316" cy="197613"/>
          </a:xfrm>
          <a:custGeom>
            <a:avLst/>
            <a:gdLst>
              <a:gd name="T0" fmla="*/ 6 w 134"/>
              <a:gd name="T1" fmla="*/ 120 h 296"/>
              <a:gd name="T2" fmla="*/ 12 w 134"/>
              <a:gd name="T3" fmla="*/ 104 h 296"/>
              <a:gd name="T4" fmla="*/ 32 w 134"/>
              <a:gd name="T5" fmla="*/ 74 h 296"/>
              <a:gd name="T6" fmla="*/ 44 w 134"/>
              <a:gd name="T7" fmla="*/ 46 h 296"/>
              <a:gd name="T8" fmla="*/ 62 w 134"/>
              <a:gd name="T9" fmla="*/ 20 h 296"/>
              <a:gd name="T10" fmla="*/ 76 w 134"/>
              <a:gd name="T11" fmla="*/ 10 h 296"/>
              <a:gd name="T12" fmla="*/ 90 w 134"/>
              <a:gd name="T13" fmla="*/ 2 h 296"/>
              <a:gd name="T14" fmla="*/ 104 w 134"/>
              <a:gd name="T15" fmla="*/ 18 h 296"/>
              <a:gd name="T16" fmla="*/ 94 w 134"/>
              <a:gd name="T17" fmla="*/ 52 h 296"/>
              <a:gd name="T18" fmla="*/ 86 w 134"/>
              <a:gd name="T19" fmla="*/ 68 h 296"/>
              <a:gd name="T20" fmla="*/ 106 w 134"/>
              <a:gd name="T21" fmla="*/ 88 h 296"/>
              <a:gd name="T22" fmla="*/ 116 w 134"/>
              <a:gd name="T23" fmla="*/ 108 h 296"/>
              <a:gd name="T24" fmla="*/ 124 w 134"/>
              <a:gd name="T25" fmla="*/ 116 h 296"/>
              <a:gd name="T26" fmla="*/ 134 w 134"/>
              <a:gd name="T27" fmla="*/ 126 h 296"/>
              <a:gd name="T28" fmla="*/ 106 w 134"/>
              <a:gd name="T29" fmla="*/ 144 h 296"/>
              <a:gd name="T30" fmla="*/ 88 w 134"/>
              <a:gd name="T31" fmla="*/ 158 h 296"/>
              <a:gd name="T32" fmla="*/ 84 w 134"/>
              <a:gd name="T33" fmla="*/ 168 h 296"/>
              <a:gd name="T34" fmla="*/ 88 w 134"/>
              <a:gd name="T35" fmla="*/ 184 h 296"/>
              <a:gd name="T36" fmla="*/ 104 w 134"/>
              <a:gd name="T37" fmla="*/ 208 h 296"/>
              <a:gd name="T38" fmla="*/ 96 w 134"/>
              <a:gd name="T39" fmla="*/ 228 h 296"/>
              <a:gd name="T40" fmla="*/ 110 w 134"/>
              <a:gd name="T41" fmla="*/ 248 h 296"/>
              <a:gd name="T42" fmla="*/ 116 w 134"/>
              <a:gd name="T43" fmla="*/ 274 h 296"/>
              <a:gd name="T44" fmla="*/ 100 w 134"/>
              <a:gd name="T45" fmla="*/ 296 h 296"/>
              <a:gd name="T46" fmla="*/ 100 w 134"/>
              <a:gd name="T47" fmla="*/ 280 h 296"/>
              <a:gd name="T48" fmla="*/ 100 w 134"/>
              <a:gd name="T49" fmla="*/ 256 h 296"/>
              <a:gd name="T50" fmla="*/ 90 w 134"/>
              <a:gd name="T51" fmla="*/ 230 h 296"/>
              <a:gd name="T52" fmla="*/ 84 w 134"/>
              <a:gd name="T53" fmla="*/ 200 h 296"/>
              <a:gd name="T54" fmla="*/ 68 w 134"/>
              <a:gd name="T55" fmla="*/ 200 h 296"/>
              <a:gd name="T56" fmla="*/ 54 w 134"/>
              <a:gd name="T57" fmla="*/ 212 h 296"/>
              <a:gd name="T58" fmla="*/ 36 w 134"/>
              <a:gd name="T59" fmla="*/ 204 h 296"/>
              <a:gd name="T60" fmla="*/ 38 w 134"/>
              <a:gd name="T61" fmla="*/ 176 h 296"/>
              <a:gd name="T62" fmla="*/ 26 w 134"/>
              <a:gd name="T63" fmla="*/ 158 h 296"/>
              <a:gd name="T64" fmla="*/ 0 w 134"/>
              <a:gd name="T65" fmla="*/ 124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34" h="296">
                <a:moveTo>
                  <a:pt x="0" y="124"/>
                </a:moveTo>
                <a:lnTo>
                  <a:pt x="6" y="120"/>
                </a:lnTo>
                <a:lnTo>
                  <a:pt x="6" y="110"/>
                </a:lnTo>
                <a:lnTo>
                  <a:pt x="12" y="104"/>
                </a:lnTo>
                <a:lnTo>
                  <a:pt x="18" y="76"/>
                </a:lnTo>
                <a:lnTo>
                  <a:pt x="32" y="74"/>
                </a:lnTo>
                <a:lnTo>
                  <a:pt x="36" y="54"/>
                </a:lnTo>
                <a:lnTo>
                  <a:pt x="44" y="46"/>
                </a:lnTo>
                <a:lnTo>
                  <a:pt x="46" y="34"/>
                </a:lnTo>
                <a:lnTo>
                  <a:pt x="62" y="20"/>
                </a:lnTo>
                <a:lnTo>
                  <a:pt x="76" y="20"/>
                </a:lnTo>
                <a:lnTo>
                  <a:pt x="76" y="10"/>
                </a:lnTo>
                <a:lnTo>
                  <a:pt x="82" y="0"/>
                </a:lnTo>
                <a:lnTo>
                  <a:pt x="90" y="2"/>
                </a:lnTo>
                <a:lnTo>
                  <a:pt x="96" y="12"/>
                </a:lnTo>
                <a:lnTo>
                  <a:pt x="104" y="18"/>
                </a:lnTo>
                <a:lnTo>
                  <a:pt x="102" y="42"/>
                </a:lnTo>
                <a:lnTo>
                  <a:pt x="94" y="52"/>
                </a:lnTo>
                <a:lnTo>
                  <a:pt x="86" y="64"/>
                </a:lnTo>
                <a:lnTo>
                  <a:pt x="86" y="68"/>
                </a:lnTo>
                <a:lnTo>
                  <a:pt x="106" y="74"/>
                </a:lnTo>
                <a:lnTo>
                  <a:pt x="106" y="88"/>
                </a:lnTo>
                <a:lnTo>
                  <a:pt x="116" y="92"/>
                </a:lnTo>
                <a:lnTo>
                  <a:pt x="116" y="108"/>
                </a:lnTo>
                <a:lnTo>
                  <a:pt x="124" y="110"/>
                </a:lnTo>
                <a:lnTo>
                  <a:pt x="124" y="116"/>
                </a:lnTo>
                <a:lnTo>
                  <a:pt x="132" y="116"/>
                </a:lnTo>
                <a:lnTo>
                  <a:pt x="134" y="126"/>
                </a:lnTo>
                <a:lnTo>
                  <a:pt x="116" y="136"/>
                </a:lnTo>
                <a:lnTo>
                  <a:pt x="106" y="144"/>
                </a:lnTo>
                <a:lnTo>
                  <a:pt x="88" y="146"/>
                </a:lnTo>
                <a:lnTo>
                  <a:pt x="88" y="158"/>
                </a:lnTo>
                <a:lnTo>
                  <a:pt x="86" y="162"/>
                </a:lnTo>
                <a:lnTo>
                  <a:pt x="84" y="168"/>
                </a:lnTo>
                <a:lnTo>
                  <a:pt x="86" y="178"/>
                </a:lnTo>
                <a:lnTo>
                  <a:pt x="88" y="184"/>
                </a:lnTo>
                <a:lnTo>
                  <a:pt x="98" y="192"/>
                </a:lnTo>
                <a:lnTo>
                  <a:pt x="104" y="208"/>
                </a:lnTo>
                <a:lnTo>
                  <a:pt x="100" y="218"/>
                </a:lnTo>
                <a:lnTo>
                  <a:pt x="96" y="228"/>
                </a:lnTo>
                <a:lnTo>
                  <a:pt x="102" y="236"/>
                </a:lnTo>
                <a:lnTo>
                  <a:pt x="110" y="248"/>
                </a:lnTo>
                <a:lnTo>
                  <a:pt x="110" y="264"/>
                </a:lnTo>
                <a:lnTo>
                  <a:pt x="116" y="274"/>
                </a:lnTo>
                <a:lnTo>
                  <a:pt x="112" y="286"/>
                </a:lnTo>
                <a:lnTo>
                  <a:pt x="100" y="296"/>
                </a:lnTo>
                <a:lnTo>
                  <a:pt x="98" y="288"/>
                </a:lnTo>
                <a:lnTo>
                  <a:pt x="100" y="280"/>
                </a:lnTo>
                <a:lnTo>
                  <a:pt x="100" y="270"/>
                </a:lnTo>
                <a:lnTo>
                  <a:pt x="100" y="256"/>
                </a:lnTo>
                <a:lnTo>
                  <a:pt x="98" y="250"/>
                </a:lnTo>
                <a:lnTo>
                  <a:pt x="90" y="230"/>
                </a:lnTo>
                <a:lnTo>
                  <a:pt x="90" y="214"/>
                </a:lnTo>
                <a:lnTo>
                  <a:pt x="84" y="200"/>
                </a:lnTo>
                <a:lnTo>
                  <a:pt x="74" y="188"/>
                </a:lnTo>
                <a:lnTo>
                  <a:pt x="68" y="200"/>
                </a:lnTo>
                <a:lnTo>
                  <a:pt x="56" y="204"/>
                </a:lnTo>
                <a:lnTo>
                  <a:pt x="54" y="212"/>
                </a:lnTo>
                <a:lnTo>
                  <a:pt x="42" y="212"/>
                </a:lnTo>
                <a:lnTo>
                  <a:pt x="36" y="204"/>
                </a:lnTo>
                <a:lnTo>
                  <a:pt x="36" y="190"/>
                </a:lnTo>
                <a:lnTo>
                  <a:pt x="38" y="176"/>
                </a:lnTo>
                <a:lnTo>
                  <a:pt x="34" y="166"/>
                </a:lnTo>
                <a:lnTo>
                  <a:pt x="26" y="158"/>
                </a:lnTo>
                <a:lnTo>
                  <a:pt x="14" y="138"/>
                </a:lnTo>
                <a:lnTo>
                  <a:pt x="0" y="12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97" name="Freeform 234">
            <a:extLst>
              <a:ext uri="{FF2B5EF4-FFF2-40B4-BE49-F238E27FC236}">
                <a16:creationId xmlns:a16="http://schemas.microsoft.com/office/drawing/2014/main" id="{073F18D0-FDD6-47FF-9B4A-BAF427E7B5EC}"/>
              </a:ext>
            </a:extLst>
          </p:cNvPr>
          <p:cNvSpPr>
            <a:spLocks/>
          </p:cNvSpPr>
          <p:nvPr/>
        </p:nvSpPr>
        <p:spPr bwMode="gray">
          <a:xfrm>
            <a:off x="3736529" y="2181146"/>
            <a:ext cx="94411" cy="160227"/>
          </a:xfrm>
          <a:custGeom>
            <a:avLst/>
            <a:gdLst>
              <a:gd name="T0" fmla="*/ 20 w 130"/>
              <a:gd name="T1" fmla="*/ 198 h 240"/>
              <a:gd name="T2" fmla="*/ 14 w 130"/>
              <a:gd name="T3" fmla="*/ 174 h 240"/>
              <a:gd name="T4" fmla="*/ 28 w 130"/>
              <a:gd name="T5" fmla="*/ 152 h 240"/>
              <a:gd name="T6" fmla="*/ 26 w 130"/>
              <a:gd name="T7" fmla="*/ 130 h 240"/>
              <a:gd name="T8" fmla="*/ 18 w 130"/>
              <a:gd name="T9" fmla="*/ 102 h 240"/>
              <a:gd name="T10" fmla="*/ 20 w 130"/>
              <a:gd name="T11" fmla="*/ 74 h 240"/>
              <a:gd name="T12" fmla="*/ 4 w 130"/>
              <a:gd name="T13" fmla="*/ 50 h 240"/>
              <a:gd name="T14" fmla="*/ 4 w 130"/>
              <a:gd name="T15" fmla="*/ 24 h 240"/>
              <a:gd name="T16" fmla="*/ 22 w 130"/>
              <a:gd name="T17" fmla="*/ 10 h 240"/>
              <a:gd name="T18" fmla="*/ 48 w 130"/>
              <a:gd name="T19" fmla="*/ 6 h 240"/>
              <a:gd name="T20" fmla="*/ 56 w 130"/>
              <a:gd name="T21" fmla="*/ 16 h 240"/>
              <a:gd name="T22" fmla="*/ 56 w 130"/>
              <a:gd name="T23" fmla="*/ 34 h 240"/>
              <a:gd name="T24" fmla="*/ 68 w 130"/>
              <a:gd name="T25" fmla="*/ 42 h 240"/>
              <a:gd name="T26" fmla="*/ 88 w 130"/>
              <a:gd name="T27" fmla="*/ 40 h 240"/>
              <a:gd name="T28" fmla="*/ 116 w 130"/>
              <a:gd name="T29" fmla="*/ 50 h 240"/>
              <a:gd name="T30" fmla="*/ 130 w 130"/>
              <a:gd name="T31" fmla="*/ 76 h 240"/>
              <a:gd name="T32" fmla="*/ 126 w 130"/>
              <a:gd name="T33" fmla="*/ 98 h 240"/>
              <a:gd name="T34" fmla="*/ 78 w 130"/>
              <a:gd name="T35" fmla="*/ 112 h 240"/>
              <a:gd name="T36" fmla="*/ 82 w 130"/>
              <a:gd name="T37" fmla="*/ 130 h 240"/>
              <a:gd name="T38" fmla="*/ 84 w 130"/>
              <a:gd name="T39" fmla="*/ 144 h 240"/>
              <a:gd name="T40" fmla="*/ 56 w 130"/>
              <a:gd name="T41" fmla="*/ 126 h 240"/>
              <a:gd name="T42" fmla="*/ 44 w 130"/>
              <a:gd name="T43" fmla="*/ 116 h 240"/>
              <a:gd name="T44" fmla="*/ 40 w 130"/>
              <a:gd name="T45" fmla="*/ 132 h 240"/>
              <a:gd name="T46" fmla="*/ 32 w 130"/>
              <a:gd name="T47" fmla="*/ 154 h 240"/>
              <a:gd name="T48" fmla="*/ 24 w 130"/>
              <a:gd name="T49" fmla="*/ 178 h 240"/>
              <a:gd name="T50" fmla="*/ 40 w 130"/>
              <a:gd name="T51" fmla="*/ 186 h 240"/>
              <a:gd name="T52" fmla="*/ 46 w 130"/>
              <a:gd name="T53" fmla="*/ 210 h 240"/>
              <a:gd name="T54" fmla="*/ 64 w 130"/>
              <a:gd name="T55" fmla="*/ 222 h 240"/>
              <a:gd name="T56" fmla="*/ 68 w 130"/>
              <a:gd name="T57" fmla="*/ 234 h 240"/>
              <a:gd name="T58" fmla="*/ 56 w 130"/>
              <a:gd name="T59" fmla="*/ 238 h 240"/>
              <a:gd name="T60" fmla="*/ 52 w 130"/>
              <a:gd name="T61" fmla="*/ 226 h 240"/>
              <a:gd name="T62" fmla="*/ 34 w 130"/>
              <a:gd name="T63" fmla="*/ 214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30" h="240">
                <a:moveTo>
                  <a:pt x="34" y="214"/>
                </a:moveTo>
                <a:lnTo>
                  <a:pt x="20" y="198"/>
                </a:lnTo>
                <a:lnTo>
                  <a:pt x="12" y="194"/>
                </a:lnTo>
                <a:lnTo>
                  <a:pt x="14" y="174"/>
                </a:lnTo>
                <a:lnTo>
                  <a:pt x="16" y="162"/>
                </a:lnTo>
                <a:lnTo>
                  <a:pt x="28" y="152"/>
                </a:lnTo>
                <a:lnTo>
                  <a:pt x="32" y="140"/>
                </a:lnTo>
                <a:lnTo>
                  <a:pt x="26" y="130"/>
                </a:lnTo>
                <a:lnTo>
                  <a:pt x="26" y="114"/>
                </a:lnTo>
                <a:lnTo>
                  <a:pt x="18" y="102"/>
                </a:lnTo>
                <a:lnTo>
                  <a:pt x="12" y="94"/>
                </a:lnTo>
                <a:lnTo>
                  <a:pt x="20" y="74"/>
                </a:lnTo>
                <a:lnTo>
                  <a:pt x="14" y="58"/>
                </a:lnTo>
                <a:lnTo>
                  <a:pt x="4" y="50"/>
                </a:lnTo>
                <a:lnTo>
                  <a:pt x="0" y="30"/>
                </a:lnTo>
                <a:lnTo>
                  <a:pt x="4" y="24"/>
                </a:lnTo>
                <a:lnTo>
                  <a:pt x="4" y="12"/>
                </a:lnTo>
                <a:lnTo>
                  <a:pt x="22" y="10"/>
                </a:lnTo>
                <a:lnTo>
                  <a:pt x="36" y="0"/>
                </a:lnTo>
                <a:lnTo>
                  <a:pt x="48" y="6"/>
                </a:lnTo>
                <a:lnTo>
                  <a:pt x="48" y="14"/>
                </a:lnTo>
                <a:lnTo>
                  <a:pt x="56" y="16"/>
                </a:lnTo>
                <a:lnTo>
                  <a:pt x="60" y="30"/>
                </a:lnTo>
                <a:lnTo>
                  <a:pt x="56" y="34"/>
                </a:lnTo>
                <a:lnTo>
                  <a:pt x="56" y="48"/>
                </a:lnTo>
                <a:lnTo>
                  <a:pt x="68" y="42"/>
                </a:lnTo>
                <a:lnTo>
                  <a:pt x="76" y="36"/>
                </a:lnTo>
                <a:lnTo>
                  <a:pt x="88" y="40"/>
                </a:lnTo>
                <a:lnTo>
                  <a:pt x="100" y="32"/>
                </a:lnTo>
                <a:lnTo>
                  <a:pt x="116" y="50"/>
                </a:lnTo>
                <a:lnTo>
                  <a:pt x="120" y="66"/>
                </a:lnTo>
                <a:lnTo>
                  <a:pt x="130" y="76"/>
                </a:lnTo>
                <a:lnTo>
                  <a:pt x="130" y="86"/>
                </a:lnTo>
                <a:lnTo>
                  <a:pt x="126" y="98"/>
                </a:lnTo>
                <a:lnTo>
                  <a:pt x="86" y="100"/>
                </a:lnTo>
                <a:lnTo>
                  <a:pt x="78" y="112"/>
                </a:lnTo>
                <a:lnTo>
                  <a:pt x="78" y="120"/>
                </a:lnTo>
                <a:lnTo>
                  <a:pt x="82" y="130"/>
                </a:lnTo>
                <a:lnTo>
                  <a:pt x="86" y="140"/>
                </a:lnTo>
                <a:lnTo>
                  <a:pt x="84" y="144"/>
                </a:lnTo>
                <a:lnTo>
                  <a:pt x="72" y="128"/>
                </a:lnTo>
                <a:lnTo>
                  <a:pt x="56" y="126"/>
                </a:lnTo>
                <a:lnTo>
                  <a:pt x="56" y="116"/>
                </a:lnTo>
                <a:lnTo>
                  <a:pt x="44" y="116"/>
                </a:lnTo>
                <a:lnTo>
                  <a:pt x="40" y="120"/>
                </a:lnTo>
                <a:lnTo>
                  <a:pt x="40" y="132"/>
                </a:lnTo>
                <a:lnTo>
                  <a:pt x="38" y="140"/>
                </a:lnTo>
                <a:lnTo>
                  <a:pt x="32" y="154"/>
                </a:lnTo>
                <a:lnTo>
                  <a:pt x="28" y="162"/>
                </a:lnTo>
                <a:lnTo>
                  <a:pt x="24" y="178"/>
                </a:lnTo>
                <a:lnTo>
                  <a:pt x="30" y="182"/>
                </a:lnTo>
                <a:lnTo>
                  <a:pt x="40" y="186"/>
                </a:lnTo>
                <a:lnTo>
                  <a:pt x="42" y="192"/>
                </a:lnTo>
                <a:lnTo>
                  <a:pt x="46" y="210"/>
                </a:lnTo>
                <a:lnTo>
                  <a:pt x="52" y="218"/>
                </a:lnTo>
                <a:lnTo>
                  <a:pt x="64" y="222"/>
                </a:lnTo>
                <a:lnTo>
                  <a:pt x="72" y="230"/>
                </a:lnTo>
                <a:lnTo>
                  <a:pt x="68" y="234"/>
                </a:lnTo>
                <a:lnTo>
                  <a:pt x="66" y="240"/>
                </a:lnTo>
                <a:lnTo>
                  <a:pt x="56" y="238"/>
                </a:lnTo>
                <a:lnTo>
                  <a:pt x="58" y="230"/>
                </a:lnTo>
                <a:lnTo>
                  <a:pt x="52" y="226"/>
                </a:lnTo>
                <a:lnTo>
                  <a:pt x="42" y="224"/>
                </a:lnTo>
                <a:lnTo>
                  <a:pt x="34" y="21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98" name="Freeform 235">
            <a:extLst>
              <a:ext uri="{FF2B5EF4-FFF2-40B4-BE49-F238E27FC236}">
                <a16:creationId xmlns:a16="http://schemas.microsoft.com/office/drawing/2014/main" id="{FCA886E7-296F-41F1-80AA-C0B0A7A8F6D5}"/>
              </a:ext>
            </a:extLst>
          </p:cNvPr>
          <p:cNvSpPr>
            <a:spLocks/>
          </p:cNvSpPr>
          <p:nvPr/>
        </p:nvSpPr>
        <p:spPr bwMode="gray">
          <a:xfrm>
            <a:off x="3767031" y="2330691"/>
            <a:ext cx="46479" cy="54744"/>
          </a:xfrm>
          <a:custGeom>
            <a:avLst/>
            <a:gdLst>
              <a:gd name="T0" fmla="*/ 0 w 64"/>
              <a:gd name="T1" fmla="*/ 0 h 82"/>
              <a:gd name="T2" fmla="*/ 10 w 64"/>
              <a:gd name="T3" fmla="*/ 2 h 82"/>
              <a:gd name="T4" fmla="*/ 16 w 64"/>
              <a:gd name="T5" fmla="*/ 6 h 82"/>
              <a:gd name="T6" fmla="*/ 14 w 64"/>
              <a:gd name="T7" fmla="*/ 14 h 82"/>
              <a:gd name="T8" fmla="*/ 24 w 64"/>
              <a:gd name="T9" fmla="*/ 16 h 82"/>
              <a:gd name="T10" fmla="*/ 26 w 64"/>
              <a:gd name="T11" fmla="*/ 10 h 82"/>
              <a:gd name="T12" fmla="*/ 30 w 64"/>
              <a:gd name="T13" fmla="*/ 6 h 82"/>
              <a:gd name="T14" fmla="*/ 40 w 64"/>
              <a:gd name="T15" fmla="*/ 14 h 82"/>
              <a:gd name="T16" fmla="*/ 52 w 64"/>
              <a:gd name="T17" fmla="*/ 30 h 82"/>
              <a:gd name="T18" fmla="*/ 52 w 64"/>
              <a:gd name="T19" fmla="*/ 40 h 82"/>
              <a:gd name="T20" fmla="*/ 54 w 64"/>
              <a:gd name="T21" fmla="*/ 62 h 82"/>
              <a:gd name="T22" fmla="*/ 60 w 64"/>
              <a:gd name="T23" fmla="*/ 70 h 82"/>
              <a:gd name="T24" fmla="*/ 64 w 64"/>
              <a:gd name="T25" fmla="*/ 78 h 82"/>
              <a:gd name="T26" fmla="*/ 64 w 64"/>
              <a:gd name="T27" fmla="*/ 82 h 82"/>
              <a:gd name="T28" fmla="*/ 54 w 64"/>
              <a:gd name="T29" fmla="*/ 82 h 82"/>
              <a:gd name="T30" fmla="*/ 36 w 64"/>
              <a:gd name="T31" fmla="*/ 72 h 82"/>
              <a:gd name="T32" fmla="*/ 16 w 64"/>
              <a:gd name="T33" fmla="*/ 60 h 82"/>
              <a:gd name="T34" fmla="*/ 18 w 64"/>
              <a:gd name="T35" fmla="*/ 52 h 82"/>
              <a:gd name="T36" fmla="*/ 10 w 64"/>
              <a:gd name="T37" fmla="*/ 42 h 82"/>
              <a:gd name="T38" fmla="*/ 4 w 64"/>
              <a:gd name="T39" fmla="*/ 26 h 82"/>
              <a:gd name="T40" fmla="*/ 4 w 64"/>
              <a:gd name="T41" fmla="*/ 10 h 82"/>
              <a:gd name="T42" fmla="*/ 0 w 64"/>
              <a:gd name="T43" fmla="*/ 0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4" h="82">
                <a:moveTo>
                  <a:pt x="0" y="0"/>
                </a:moveTo>
                <a:lnTo>
                  <a:pt x="10" y="2"/>
                </a:lnTo>
                <a:lnTo>
                  <a:pt x="16" y="6"/>
                </a:lnTo>
                <a:lnTo>
                  <a:pt x="14" y="14"/>
                </a:lnTo>
                <a:lnTo>
                  <a:pt x="24" y="16"/>
                </a:lnTo>
                <a:lnTo>
                  <a:pt x="26" y="10"/>
                </a:lnTo>
                <a:lnTo>
                  <a:pt x="30" y="6"/>
                </a:lnTo>
                <a:lnTo>
                  <a:pt x="40" y="14"/>
                </a:lnTo>
                <a:lnTo>
                  <a:pt x="52" y="30"/>
                </a:lnTo>
                <a:lnTo>
                  <a:pt x="52" y="40"/>
                </a:lnTo>
                <a:lnTo>
                  <a:pt x="54" y="62"/>
                </a:lnTo>
                <a:lnTo>
                  <a:pt x="60" y="70"/>
                </a:lnTo>
                <a:lnTo>
                  <a:pt x="64" y="78"/>
                </a:lnTo>
                <a:lnTo>
                  <a:pt x="64" y="82"/>
                </a:lnTo>
                <a:lnTo>
                  <a:pt x="54" y="82"/>
                </a:lnTo>
                <a:lnTo>
                  <a:pt x="36" y="72"/>
                </a:lnTo>
                <a:lnTo>
                  <a:pt x="16" y="60"/>
                </a:lnTo>
                <a:lnTo>
                  <a:pt x="18" y="52"/>
                </a:lnTo>
                <a:lnTo>
                  <a:pt x="10" y="42"/>
                </a:lnTo>
                <a:lnTo>
                  <a:pt x="4" y="26"/>
                </a:lnTo>
                <a:lnTo>
                  <a:pt x="4" y="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299" name="Freeform 236">
            <a:extLst>
              <a:ext uri="{FF2B5EF4-FFF2-40B4-BE49-F238E27FC236}">
                <a16:creationId xmlns:a16="http://schemas.microsoft.com/office/drawing/2014/main" id="{D4EE9DE9-7920-44B1-B60E-00CBE693A959}"/>
              </a:ext>
            </a:extLst>
          </p:cNvPr>
          <p:cNvSpPr>
            <a:spLocks/>
          </p:cNvSpPr>
          <p:nvPr/>
        </p:nvSpPr>
        <p:spPr bwMode="gray">
          <a:xfrm>
            <a:off x="3877419" y="2328021"/>
            <a:ext cx="111841" cy="62755"/>
          </a:xfrm>
          <a:custGeom>
            <a:avLst/>
            <a:gdLst>
              <a:gd name="T0" fmla="*/ 0 w 154"/>
              <a:gd name="T1" fmla="*/ 84 h 94"/>
              <a:gd name="T2" fmla="*/ 10 w 154"/>
              <a:gd name="T3" fmla="*/ 94 h 94"/>
              <a:gd name="T4" fmla="*/ 22 w 154"/>
              <a:gd name="T5" fmla="*/ 94 h 94"/>
              <a:gd name="T6" fmla="*/ 30 w 154"/>
              <a:gd name="T7" fmla="*/ 92 h 94"/>
              <a:gd name="T8" fmla="*/ 44 w 154"/>
              <a:gd name="T9" fmla="*/ 86 h 94"/>
              <a:gd name="T10" fmla="*/ 52 w 154"/>
              <a:gd name="T11" fmla="*/ 84 h 94"/>
              <a:gd name="T12" fmla="*/ 60 w 154"/>
              <a:gd name="T13" fmla="*/ 92 h 94"/>
              <a:gd name="T14" fmla="*/ 72 w 154"/>
              <a:gd name="T15" fmla="*/ 86 h 94"/>
              <a:gd name="T16" fmla="*/ 84 w 154"/>
              <a:gd name="T17" fmla="*/ 74 h 94"/>
              <a:gd name="T18" fmla="*/ 94 w 154"/>
              <a:gd name="T19" fmla="*/ 56 h 94"/>
              <a:gd name="T20" fmla="*/ 96 w 154"/>
              <a:gd name="T21" fmla="*/ 44 h 94"/>
              <a:gd name="T22" fmla="*/ 102 w 154"/>
              <a:gd name="T23" fmla="*/ 40 h 94"/>
              <a:gd name="T24" fmla="*/ 118 w 154"/>
              <a:gd name="T25" fmla="*/ 38 h 94"/>
              <a:gd name="T26" fmla="*/ 126 w 154"/>
              <a:gd name="T27" fmla="*/ 44 h 94"/>
              <a:gd name="T28" fmla="*/ 138 w 154"/>
              <a:gd name="T29" fmla="*/ 44 h 94"/>
              <a:gd name="T30" fmla="*/ 142 w 154"/>
              <a:gd name="T31" fmla="*/ 40 h 94"/>
              <a:gd name="T32" fmla="*/ 134 w 154"/>
              <a:gd name="T33" fmla="*/ 34 h 94"/>
              <a:gd name="T34" fmla="*/ 140 w 154"/>
              <a:gd name="T35" fmla="*/ 30 h 94"/>
              <a:gd name="T36" fmla="*/ 148 w 154"/>
              <a:gd name="T37" fmla="*/ 30 h 94"/>
              <a:gd name="T38" fmla="*/ 154 w 154"/>
              <a:gd name="T39" fmla="*/ 28 h 94"/>
              <a:gd name="T40" fmla="*/ 140 w 154"/>
              <a:gd name="T41" fmla="*/ 20 h 94"/>
              <a:gd name="T42" fmla="*/ 132 w 154"/>
              <a:gd name="T43" fmla="*/ 16 h 94"/>
              <a:gd name="T44" fmla="*/ 124 w 154"/>
              <a:gd name="T45" fmla="*/ 8 h 94"/>
              <a:gd name="T46" fmla="*/ 120 w 154"/>
              <a:gd name="T47" fmla="*/ 2 h 94"/>
              <a:gd name="T48" fmla="*/ 110 w 154"/>
              <a:gd name="T49" fmla="*/ 0 h 94"/>
              <a:gd name="T50" fmla="*/ 102 w 154"/>
              <a:gd name="T51" fmla="*/ 10 h 94"/>
              <a:gd name="T52" fmla="*/ 96 w 154"/>
              <a:gd name="T53" fmla="*/ 18 h 94"/>
              <a:gd name="T54" fmla="*/ 92 w 154"/>
              <a:gd name="T55" fmla="*/ 22 h 94"/>
              <a:gd name="T56" fmla="*/ 88 w 154"/>
              <a:gd name="T57" fmla="*/ 28 h 94"/>
              <a:gd name="T58" fmla="*/ 98 w 154"/>
              <a:gd name="T59" fmla="*/ 36 h 94"/>
              <a:gd name="T60" fmla="*/ 94 w 154"/>
              <a:gd name="T61" fmla="*/ 40 h 94"/>
              <a:gd name="T62" fmla="*/ 88 w 154"/>
              <a:gd name="T63" fmla="*/ 36 h 94"/>
              <a:gd name="T64" fmla="*/ 84 w 154"/>
              <a:gd name="T65" fmla="*/ 38 h 94"/>
              <a:gd name="T66" fmla="*/ 82 w 154"/>
              <a:gd name="T67" fmla="*/ 46 h 94"/>
              <a:gd name="T68" fmla="*/ 76 w 154"/>
              <a:gd name="T69" fmla="*/ 46 h 94"/>
              <a:gd name="T70" fmla="*/ 68 w 154"/>
              <a:gd name="T71" fmla="*/ 40 h 94"/>
              <a:gd name="T72" fmla="*/ 60 w 154"/>
              <a:gd name="T73" fmla="*/ 54 h 94"/>
              <a:gd name="T74" fmla="*/ 52 w 154"/>
              <a:gd name="T75" fmla="*/ 64 h 94"/>
              <a:gd name="T76" fmla="*/ 40 w 154"/>
              <a:gd name="T77" fmla="*/ 62 h 94"/>
              <a:gd name="T78" fmla="*/ 28 w 154"/>
              <a:gd name="T79" fmla="*/ 66 h 94"/>
              <a:gd name="T80" fmla="*/ 22 w 154"/>
              <a:gd name="T81" fmla="*/ 78 h 94"/>
              <a:gd name="T82" fmla="*/ 26 w 154"/>
              <a:gd name="T83" fmla="*/ 84 h 94"/>
              <a:gd name="T84" fmla="*/ 28 w 154"/>
              <a:gd name="T85" fmla="*/ 88 h 94"/>
              <a:gd name="T86" fmla="*/ 20 w 154"/>
              <a:gd name="T87" fmla="*/ 92 h 94"/>
              <a:gd name="T88" fmla="*/ 14 w 154"/>
              <a:gd name="T89" fmla="*/ 84 h 94"/>
              <a:gd name="T90" fmla="*/ 10 w 154"/>
              <a:gd name="T91" fmla="*/ 80 h 94"/>
              <a:gd name="T92" fmla="*/ 0 w 154"/>
              <a:gd name="T93" fmla="*/ 84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54" h="94">
                <a:moveTo>
                  <a:pt x="0" y="84"/>
                </a:moveTo>
                <a:lnTo>
                  <a:pt x="10" y="94"/>
                </a:lnTo>
                <a:lnTo>
                  <a:pt x="22" y="94"/>
                </a:lnTo>
                <a:lnTo>
                  <a:pt x="30" y="92"/>
                </a:lnTo>
                <a:lnTo>
                  <a:pt x="44" y="86"/>
                </a:lnTo>
                <a:lnTo>
                  <a:pt x="52" y="84"/>
                </a:lnTo>
                <a:lnTo>
                  <a:pt x="60" y="92"/>
                </a:lnTo>
                <a:lnTo>
                  <a:pt x="72" y="86"/>
                </a:lnTo>
                <a:lnTo>
                  <a:pt x="84" y="74"/>
                </a:lnTo>
                <a:lnTo>
                  <a:pt x="94" y="56"/>
                </a:lnTo>
                <a:lnTo>
                  <a:pt x="96" y="44"/>
                </a:lnTo>
                <a:lnTo>
                  <a:pt x="102" y="40"/>
                </a:lnTo>
                <a:lnTo>
                  <a:pt x="118" y="38"/>
                </a:lnTo>
                <a:lnTo>
                  <a:pt x="126" y="44"/>
                </a:lnTo>
                <a:lnTo>
                  <a:pt x="138" y="44"/>
                </a:lnTo>
                <a:lnTo>
                  <a:pt x="142" y="40"/>
                </a:lnTo>
                <a:lnTo>
                  <a:pt x="134" y="34"/>
                </a:lnTo>
                <a:lnTo>
                  <a:pt x="140" y="30"/>
                </a:lnTo>
                <a:lnTo>
                  <a:pt x="148" y="30"/>
                </a:lnTo>
                <a:lnTo>
                  <a:pt x="154" y="28"/>
                </a:lnTo>
                <a:lnTo>
                  <a:pt x="140" y="20"/>
                </a:lnTo>
                <a:lnTo>
                  <a:pt x="132" y="16"/>
                </a:lnTo>
                <a:lnTo>
                  <a:pt x="124" y="8"/>
                </a:lnTo>
                <a:lnTo>
                  <a:pt x="120" y="2"/>
                </a:lnTo>
                <a:lnTo>
                  <a:pt x="110" y="0"/>
                </a:lnTo>
                <a:lnTo>
                  <a:pt x="102" y="10"/>
                </a:lnTo>
                <a:lnTo>
                  <a:pt x="96" y="18"/>
                </a:lnTo>
                <a:lnTo>
                  <a:pt x="92" y="22"/>
                </a:lnTo>
                <a:lnTo>
                  <a:pt x="88" y="28"/>
                </a:lnTo>
                <a:lnTo>
                  <a:pt x="98" y="36"/>
                </a:lnTo>
                <a:lnTo>
                  <a:pt x="94" y="40"/>
                </a:lnTo>
                <a:lnTo>
                  <a:pt x="88" y="36"/>
                </a:lnTo>
                <a:lnTo>
                  <a:pt x="84" y="38"/>
                </a:lnTo>
                <a:lnTo>
                  <a:pt x="82" y="46"/>
                </a:lnTo>
                <a:lnTo>
                  <a:pt x="76" y="46"/>
                </a:lnTo>
                <a:lnTo>
                  <a:pt x="68" y="40"/>
                </a:lnTo>
                <a:lnTo>
                  <a:pt x="60" y="54"/>
                </a:lnTo>
                <a:lnTo>
                  <a:pt x="52" y="64"/>
                </a:lnTo>
                <a:lnTo>
                  <a:pt x="40" y="62"/>
                </a:lnTo>
                <a:lnTo>
                  <a:pt x="28" y="66"/>
                </a:lnTo>
                <a:lnTo>
                  <a:pt x="22" y="78"/>
                </a:lnTo>
                <a:lnTo>
                  <a:pt x="26" y="84"/>
                </a:lnTo>
                <a:lnTo>
                  <a:pt x="28" y="88"/>
                </a:lnTo>
                <a:lnTo>
                  <a:pt x="20" y="92"/>
                </a:lnTo>
                <a:lnTo>
                  <a:pt x="14" y="84"/>
                </a:lnTo>
                <a:lnTo>
                  <a:pt x="10" y="80"/>
                </a:lnTo>
                <a:lnTo>
                  <a:pt x="0" y="8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00" name="Freeform 237">
            <a:extLst>
              <a:ext uri="{FF2B5EF4-FFF2-40B4-BE49-F238E27FC236}">
                <a16:creationId xmlns:a16="http://schemas.microsoft.com/office/drawing/2014/main" id="{12C66A0A-C74F-4068-8B03-A2B3F45D0BCE}"/>
              </a:ext>
            </a:extLst>
          </p:cNvPr>
          <p:cNvSpPr>
            <a:spLocks/>
          </p:cNvSpPr>
          <p:nvPr/>
        </p:nvSpPr>
        <p:spPr bwMode="gray">
          <a:xfrm>
            <a:off x="3867252" y="2353390"/>
            <a:ext cx="116198" cy="89460"/>
          </a:xfrm>
          <a:custGeom>
            <a:avLst/>
            <a:gdLst>
              <a:gd name="T0" fmla="*/ 14 w 160"/>
              <a:gd name="T1" fmla="*/ 46 h 134"/>
              <a:gd name="T2" fmla="*/ 24 w 160"/>
              <a:gd name="T3" fmla="*/ 56 h 134"/>
              <a:gd name="T4" fmla="*/ 36 w 160"/>
              <a:gd name="T5" fmla="*/ 56 h 134"/>
              <a:gd name="T6" fmla="*/ 44 w 160"/>
              <a:gd name="T7" fmla="*/ 54 h 134"/>
              <a:gd name="T8" fmla="*/ 66 w 160"/>
              <a:gd name="T9" fmla="*/ 46 h 134"/>
              <a:gd name="T10" fmla="*/ 74 w 160"/>
              <a:gd name="T11" fmla="*/ 54 h 134"/>
              <a:gd name="T12" fmla="*/ 86 w 160"/>
              <a:gd name="T13" fmla="*/ 48 h 134"/>
              <a:gd name="T14" fmla="*/ 98 w 160"/>
              <a:gd name="T15" fmla="*/ 36 h 134"/>
              <a:gd name="T16" fmla="*/ 108 w 160"/>
              <a:gd name="T17" fmla="*/ 18 h 134"/>
              <a:gd name="T18" fmla="*/ 110 w 160"/>
              <a:gd name="T19" fmla="*/ 6 h 134"/>
              <a:gd name="T20" fmla="*/ 116 w 160"/>
              <a:gd name="T21" fmla="*/ 2 h 134"/>
              <a:gd name="T22" fmla="*/ 132 w 160"/>
              <a:gd name="T23" fmla="*/ 0 h 134"/>
              <a:gd name="T24" fmla="*/ 140 w 160"/>
              <a:gd name="T25" fmla="*/ 6 h 134"/>
              <a:gd name="T26" fmla="*/ 138 w 160"/>
              <a:gd name="T27" fmla="*/ 14 h 134"/>
              <a:gd name="T28" fmla="*/ 132 w 160"/>
              <a:gd name="T29" fmla="*/ 16 h 134"/>
              <a:gd name="T30" fmla="*/ 140 w 160"/>
              <a:gd name="T31" fmla="*/ 26 h 134"/>
              <a:gd name="T32" fmla="*/ 146 w 160"/>
              <a:gd name="T33" fmla="*/ 42 h 134"/>
              <a:gd name="T34" fmla="*/ 150 w 160"/>
              <a:gd name="T35" fmla="*/ 48 h 134"/>
              <a:gd name="T36" fmla="*/ 160 w 160"/>
              <a:gd name="T37" fmla="*/ 56 h 134"/>
              <a:gd name="T38" fmla="*/ 156 w 160"/>
              <a:gd name="T39" fmla="*/ 60 h 134"/>
              <a:gd name="T40" fmla="*/ 144 w 160"/>
              <a:gd name="T41" fmla="*/ 58 h 134"/>
              <a:gd name="T42" fmla="*/ 138 w 160"/>
              <a:gd name="T43" fmla="*/ 64 h 134"/>
              <a:gd name="T44" fmla="*/ 136 w 160"/>
              <a:gd name="T45" fmla="*/ 84 h 134"/>
              <a:gd name="T46" fmla="*/ 120 w 160"/>
              <a:gd name="T47" fmla="*/ 96 h 134"/>
              <a:gd name="T48" fmla="*/ 122 w 160"/>
              <a:gd name="T49" fmla="*/ 112 h 134"/>
              <a:gd name="T50" fmla="*/ 120 w 160"/>
              <a:gd name="T51" fmla="*/ 118 h 134"/>
              <a:gd name="T52" fmla="*/ 118 w 160"/>
              <a:gd name="T53" fmla="*/ 134 h 134"/>
              <a:gd name="T54" fmla="*/ 94 w 160"/>
              <a:gd name="T55" fmla="*/ 132 h 134"/>
              <a:gd name="T56" fmla="*/ 92 w 160"/>
              <a:gd name="T57" fmla="*/ 124 h 134"/>
              <a:gd name="T58" fmla="*/ 64 w 160"/>
              <a:gd name="T59" fmla="*/ 120 h 134"/>
              <a:gd name="T60" fmla="*/ 60 w 160"/>
              <a:gd name="T61" fmla="*/ 126 h 134"/>
              <a:gd name="T62" fmla="*/ 46 w 160"/>
              <a:gd name="T63" fmla="*/ 124 h 134"/>
              <a:gd name="T64" fmla="*/ 44 w 160"/>
              <a:gd name="T65" fmla="*/ 116 h 134"/>
              <a:gd name="T66" fmla="*/ 24 w 160"/>
              <a:gd name="T67" fmla="*/ 116 h 134"/>
              <a:gd name="T68" fmla="*/ 20 w 160"/>
              <a:gd name="T69" fmla="*/ 96 h 134"/>
              <a:gd name="T70" fmla="*/ 12 w 160"/>
              <a:gd name="T71" fmla="*/ 86 h 134"/>
              <a:gd name="T72" fmla="*/ 2 w 160"/>
              <a:gd name="T73" fmla="*/ 66 h 134"/>
              <a:gd name="T74" fmla="*/ 0 w 160"/>
              <a:gd name="T75" fmla="*/ 54 h 134"/>
              <a:gd name="T76" fmla="*/ 6 w 160"/>
              <a:gd name="T77" fmla="*/ 46 h 134"/>
              <a:gd name="T78" fmla="*/ 14 w 160"/>
              <a:gd name="T79" fmla="*/ 46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60" h="134">
                <a:moveTo>
                  <a:pt x="14" y="46"/>
                </a:moveTo>
                <a:lnTo>
                  <a:pt x="24" y="56"/>
                </a:lnTo>
                <a:lnTo>
                  <a:pt x="36" y="56"/>
                </a:lnTo>
                <a:lnTo>
                  <a:pt x="44" y="54"/>
                </a:lnTo>
                <a:lnTo>
                  <a:pt x="66" y="46"/>
                </a:lnTo>
                <a:lnTo>
                  <a:pt x="74" y="54"/>
                </a:lnTo>
                <a:lnTo>
                  <a:pt x="86" y="48"/>
                </a:lnTo>
                <a:lnTo>
                  <a:pt x="98" y="36"/>
                </a:lnTo>
                <a:lnTo>
                  <a:pt x="108" y="18"/>
                </a:lnTo>
                <a:lnTo>
                  <a:pt x="110" y="6"/>
                </a:lnTo>
                <a:lnTo>
                  <a:pt x="116" y="2"/>
                </a:lnTo>
                <a:lnTo>
                  <a:pt x="132" y="0"/>
                </a:lnTo>
                <a:lnTo>
                  <a:pt x="140" y="6"/>
                </a:lnTo>
                <a:lnTo>
                  <a:pt x="138" y="14"/>
                </a:lnTo>
                <a:lnTo>
                  <a:pt x="132" y="16"/>
                </a:lnTo>
                <a:lnTo>
                  <a:pt x="140" y="26"/>
                </a:lnTo>
                <a:lnTo>
                  <a:pt x="146" y="42"/>
                </a:lnTo>
                <a:lnTo>
                  <a:pt x="150" y="48"/>
                </a:lnTo>
                <a:lnTo>
                  <a:pt x="160" y="56"/>
                </a:lnTo>
                <a:lnTo>
                  <a:pt x="156" y="60"/>
                </a:lnTo>
                <a:lnTo>
                  <a:pt x="144" y="58"/>
                </a:lnTo>
                <a:lnTo>
                  <a:pt x="138" y="64"/>
                </a:lnTo>
                <a:lnTo>
                  <a:pt x="136" y="84"/>
                </a:lnTo>
                <a:lnTo>
                  <a:pt x="120" y="96"/>
                </a:lnTo>
                <a:lnTo>
                  <a:pt x="122" y="112"/>
                </a:lnTo>
                <a:lnTo>
                  <a:pt x="120" y="118"/>
                </a:lnTo>
                <a:lnTo>
                  <a:pt x="118" y="134"/>
                </a:lnTo>
                <a:lnTo>
                  <a:pt x="94" y="132"/>
                </a:lnTo>
                <a:lnTo>
                  <a:pt x="92" y="124"/>
                </a:lnTo>
                <a:lnTo>
                  <a:pt x="64" y="120"/>
                </a:lnTo>
                <a:lnTo>
                  <a:pt x="60" y="126"/>
                </a:lnTo>
                <a:lnTo>
                  <a:pt x="46" y="124"/>
                </a:lnTo>
                <a:lnTo>
                  <a:pt x="44" y="116"/>
                </a:lnTo>
                <a:lnTo>
                  <a:pt x="24" y="116"/>
                </a:lnTo>
                <a:lnTo>
                  <a:pt x="20" y="96"/>
                </a:lnTo>
                <a:lnTo>
                  <a:pt x="12" y="86"/>
                </a:lnTo>
                <a:lnTo>
                  <a:pt x="2" y="66"/>
                </a:lnTo>
                <a:lnTo>
                  <a:pt x="0" y="54"/>
                </a:lnTo>
                <a:lnTo>
                  <a:pt x="6" y="46"/>
                </a:lnTo>
                <a:lnTo>
                  <a:pt x="14" y="4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01" name="Freeform 238">
            <a:extLst>
              <a:ext uri="{FF2B5EF4-FFF2-40B4-BE49-F238E27FC236}">
                <a16:creationId xmlns:a16="http://schemas.microsoft.com/office/drawing/2014/main" id="{B45118F4-479E-45C5-9798-65E7059C55E5}"/>
              </a:ext>
            </a:extLst>
          </p:cNvPr>
          <p:cNvSpPr>
            <a:spLocks/>
          </p:cNvSpPr>
          <p:nvPr/>
        </p:nvSpPr>
        <p:spPr bwMode="gray">
          <a:xfrm>
            <a:off x="3708931" y="2344044"/>
            <a:ext cx="124913" cy="117500"/>
          </a:xfrm>
          <a:custGeom>
            <a:avLst/>
            <a:gdLst>
              <a:gd name="T0" fmla="*/ 0 w 172"/>
              <a:gd name="T1" fmla="*/ 0 h 176"/>
              <a:gd name="T2" fmla="*/ 20 w 172"/>
              <a:gd name="T3" fmla="*/ 2 h 176"/>
              <a:gd name="T4" fmla="*/ 38 w 172"/>
              <a:gd name="T5" fmla="*/ 4 h 176"/>
              <a:gd name="T6" fmla="*/ 48 w 172"/>
              <a:gd name="T7" fmla="*/ 18 h 176"/>
              <a:gd name="T8" fmla="*/ 60 w 172"/>
              <a:gd name="T9" fmla="*/ 28 h 176"/>
              <a:gd name="T10" fmla="*/ 72 w 172"/>
              <a:gd name="T11" fmla="*/ 36 h 176"/>
              <a:gd name="T12" fmla="*/ 84 w 172"/>
              <a:gd name="T13" fmla="*/ 50 h 176"/>
              <a:gd name="T14" fmla="*/ 96 w 172"/>
              <a:gd name="T15" fmla="*/ 54 h 176"/>
              <a:gd name="T16" fmla="*/ 108 w 172"/>
              <a:gd name="T17" fmla="*/ 64 h 176"/>
              <a:gd name="T18" fmla="*/ 122 w 172"/>
              <a:gd name="T19" fmla="*/ 78 h 176"/>
              <a:gd name="T20" fmla="*/ 134 w 172"/>
              <a:gd name="T21" fmla="*/ 84 h 176"/>
              <a:gd name="T22" fmla="*/ 134 w 172"/>
              <a:gd name="T23" fmla="*/ 96 h 176"/>
              <a:gd name="T24" fmla="*/ 136 w 172"/>
              <a:gd name="T25" fmla="*/ 102 h 176"/>
              <a:gd name="T26" fmla="*/ 144 w 172"/>
              <a:gd name="T27" fmla="*/ 104 h 176"/>
              <a:gd name="T28" fmla="*/ 152 w 172"/>
              <a:gd name="T29" fmla="*/ 116 h 176"/>
              <a:gd name="T30" fmla="*/ 152 w 172"/>
              <a:gd name="T31" fmla="*/ 124 h 176"/>
              <a:gd name="T32" fmla="*/ 150 w 172"/>
              <a:gd name="T33" fmla="*/ 130 h 176"/>
              <a:gd name="T34" fmla="*/ 160 w 172"/>
              <a:gd name="T35" fmla="*/ 124 h 176"/>
              <a:gd name="T36" fmla="*/ 172 w 172"/>
              <a:gd name="T37" fmla="*/ 130 h 176"/>
              <a:gd name="T38" fmla="*/ 172 w 172"/>
              <a:gd name="T39" fmla="*/ 156 h 176"/>
              <a:gd name="T40" fmla="*/ 170 w 172"/>
              <a:gd name="T41" fmla="*/ 176 h 176"/>
              <a:gd name="T42" fmla="*/ 160 w 172"/>
              <a:gd name="T43" fmla="*/ 174 h 176"/>
              <a:gd name="T44" fmla="*/ 152 w 172"/>
              <a:gd name="T45" fmla="*/ 176 h 176"/>
              <a:gd name="T46" fmla="*/ 142 w 172"/>
              <a:gd name="T47" fmla="*/ 174 h 176"/>
              <a:gd name="T48" fmla="*/ 96 w 172"/>
              <a:gd name="T49" fmla="*/ 128 h 176"/>
              <a:gd name="T50" fmla="*/ 90 w 172"/>
              <a:gd name="T51" fmla="*/ 120 h 176"/>
              <a:gd name="T52" fmla="*/ 86 w 172"/>
              <a:gd name="T53" fmla="*/ 106 h 176"/>
              <a:gd name="T54" fmla="*/ 64 w 172"/>
              <a:gd name="T55" fmla="*/ 80 h 176"/>
              <a:gd name="T56" fmla="*/ 60 w 172"/>
              <a:gd name="T57" fmla="*/ 70 h 176"/>
              <a:gd name="T58" fmla="*/ 60 w 172"/>
              <a:gd name="T59" fmla="*/ 62 h 176"/>
              <a:gd name="T60" fmla="*/ 46 w 172"/>
              <a:gd name="T61" fmla="*/ 50 h 176"/>
              <a:gd name="T62" fmla="*/ 38 w 172"/>
              <a:gd name="T63" fmla="*/ 50 h 176"/>
              <a:gd name="T64" fmla="*/ 38 w 172"/>
              <a:gd name="T65" fmla="*/ 42 h 176"/>
              <a:gd name="T66" fmla="*/ 20 w 172"/>
              <a:gd name="T67" fmla="*/ 22 h 176"/>
              <a:gd name="T68" fmla="*/ 4 w 172"/>
              <a:gd name="T69" fmla="*/ 10 h 176"/>
              <a:gd name="T70" fmla="*/ 0 w 172"/>
              <a:gd name="T71" fmla="*/ 0 h 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72" h="176">
                <a:moveTo>
                  <a:pt x="0" y="0"/>
                </a:moveTo>
                <a:lnTo>
                  <a:pt x="20" y="2"/>
                </a:lnTo>
                <a:lnTo>
                  <a:pt x="38" y="4"/>
                </a:lnTo>
                <a:lnTo>
                  <a:pt x="48" y="18"/>
                </a:lnTo>
                <a:lnTo>
                  <a:pt x="60" y="28"/>
                </a:lnTo>
                <a:lnTo>
                  <a:pt x="72" y="36"/>
                </a:lnTo>
                <a:lnTo>
                  <a:pt x="84" y="50"/>
                </a:lnTo>
                <a:lnTo>
                  <a:pt x="96" y="54"/>
                </a:lnTo>
                <a:lnTo>
                  <a:pt x="108" y="64"/>
                </a:lnTo>
                <a:lnTo>
                  <a:pt x="122" y="78"/>
                </a:lnTo>
                <a:lnTo>
                  <a:pt x="134" y="84"/>
                </a:lnTo>
                <a:lnTo>
                  <a:pt x="134" y="96"/>
                </a:lnTo>
                <a:lnTo>
                  <a:pt x="136" y="102"/>
                </a:lnTo>
                <a:lnTo>
                  <a:pt x="144" y="104"/>
                </a:lnTo>
                <a:lnTo>
                  <a:pt x="152" y="116"/>
                </a:lnTo>
                <a:lnTo>
                  <a:pt x="152" y="124"/>
                </a:lnTo>
                <a:lnTo>
                  <a:pt x="150" y="130"/>
                </a:lnTo>
                <a:lnTo>
                  <a:pt x="160" y="124"/>
                </a:lnTo>
                <a:lnTo>
                  <a:pt x="172" y="130"/>
                </a:lnTo>
                <a:lnTo>
                  <a:pt x="172" y="156"/>
                </a:lnTo>
                <a:lnTo>
                  <a:pt x="170" y="176"/>
                </a:lnTo>
                <a:lnTo>
                  <a:pt x="160" y="174"/>
                </a:lnTo>
                <a:lnTo>
                  <a:pt x="152" y="176"/>
                </a:lnTo>
                <a:lnTo>
                  <a:pt x="142" y="174"/>
                </a:lnTo>
                <a:lnTo>
                  <a:pt x="96" y="128"/>
                </a:lnTo>
                <a:lnTo>
                  <a:pt x="90" y="120"/>
                </a:lnTo>
                <a:lnTo>
                  <a:pt x="86" y="106"/>
                </a:lnTo>
                <a:lnTo>
                  <a:pt x="64" y="80"/>
                </a:lnTo>
                <a:lnTo>
                  <a:pt x="60" y="70"/>
                </a:lnTo>
                <a:lnTo>
                  <a:pt x="60" y="62"/>
                </a:lnTo>
                <a:lnTo>
                  <a:pt x="46" y="50"/>
                </a:lnTo>
                <a:lnTo>
                  <a:pt x="38" y="50"/>
                </a:lnTo>
                <a:lnTo>
                  <a:pt x="38" y="42"/>
                </a:lnTo>
                <a:lnTo>
                  <a:pt x="20" y="22"/>
                </a:lnTo>
                <a:lnTo>
                  <a:pt x="4" y="1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02" name="Freeform 239">
            <a:extLst>
              <a:ext uri="{FF2B5EF4-FFF2-40B4-BE49-F238E27FC236}">
                <a16:creationId xmlns:a16="http://schemas.microsoft.com/office/drawing/2014/main" id="{AA37263F-4C3A-4E78-B486-8BFB69E175F1}"/>
              </a:ext>
            </a:extLst>
          </p:cNvPr>
          <p:cNvSpPr>
            <a:spLocks/>
          </p:cNvSpPr>
          <p:nvPr/>
        </p:nvSpPr>
        <p:spPr bwMode="gray">
          <a:xfrm>
            <a:off x="3851274" y="2428163"/>
            <a:ext cx="11620" cy="9347"/>
          </a:xfrm>
          <a:custGeom>
            <a:avLst/>
            <a:gdLst>
              <a:gd name="T0" fmla="*/ 0 w 16"/>
              <a:gd name="T1" fmla="*/ 6 h 14"/>
              <a:gd name="T2" fmla="*/ 6 w 16"/>
              <a:gd name="T3" fmla="*/ 0 h 14"/>
              <a:gd name="T4" fmla="*/ 16 w 16"/>
              <a:gd name="T5" fmla="*/ 4 h 14"/>
              <a:gd name="T6" fmla="*/ 14 w 16"/>
              <a:gd name="T7" fmla="*/ 12 h 14"/>
              <a:gd name="T8" fmla="*/ 6 w 16"/>
              <a:gd name="T9" fmla="*/ 14 h 14"/>
              <a:gd name="T10" fmla="*/ 0 w 16"/>
              <a:gd name="T11" fmla="*/ 6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6" h="14">
                <a:moveTo>
                  <a:pt x="0" y="6"/>
                </a:moveTo>
                <a:lnTo>
                  <a:pt x="6" y="0"/>
                </a:lnTo>
                <a:lnTo>
                  <a:pt x="16" y="4"/>
                </a:lnTo>
                <a:lnTo>
                  <a:pt x="14" y="12"/>
                </a:lnTo>
                <a:lnTo>
                  <a:pt x="6" y="14"/>
                </a:lnTo>
                <a:lnTo>
                  <a:pt x="0" y="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03" name="Freeform 240">
            <a:extLst>
              <a:ext uri="{FF2B5EF4-FFF2-40B4-BE49-F238E27FC236}">
                <a16:creationId xmlns:a16="http://schemas.microsoft.com/office/drawing/2014/main" id="{7D2BF18C-2474-44F9-856B-4DD61BD9DD52}"/>
              </a:ext>
            </a:extLst>
          </p:cNvPr>
          <p:cNvSpPr>
            <a:spLocks/>
          </p:cNvSpPr>
          <p:nvPr/>
        </p:nvSpPr>
        <p:spPr bwMode="gray">
          <a:xfrm>
            <a:off x="3826582" y="2417481"/>
            <a:ext cx="18882" cy="18693"/>
          </a:xfrm>
          <a:custGeom>
            <a:avLst/>
            <a:gdLst>
              <a:gd name="T0" fmla="*/ 0 w 26"/>
              <a:gd name="T1" fmla="*/ 0 h 28"/>
              <a:gd name="T2" fmla="*/ 12 w 26"/>
              <a:gd name="T3" fmla="*/ 0 h 28"/>
              <a:gd name="T4" fmla="*/ 14 w 26"/>
              <a:gd name="T5" fmla="*/ 10 h 28"/>
              <a:gd name="T6" fmla="*/ 18 w 26"/>
              <a:gd name="T7" fmla="*/ 16 h 28"/>
              <a:gd name="T8" fmla="*/ 24 w 26"/>
              <a:gd name="T9" fmla="*/ 18 h 28"/>
              <a:gd name="T10" fmla="*/ 26 w 26"/>
              <a:gd name="T11" fmla="*/ 26 h 28"/>
              <a:gd name="T12" fmla="*/ 20 w 26"/>
              <a:gd name="T13" fmla="*/ 28 h 28"/>
              <a:gd name="T14" fmla="*/ 14 w 26"/>
              <a:gd name="T15" fmla="*/ 24 h 28"/>
              <a:gd name="T16" fmla="*/ 12 w 26"/>
              <a:gd name="T17" fmla="*/ 16 h 28"/>
              <a:gd name="T18" fmla="*/ 6 w 26"/>
              <a:gd name="T19" fmla="*/ 10 h 28"/>
              <a:gd name="T20" fmla="*/ 0 w 26"/>
              <a:gd name="T21" fmla="*/ 8 h 28"/>
              <a:gd name="T22" fmla="*/ 0 w 26"/>
              <a:gd name="T23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" h="28">
                <a:moveTo>
                  <a:pt x="0" y="0"/>
                </a:moveTo>
                <a:lnTo>
                  <a:pt x="12" y="0"/>
                </a:lnTo>
                <a:lnTo>
                  <a:pt x="14" y="10"/>
                </a:lnTo>
                <a:lnTo>
                  <a:pt x="18" y="16"/>
                </a:lnTo>
                <a:lnTo>
                  <a:pt x="24" y="18"/>
                </a:lnTo>
                <a:lnTo>
                  <a:pt x="26" y="26"/>
                </a:lnTo>
                <a:lnTo>
                  <a:pt x="20" y="28"/>
                </a:lnTo>
                <a:lnTo>
                  <a:pt x="14" y="24"/>
                </a:lnTo>
                <a:lnTo>
                  <a:pt x="12" y="16"/>
                </a:lnTo>
                <a:lnTo>
                  <a:pt x="6" y="10"/>
                </a:lnTo>
                <a:lnTo>
                  <a:pt x="0" y="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04" name="Freeform 241">
            <a:extLst>
              <a:ext uri="{FF2B5EF4-FFF2-40B4-BE49-F238E27FC236}">
                <a16:creationId xmlns:a16="http://schemas.microsoft.com/office/drawing/2014/main" id="{54557916-4179-47A1-B9C7-DD1A93773D35}"/>
              </a:ext>
            </a:extLst>
          </p:cNvPr>
          <p:cNvSpPr>
            <a:spLocks/>
          </p:cNvSpPr>
          <p:nvPr/>
        </p:nvSpPr>
        <p:spPr bwMode="gray">
          <a:xfrm>
            <a:off x="3829487" y="2465549"/>
            <a:ext cx="114746" cy="29375"/>
          </a:xfrm>
          <a:custGeom>
            <a:avLst/>
            <a:gdLst>
              <a:gd name="T0" fmla="*/ 8 w 158"/>
              <a:gd name="T1" fmla="*/ 2 h 44"/>
              <a:gd name="T2" fmla="*/ 28 w 158"/>
              <a:gd name="T3" fmla="*/ 0 h 44"/>
              <a:gd name="T4" fmla="*/ 46 w 158"/>
              <a:gd name="T5" fmla="*/ 10 h 44"/>
              <a:gd name="T6" fmla="*/ 56 w 158"/>
              <a:gd name="T7" fmla="*/ 14 h 44"/>
              <a:gd name="T8" fmla="*/ 74 w 158"/>
              <a:gd name="T9" fmla="*/ 14 h 44"/>
              <a:gd name="T10" fmla="*/ 84 w 158"/>
              <a:gd name="T11" fmla="*/ 10 h 44"/>
              <a:gd name="T12" fmla="*/ 100 w 158"/>
              <a:gd name="T13" fmla="*/ 10 h 44"/>
              <a:gd name="T14" fmla="*/ 112 w 158"/>
              <a:gd name="T15" fmla="*/ 18 h 44"/>
              <a:gd name="T16" fmla="*/ 114 w 158"/>
              <a:gd name="T17" fmla="*/ 24 h 44"/>
              <a:gd name="T18" fmla="*/ 134 w 158"/>
              <a:gd name="T19" fmla="*/ 26 h 44"/>
              <a:gd name="T20" fmla="*/ 142 w 158"/>
              <a:gd name="T21" fmla="*/ 26 h 44"/>
              <a:gd name="T22" fmla="*/ 144 w 158"/>
              <a:gd name="T23" fmla="*/ 32 h 44"/>
              <a:gd name="T24" fmla="*/ 154 w 158"/>
              <a:gd name="T25" fmla="*/ 36 h 44"/>
              <a:gd name="T26" fmla="*/ 158 w 158"/>
              <a:gd name="T27" fmla="*/ 42 h 44"/>
              <a:gd name="T28" fmla="*/ 144 w 158"/>
              <a:gd name="T29" fmla="*/ 44 h 44"/>
              <a:gd name="T30" fmla="*/ 126 w 158"/>
              <a:gd name="T31" fmla="*/ 40 h 44"/>
              <a:gd name="T32" fmla="*/ 116 w 158"/>
              <a:gd name="T33" fmla="*/ 38 h 44"/>
              <a:gd name="T34" fmla="*/ 108 w 158"/>
              <a:gd name="T35" fmla="*/ 38 h 44"/>
              <a:gd name="T36" fmla="*/ 78 w 158"/>
              <a:gd name="T37" fmla="*/ 36 h 44"/>
              <a:gd name="T38" fmla="*/ 68 w 158"/>
              <a:gd name="T39" fmla="*/ 28 h 44"/>
              <a:gd name="T40" fmla="*/ 36 w 158"/>
              <a:gd name="T41" fmla="*/ 28 h 44"/>
              <a:gd name="T42" fmla="*/ 26 w 158"/>
              <a:gd name="T43" fmla="*/ 24 h 44"/>
              <a:gd name="T44" fmla="*/ 14 w 158"/>
              <a:gd name="T45" fmla="*/ 20 h 44"/>
              <a:gd name="T46" fmla="*/ 10 w 158"/>
              <a:gd name="T47" fmla="*/ 16 h 44"/>
              <a:gd name="T48" fmla="*/ 0 w 158"/>
              <a:gd name="T49" fmla="*/ 10 h 44"/>
              <a:gd name="T50" fmla="*/ 8 w 158"/>
              <a:gd name="T51" fmla="*/ 2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58" h="44">
                <a:moveTo>
                  <a:pt x="8" y="2"/>
                </a:moveTo>
                <a:lnTo>
                  <a:pt x="28" y="0"/>
                </a:lnTo>
                <a:lnTo>
                  <a:pt x="46" y="10"/>
                </a:lnTo>
                <a:lnTo>
                  <a:pt x="56" y="14"/>
                </a:lnTo>
                <a:lnTo>
                  <a:pt x="74" y="14"/>
                </a:lnTo>
                <a:lnTo>
                  <a:pt x="84" y="10"/>
                </a:lnTo>
                <a:lnTo>
                  <a:pt x="100" y="10"/>
                </a:lnTo>
                <a:lnTo>
                  <a:pt x="112" y="18"/>
                </a:lnTo>
                <a:lnTo>
                  <a:pt x="114" y="24"/>
                </a:lnTo>
                <a:lnTo>
                  <a:pt x="134" y="26"/>
                </a:lnTo>
                <a:lnTo>
                  <a:pt x="142" y="26"/>
                </a:lnTo>
                <a:lnTo>
                  <a:pt x="144" y="32"/>
                </a:lnTo>
                <a:lnTo>
                  <a:pt x="154" y="36"/>
                </a:lnTo>
                <a:lnTo>
                  <a:pt x="158" y="42"/>
                </a:lnTo>
                <a:lnTo>
                  <a:pt x="144" y="44"/>
                </a:lnTo>
                <a:lnTo>
                  <a:pt x="126" y="40"/>
                </a:lnTo>
                <a:lnTo>
                  <a:pt x="116" y="38"/>
                </a:lnTo>
                <a:lnTo>
                  <a:pt x="108" y="38"/>
                </a:lnTo>
                <a:lnTo>
                  <a:pt x="78" y="36"/>
                </a:lnTo>
                <a:lnTo>
                  <a:pt x="68" y="28"/>
                </a:lnTo>
                <a:lnTo>
                  <a:pt x="36" y="28"/>
                </a:lnTo>
                <a:lnTo>
                  <a:pt x="26" y="24"/>
                </a:lnTo>
                <a:lnTo>
                  <a:pt x="14" y="20"/>
                </a:lnTo>
                <a:lnTo>
                  <a:pt x="10" y="16"/>
                </a:lnTo>
                <a:lnTo>
                  <a:pt x="0" y="10"/>
                </a:lnTo>
                <a:lnTo>
                  <a:pt x="8" y="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05" name="Freeform 242">
            <a:extLst>
              <a:ext uri="{FF2B5EF4-FFF2-40B4-BE49-F238E27FC236}">
                <a16:creationId xmlns:a16="http://schemas.microsoft.com/office/drawing/2014/main" id="{7B692B36-BC94-4889-B82D-1CF8B5CF0686}"/>
              </a:ext>
            </a:extLst>
          </p:cNvPr>
          <p:cNvSpPr>
            <a:spLocks/>
          </p:cNvSpPr>
          <p:nvPr/>
        </p:nvSpPr>
        <p:spPr bwMode="gray">
          <a:xfrm>
            <a:off x="4038644" y="2488248"/>
            <a:ext cx="40669" cy="24034"/>
          </a:xfrm>
          <a:custGeom>
            <a:avLst/>
            <a:gdLst>
              <a:gd name="T0" fmla="*/ 0 w 56"/>
              <a:gd name="T1" fmla="*/ 36 h 36"/>
              <a:gd name="T2" fmla="*/ 18 w 56"/>
              <a:gd name="T3" fmla="*/ 28 h 36"/>
              <a:gd name="T4" fmla="*/ 30 w 56"/>
              <a:gd name="T5" fmla="*/ 18 h 36"/>
              <a:gd name="T6" fmla="*/ 54 w 56"/>
              <a:gd name="T7" fmla="*/ 8 h 36"/>
              <a:gd name="T8" fmla="*/ 56 w 56"/>
              <a:gd name="T9" fmla="*/ 2 h 36"/>
              <a:gd name="T10" fmla="*/ 38 w 56"/>
              <a:gd name="T11" fmla="*/ 0 h 36"/>
              <a:gd name="T12" fmla="*/ 24 w 56"/>
              <a:gd name="T13" fmla="*/ 8 h 36"/>
              <a:gd name="T14" fmla="*/ 14 w 56"/>
              <a:gd name="T15" fmla="*/ 16 h 36"/>
              <a:gd name="T16" fmla="*/ 8 w 56"/>
              <a:gd name="T17" fmla="*/ 18 h 36"/>
              <a:gd name="T18" fmla="*/ 2 w 56"/>
              <a:gd name="T19" fmla="*/ 22 h 36"/>
              <a:gd name="T20" fmla="*/ 0 w 56"/>
              <a:gd name="T21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6" h="36">
                <a:moveTo>
                  <a:pt x="0" y="36"/>
                </a:moveTo>
                <a:lnTo>
                  <a:pt x="18" y="28"/>
                </a:lnTo>
                <a:lnTo>
                  <a:pt x="30" y="18"/>
                </a:lnTo>
                <a:lnTo>
                  <a:pt x="54" y="8"/>
                </a:lnTo>
                <a:lnTo>
                  <a:pt x="56" y="2"/>
                </a:lnTo>
                <a:lnTo>
                  <a:pt x="38" y="0"/>
                </a:lnTo>
                <a:lnTo>
                  <a:pt x="24" y="8"/>
                </a:lnTo>
                <a:lnTo>
                  <a:pt x="14" y="16"/>
                </a:lnTo>
                <a:lnTo>
                  <a:pt x="8" y="18"/>
                </a:lnTo>
                <a:lnTo>
                  <a:pt x="2" y="22"/>
                </a:lnTo>
                <a:lnTo>
                  <a:pt x="0" y="3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06" name="Freeform 243">
            <a:extLst>
              <a:ext uri="{FF2B5EF4-FFF2-40B4-BE49-F238E27FC236}">
                <a16:creationId xmlns:a16="http://schemas.microsoft.com/office/drawing/2014/main" id="{D18AE6CF-472B-460D-BA3E-6A1EC21A1DD6}"/>
              </a:ext>
            </a:extLst>
          </p:cNvPr>
          <p:cNvSpPr>
            <a:spLocks/>
          </p:cNvSpPr>
          <p:nvPr/>
        </p:nvSpPr>
        <p:spPr bwMode="gray">
          <a:xfrm>
            <a:off x="3984903" y="2500265"/>
            <a:ext cx="21787" cy="10682"/>
          </a:xfrm>
          <a:custGeom>
            <a:avLst/>
            <a:gdLst>
              <a:gd name="T0" fmla="*/ 2 w 30"/>
              <a:gd name="T1" fmla="*/ 0 h 16"/>
              <a:gd name="T2" fmla="*/ 14 w 30"/>
              <a:gd name="T3" fmla="*/ 0 h 16"/>
              <a:gd name="T4" fmla="*/ 24 w 30"/>
              <a:gd name="T5" fmla="*/ 6 h 16"/>
              <a:gd name="T6" fmla="*/ 30 w 30"/>
              <a:gd name="T7" fmla="*/ 12 h 16"/>
              <a:gd name="T8" fmla="*/ 26 w 30"/>
              <a:gd name="T9" fmla="*/ 16 h 16"/>
              <a:gd name="T10" fmla="*/ 14 w 30"/>
              <a:gd name="T11" fmla="*/ 14 h 16"/>
              <a:gd name="T12" fmla="*/ 4 w 30"/>
              <a:gd name="T13" fmla="*/ 8 h 16"/>
              <a:gd name="T14" fmla="*/ 0 w 30"/>
              <a:gd name="T15" fmla="*/ 4 h 16"/>
              <a:gd name="T16" fmla="*/ 2 w 30"/>
              <a:gd name="T17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0" h="16">
                <a:moveTo>
                  <a:pt x="2" y="0"/>
                </a:moveTo>
                <a:lnTo>
                  <a:pt x="14" y="0"/>
                </a:lnTo>
                <a:lnTo>
                  <a:pt x="24" y="6"/>
                </a:lnTo>
                <a:lnTo>
                  <a:pt x="30" y="12"/>
                </a:lnTo>
                <a:lnTo>
                  <a:pt x="26" y="16"/>
                </a:lnTo>
                <a:lnTo>
                  <a:pt x="14" y="14"/>
                </a:lnTo>
                <a:lnTo>
                  <a:pt x="4" y="8"/>
                </a:lnTo>
                <a:lnTo>
                  <a:pt x="0" y="4"/>
                </a:lnTo>
                <a:lnTo>
                  <a:pt x="2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07" name="Freeform 244">
            <a:extLst>
              <a:ext uri="{FF2B5EF4-FFF2-40B4-BE49-F238E27FC236}">
                <a16:creationId xmlns:a16="http://schemas.microsoft.com/office/drawing/2014/main" id="{37E5AAC8-0D10-416B-B67C-9063C8984CA2}"/>
              </a:ext>
            </a:extLst>
          </p:cNvPr>
          <p:cNvSpPr>
            <a:spLocks/>
          </p:cNvSpPr>
          <p:nvPr/>
        </p:nvSpPr>
        <p:spPr bwMode="gray">
          <a:xfrm>
            <a:off x="3995070" y="2488248"/>
            <a:ext cx="27597" cy="6676"/>
          </a:xfrm>
          <a:custGeom>
            <a:avLst/>
            <a:gdLst>
              <a:gd name="T0" fmla="*/ 0 w 38"/>
              <a:gd name="T1" fmla="*/ 10 h 10"/>
              <a:gd name="T2" fmla="*/ 18 w 38"/>
              <a:gd name="T3" fmla="*/ 10 h 10"/>
              <a:gd name="T4" fmla="*/ 38 w 38"/>
              <a:gd name="T5" fmla="*/ 10 h 10"/>
              <a:gd name="T6" fmla="*/ 38 w 38"/>
              <a:gd name="T7" fmla="*/ 4 h 10"/>
              <a:gd name="T8" fmla="*/ 24 w 38"/>
              <a:gd name="T9" fmla="*/ 4 h 10"/>
              <a:gd name="T10" fmla="*/ 18 w 38"/>
              <a:gd name="T11" fmla="*/ 2 h 10"/>
              <a:gd name="T12" fmla="*/ 8 w 38"/>
              <a:gd name="T13" fmla="*/ 0 h 10"/>
              <a:gd name="T14" fmla="*/ 4 w 38"/>
              <a:gd name="T15" fmla="*/ 2 h 10"/>
              <a:gd name="T16" fmla="*/ 0 w 38"/>
              <a:gd name="T17" fmla="*/ 1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8" h="10">
                <a:moveTo>
                  <a:pt x="0" y="10"/>
                </a:moveTo>
                <a:lnTo>
                  <a:pt x="18" y="10"/>
                </a:lnTo>
                <a:lnTo>
                  <a:pt x="38" y="10"/>
                </a:lnTo>
                <a:lnTo>
                  <a:pt x="38" y="4"/>
                </a:lnTo>
                <a:lnTo>
                  <a:pt x="24" y="4"/>
                </a:lnTo>
                <a:lnTo>
                  <a:pt x="18" y="2"/>
                </a:lnTo>
                <a:lnTo>
                  <a:pt x="8" y="0"/>
                </a:lnTo>
                <a:lnTo>
                  <a:pt x="4" y="2"/>
                </a:lnTo>
                <a:lnTo>
                  <a:pt x="0" y="1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08" name="Freeform 245">
            <a:extLst>
              <a:ext uri="{FF2B5EF4-FFF2-40B4-BE49-F238E27FC236}">
                <a16:creationId xmlns:a16="http://schemas.microsoft.com/office/drawing/2014/main" id="{30198899-5C5F-414C-9975-EA75A817B68B}"/>
              </a:ext>
            </a:extLst>
          </p:cNvPr>
          <p:cNvSpPr>
            <a:spLocks/>
          </p:cNvSpPr>
          <p:nvPr/>
        </p:nvSpPr>
        <p:spPr bwMode="gray">
          <a:xfrm>
            <a:off x="3973283" y="2488248"/>
            <a:ext cx="14525" cy="6676"/>
          </a:xfrm>
          <a:custGeom>
            <a:avLst/>
            <a:gdLst>
              <a:gd name="T0" fmla="*/ 0 w 20"/>
              <a:gd name="T1" fmla="*/ 2 h 10"/>
              <a:gd name="T2" fmla="*/ 0 w 20"/>
              <a:gd name="T3" fmla="*/ 10 h 10"/>
              <a:gd name="T4" fmla="*/ 20 w 20"/>
              <a:gd name="T5" fmla="*/ 10 h 10"/>
              <a:gd name="T6" fmla="*/ 18 w 20"/>
              <a:gd name="T7" fmla="*/ 2 h 10"/>
              <a:gd name="T8" fmla="*/ 8 w 20"/>
              <a:gd name="T9" fmla="*/ 0 h 10"/>
              <a:gd name="T10" fmla="*/ 0 w 20"/>
              <a:gd name="T11" fmla="*/ 2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0" h="10">
                <a:moveTo>
                  <a:pt x="0" y="2"/>
                </a:moveTo>
                <a:lnTo>
                  <a:pt x="0" y="10"/>
                </a:lnTo>
                <a:lnTo>
                  <a:pt x="20" y="10"/>
                </a:lnTo>
                <a:lnTo>
                  <a:pt x="18" y="2"/>
                </a:lnTo>
                <a:lnTo>
                  <a:pt x="8" y="0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09" name="Freeform 246">
            <a:extLst>
              <a:ext uri="{FF2B5EF4-FFF2-40B4-BE49-F238E27FC236}">
                <a16:creationId xmlns:a16="http://schemas.microsoft.com/office/drawing/2014/main" id="{86F0D307-724A-46DB-A783-66BF74BEBF2A}"/>
              </a:ext>
            </a:extLst>
          </p:cNvPr>
          <p:cNvSpPr>
            <a:spLocks/>
          </p:cNvSpPr>
          <p:nvPr/>
        </p:nvSpPr>
        <p:spPr bwMode="gray">
          <a:xfrm>
            <a:off x="3950043" y="2488248"/>
            <a:ext cx="18882" cy="12017"/>
          </a:xfrm>
          <a:custGeom>
            <a:avLst/>
            <a:gdLst>
              <a:gd name="T0" fmla="*/ 2 w 26"/>
              <a:gd name="T1" fmla="*/ 0 h 18"/>
              <a:gd name="T2" fmla="*/ 14 w 26"/>
              <a:gd name="T3" fmla="*/ 2 h 18"/>
              <a:gd name="T4" fmla="*/ 26 w 26"/>
              <a:gd name="T5" fmla="*/ 4 h 18"/>
              <a:gd name="T6" fmla="*/ 26 w 26"/>
              <a:gd name="T7" fmla="*/ 10 h 18"/>
              <a:gd name="T8" fmla="*/ 24 w 26"/>
              <a:gd name="T9" fmla="*/ 18 h 18"/>
              <a:gd name="T10" fmla="*/ 12 w 26"/>
              <a:gd name="T11" fmla="*/ 14 h 18"/>
              <a:gd name="T12" fmla="*/ 0 w 26"/>
              <a:gd name="T13" fmla="*/ 10 h 18"/>
              <a:gd name="T14" fmla="*/ 2 w 26"/>
              <a:gd name="T15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6" h="18">
                <a:moveTo>
                  <a:pt x="2" y="0"/>
                </a:moveTo>
                <a:lnTo>
                  <a:pt x="14" y="2"/>
                </a:lnTo>
                <a:lnTo>
                  <a:pt x="26" y="4"/>
                </a:lnTo>
                <a:lnTo>
                  <a:pt x="26" y="10"/>
                </a:lnTo>
                <a:lnTo>
                  <a:pt x="24" y="18"/>
                </a:lnTo>
                <a:lnTo>
                  <a:pt x="12" y="14"/>
                </a:lnTo>
                <a:lnTo>
                  <a:pt x="0" y="10"/>
                </a:lnTo>
                <a:lnTo>
                  <a:pt x="2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10" name="Freeform 247">
            <a:extLst>
              <a:ext uri="{FF2B5EF4-FFF2-40B4-BE49-F238E27FC236}">
                <a16:creationId xmlns:a16="http://schemas.microsoft.com/office/drawing/2014/main" id="{B44F746E-F538-4813-918F-B03A82F76BB0}"/>
              </a:ext>
            </a:extLst>
          </p:cNvPr>
          <p:cNvSpPr>
            <a:spLocks/>
          </p:cNvSpPr>
          <p:nvPr/>
        </p:nvSpPr>
        <p:spPr bwMode="gray">
          <a:xfrm>
            <a:off x="3983450" y="2382765"/>
            <a:ext cx="71172" cy="78778"/>
          </a:xfrm>
          <a:custGeom>
            <a:avLst/>
            <a:gdLst>
              <a:gd name="T0" fmla="*/ 12 w 98"/>
              <a:gd name="T1" fmla="*/ 36 h 118"/>
              <a:gd name="T2" fmla="*/ 12 w 98"/>
              <a:gd name="T3" fmla="*/ 26 h 118"/>
              <a:gd name="T4" fmla="*/ 20 w 98"/>
              <a:gd name="T5" fmla="*/ 14 h 118"/>
              <a:gd name="T6" fmla="*/ 32 w 98"/>
              <a:gd name="T7" fmla="*/ 8 h 118"/>
              <a:gd name="T8" fmla="*/ 48 w 98"/>
              <a:gd name="T9" fmla="*/ 10 h 118"/>
              <a:gd name="T10" fmla="*/ 58 w 98"/>
              <a:gd name="T11" fmla="*/ 14 h 118"/>
              <a:gd name="T12" fmla="*/ 74 w 98"/>
              <a:gd name="T13" fmla="*/ 14 h 118"/>
              <a:gd name="T14" fmla="*/ 84 w 98"/>
              <a:gd name="T15" fmla="*/ 12 h 118"/>
              <a:gd name="T16" fmla="*/ 90 w 98"/>
              <a:gd name="T17" fmla="*/ 8 h 118"/>
              <a:gd name="T18" fmla="*/ 98 w 98"/>
              <a:gd name="T19" fmla="*/ 0 h 118"/>
              <a:gd name="T20" fmla="*/ 98 w 98"/>
              <a:gd name="T21" fmla="*/ 8 h 118"/>
              <a:gd name="T22" fmla="*/ 88 w 98"/>
              <a:gd name="T23" fmla="*/ 20 h 118"/>
              <a:gd name="T24" fmla="*/ 80 w 98"/>
              <a:gd name="T25" fmla="*/ 26 h 118"/>
              <a:gd name="T26" fmla="*/ 56 w 98"/>
              <a:gd name="T27" fmla="*/ 22 h 118"/>
              <a:gd name="T28" fmla="*/ 42 w 98"/>
              <a:gd name="T29" fmla="*/ 20 h 118"/>
              <a:gd name="T30" fmla="*/ 30 w 98"/>
              <a:gd name="T31" fmla="*/ 20 h 118"/>
              <a:gd name="T32" fmla="*/ 24 w 98"/>
              <a:gd name="T33" fmla="*/ 20 h 118"/>
              <a:gd name="T34" fmla="*/ 18 w 98"/>
              <a:gd name="T35" fmla="*/ 26 h 118"/>
              <a:gd name="T36" fmla="*/ 18 w 98"/>
              <a:gd name="T37" fmla="*/ 36 h 118"/>
              <a:gd name="T38" fmla="*/ 22 w 98"/>
              <a:gd name="T39" fmla="*/ 42 h 118"/>
              <a:gd name="T40" fmla="*/ 26 w 98"/>
              <a:gd name="T41" fmla="*/ 46 h 118"/>
              <a:gd name="T42" fmla="*/ 28 w 98"/>
              <a:gd name="T43" fmla="*/ 50 h 118"/>
              <a:gd name="T44" fmla="*/ 32 w 98"/>
              <a:gd name="T45" fmla="*/ 52 h 118"/>
              <a:gd name="T46" fmla="*/ 38 w 98"/>
              <a:gd name="T47" fmla="*/ 44 h 118"/>
              <a:gd name="T48" fmla="*/ 42 w 98"/>
              <a:gd name="T49" fmla="*/ 42 h 118"/>
              <a:gd name="T50" fmla="*/ 52 w 98"/>
              <a:gd name="T51" fmla="*/ 44 h 118"/>
              <a:gd name="T52" fmla="*/ 60 w 98"/>
              <a:gd name="T53" fmla="*/ 40 h 118"/>
              <a:gd name="T54" fmla="*/ 70 w 98"/>
              <a:gd name="T55" fmla="*/ 40 h 118"/>
              <a:gd name="T56" fmla="*/ 68 w 98"/>
              <a:gd name="T57" fmla="*/ 46 h 118"/>
              <a:gd name="T58" fmla="*/ 56 w 98"/>
              <a:gd name="T59" fmla="*/ 48 h 118"/>
              <a:gd name="T60" fmla="*/ 50 w 98"/>
              <a:gd name="T61" fmla="*/ 54 h 118"/>
              <a:gd name="T62" fmla="*/ 44 w 98"/>
              <a:gd name="T63" fmla="*/ 60 h 118"/>
              <a:gd name="T64" fmla="*/ 44 w 98"/>
              <a:gd name="T65" fmla="*/ 62 h 118"/>
              <a:gd name="T66" fmla="*/ 48 w 98"/>
              <a:gd name="T67" fmla="*/ 68 h 118"/>
              <a:gd name="T68" fmla="*/ 54 w 98"/>
              <a:gd name="T69" fmla="*/ 80 h 118"/>
              <a:gd name="T70" fmla="*/ 54 w 98"/>
              <a:gd name="T71" fmla="*/ 84 h 118"/>
              <a:gd name="T72" fmla="*/ 56 w 98"/>
              <a:gd name="T73" fmla="*/ 92 h 118"/>
              <a:gd name="T74" fmla="*/ 62 w 98"/>
              <a:gd name="T75" fmla="*/ 96 h 118"/>
              <a:gd name="T76" fmla="*/ 54 w 98"/>
              <a:gd name="T77" fmla="*/ 100 h 118"/>
              <a:gd name="T78" fmla="*/ 46 w 98"/>
              <a:gd name="T79" fmla="*/ 98 h 118"/>
              <a:gd name="T80" fmla="*/ 44 w 98"/>
              <a:gd name="T81" fmla="*/ 104 h 118"/>
              <a:gd name="T82" fmla="*/ 38 w 98"/>
              <a:gd name="T83" fmla="*/ 94 h 118"/>
              <a:gd name="T84" fmla="*/ 34 w 98"/>
              <a:gd name="T85" fmla="*/ 84 h 118"/>
              <a:gd name="T86" fmla="*/ 32 w 98"/>
              <a:gd name="T87" fmla="*/ 70 h 118"/>
              <a:gd name="T88" fmla="*/ 24 w 98"/>
              <a:gd name="T89" fmla="*/ 70 h 118"/>
              <a:gd name="T90" fmla="*/ 22 w 98"/>
              <a:gd name="T91" fmla="*/ 76 h 118"/>
              <a:gd name="T92" fmla="*/ 24 w 98"/>
              <a:gd name="T93" fmla="*/ 92 h 118"/>
              <a:gd name="T94" fmla="*/ 24 w 98"/>
              <a:gd name="T95" fmla="*/ 98 h 118"/>
              <a:gd name="T96" fmla="*/ 24 w 98"/>
              <a:gd name="T97" fmla="*/ 112 h 118"/>
              <a:gd name="T98" fmla="*/ 22 w 98"/>
              <a:gd name="T99" fmla="*/ 118 h 118"/>
              <a:gd name="T100" fmla="*/ 10 w 98"/>
              <a:gd name="T101" fmla="*/ 116 h 118"/>
              <a:gd name="T102" fmla="*/ 10 w 98"/>
              <a:gd name="T103" fmla="*/ 102 h 118"/>
              <a:gd name="T104" fmla="*/ 12 w 98"/>
              <a:gd name="T105" fmla="*/ 90 h 118"/>
              <a:gd name="T106" fmla="*/ 10 w 98"/>
              <a:gd name="T107" fmla="*/ 84 h 118"/>
              <a:gd name="T108" fmla="*/ 0 w 98"/>
              <a:gd name="T109" fmla="*/ 80 h 118"/>
              <a:gd name="T110" fmla="*/ 0 w 98"/>
              <a:gd name="T111" fmla="*/ 68 h 118"/>
              <a:gd name="T112" fmla="*/ 4 w 98"/>
              <a:gd name="T113" fmla="*/ 58 h 118"/>
              <a:gd name="T114" fmla="*/ 8 w 98"/>
              <a:gd name="T115" fmla="*/ 42 h 118"/>
              <a:gd name="T116" fmla="*/ 12 w 98"/>
              <a:gd name="T117" fmla="*/ 36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8" h="118">
                <a:moveTo>
                  <a:pt x="12" y="36"/>
                </a:moveTo>
                <a:lnTo>
                  <a:pt x="12" y="26"/>
                </a:lnTo>
                <a:lnTo>
                  <a:pt x="20" y="14"/>
                </a:lnTo>
                <a:lnTo>
                  <a:pt x="32" y="8"/>
                </a:lnTo>
                <a:lnTo>
                  <a:pt x="48" y="10"/>
                </a:lnTo>
                <a:lnTo>
                  <a:pt x="58" y="14"/>
                </a:lnTo>
                <a:lnTo>
                  <a:pt x="74" y="14"/>
                </a:lnTo>
                <a:lnTo>
                  <a:pt x="84" y="12"/>
                </a:lnTo>
                <a:lnTo>
                  <a:pt x="90" y="8"/>
                </a:lnTo>
                <a:lnTo>
                  <a:pt x="98" y="0"/>
                </a:lnTo>
                <a:lnTo>
                  <a:pt x="98" y="8"/>
                </a:lnTo>
                <a:lnTo>
                  <a:pt x="88" y="20"/>
                </a:lnTo>
                <a:lnTo>
                  <a:pt x="80" y="26"/>
                </a:lnTo>
                <a:lnTo>
                  <a:pt x="56" y="22"/>
                </a:lnTo>
                <a:lnTo>
                  <a:pt x="42" y="20"/>
                </a:lnTo>
                <a:lnTo>
                  <a:pt x="30" y="20"/>
                </a:lnTo>
                <a:lnTo>
                  <a:pt x="24" y="20"/>
                </a:lnTo>
                <a:lnTo>
                  <a:pt x="18" y="26"/>
                </a:lnTo>
                <a:lnTo>
                  <a:pt x="18" y="36"/>
                </a:lnTo>
                <a:lnTo>
                  <a:pt x="22" y="42"/>
                </a:lnTo>
                <a:lnTo>
                  <a:pt x="26" y="46"/>
                </a:lnTo>
                <a:lnTo>
                  <a:pt x="28" y="50"/>
                </a:lnTo>
                <a:lnTo>
                  <a:pt x="32" y="52"/>
                </a:lnTo>
                <a:lnTo>
                  <a:pt x="38" y="44"/>
                </a:lnTo>
                <a:lnTo>
                  <a:pt x="42" y="42"/>
                </a:lnTo>
                <a:lnTo>
                  <a:pt x="52" y="44"/>
                </a:lnTo>
                <a:lnTo>
                  <a:pt x="60" y="40"/>
                </a:lnTo>
                <a:lnTo>
                  <a:pt x="70" y="40"/>
                </a:lnTo>
                <a:lnTo>
                  <a:pt x="68" y="46"/>
                </a:lnTo>
                <a:lnTo>
                  <a:pt x="56" y="48"/>
                </a:lnTo>
                <a:lnTo>
                  <a:pt x="50" y="54"/>
                </a:lnTo>
                <a:lnTo>
                  <a:pt x="44" y="60"/>
                </a:lnTo>
                <a:lnTo>
                  <a:pt x="44" y="62"/>
                </a:lnTo>
                <a:lnTo>
                  <a:pt x="48" y="68"/>
                </a:lnTo>
                <a:lnTo>
                  <a:pt x="54" y="80"/>
                </a:lnTo>
                <a:lnTo>
                  <a:pt x="54" y="84"/>
                </a:lnTo>
                <a:lnTo>
                  <a:pt x="56" y="92"/>
                </a:lnTo>
                <a:lnTo>
                  <a:pt x="62" y="96"/>
                </a:lnTo>
                <a:lnTo>
                  <a:pt x="54" y="100"/>
                </a:lnTo>
                <a:lnTo>
                  <a:pt x="46" y="98"/>
                </a:lnTo>
                <a:lnTo>
                  <a:pt x="44" y="104"/>
                </a:lnTo>
                <a:lnTo>
                  <a:pt x="38" y="94"/>
                </a:lnTo>
                <a:lnTo>
                  <a:pt x="34" y="84"/>
                </a:lnTo>
                <a:lnTo>
                  <a:pt x="32" y="70"/>
                </a:lnTo>
                <a:lnTo>
                  <a:pt x="24" y="70"/>
                </a:lnTo>
                <a:lnTo>
                  <a:pt x="22" y="76"/>
                </a:lnTo>
                <a:lnTo>
                  <a:pt x="24" y="92"/>
                </a:lnTo>
                <a:lnTo>
                  <a:pt x="24" y="98"/>
                </a:lnTo>
                <a:lnTo>
                  <a:pt x="24" y="112"/>
                </a:lnTo>
                <a:lnTo>
                  <a:pt x="22" y="118"/>
                </a:lnTo>
                <a:lnTo>
                  <a:pt x="10" y="116"/>
                </a:lnTo>
                <a:lnTo>
                  <a:pt x="10" y="102"/>
                </a:lnTo>
                <a:lnTo>
                  <a:pt x="12" y="90"/>
                </a:lnTo>
                <a:lnTo>
                  <a:pt x="10" y="84"/>
                </a:lnTo>
                <a:lnTo>
                  <a:pt x="0" y="80"/>
                </a:lnTo>
                <a:lnTo>
                  <a:pt x="0" y="68"/>
                </a:lnTo>
                <a:lnTo>
                  <a:pt x="4" y="58"/>
                </a:lnTo>
                <a:lnTo>
                  <a:pt x="8" y="42"/>
                </a:lnTo>
                <a:lnTo>
                  <a:pt x="12" y="3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11" name="Freeform 248">
            <a:extLst>
              <a:ext uri="{FF2B5EF4-FFF2-40B4-BE49-F238E27FC236}">
                <a16:creationId xmlns:a16="http://schemas.microsoft.com/office/drawing/2014/main" id="{E2E96F48-DB34-4892-9C1A-782FF6458251}"/>
              </a:ext>
            </a:extLst>
          </p:cNvPr>
          <p:cNvSpPr>
            <a:spLocks/>
          </p:cNvSpPr>
          <p:nvPr/>
        </p:nvSpPr>
        <p:spPr bwMode="gray">
          <a:xfrm>
            <a:off x="4119983" y="2406799"/>
            <a:ext cx="117651" cy="90795"/>
          </a:xfrm>
          <a:custGeom>
            <a:avLst/>
            <a:gdLst>
              <a:gd name="T0" fmla="*/ 2 w 162"/>
              <a:gd name="T1" fmla="*/ 8 h 136"/>
              <a:gd name="T2" fmla="*/ 20 w 162"/>
              <a:gd name="T3" fmla="*/ 2 h 136"/>
              <a:gd name="T4" fmla="*/ 30 w 162"/>
              <a:gd name="T5" fmla="*/ 0 h 136"/>
              <a:gd name="T6" fmla="*/ 48 w 162"/>
              <a:gd name="T7" fmla="*/ 2 h 136"/>
              <a:gd name="T8" fmla="*/ 56 w 162"/>
              <a:gd name="T9" fmla="*/ 10 h 136"/>
              <a:gd name="T10" fmla="*/ 54 w 162"/>
              <a:gd name="T11" fmla="*/ 22 h 136"/>
              <a:gd name="T12" fmla="*/ 54 w 162"/>
              <a:gd name="T13" fmla="*/ 30 h 136"/>
              <a:gd name="T14" fmla="*/ 60 w 162"/>
              <a:gd name="T15" fmla="*/ 34 h 136"/>
              <a:gd name="T16" fmla="*/ 62 w 162"/>
              <a:gd name="T17" fmla="*/ 42 h 136"/>
              <a:gd name="T18" fmla="*/ 70 w 162"/>
              <a:gd name="T19" fmla="*/ 44 h 136"/>
              <a:gd name="T20" fmla="*/ 80 w 162"/>
              <a:gd name="T21" fmla="*/ 42 h 136"/>
              <a:gd name="T22" fmla="*/ 86 w 162"/>
              <a:gd name="T23" fmla="*/ 32 h 136"/>
              <a:gd name="T24" fmla="*/ 94 w 162"/>
              <a:gd name="T25" fmla="*/ 26 h 136"/>
              <a:gd name="T26" fmla="*/ 104 w 162"/>
              <a:gd name="T27" fmla="*/ 22 h 136"/>
              <a:gd name="T28" fmla="*/ 110 w 162"/>
              <a:gd name="T29" fmla="*/ 16 h 136"/>
              <a:gd name="T30" fmla="*/ 128 w 162"/>
              <a:gd name="T31" fmla="*/ 22 h 136"/>
              <a:gd name="T32" fmla="*/ 142 w 162"/>
              <a:gd name="T33" fmla="*/ 26 h 136"/>
              <a:gd name="T34" fmla="*/ 158 w 162"/>
              <a:gd name="T35" fmla="*/ 32 h 136"/>
              <a:gd name="T36" fmla="*/ 162 w 162"/>
              <a:gd name="T37" fmla="*/ 34 h 136"/>
              <a:gd name="T38" fmla="*/ 162 w 162"/>
              <a:gd name="T39" fmla="*/ 136 h 136"/>
              <a:gd name="T40" fmla="*/ 148 w 162"/>
              <a:gd name="T41" fmla="*/ 124 h 136"/>
              <a:gd name="T42" fmla="*/ 138 w 162"/>
              <a:gd name="T43" fmla="*/ 120 h 136"/>
              <a:gd name="T44" fmla="*/ 130 w 162"/>
              <a:gd name="T45" fmla="*/ 120 h 136"/>
              <a:gd name="T46" fmla="*/ 124 w 162"/>
              <a:gd name="T47" fmla="*/ 124 h 136"/>
              <a:gd name="T48" fmla="*/ 110 w 162"/>
              <a:gd name="T49" fmla="*/ 126 h 136"/>
              <a:gd name="T50" fmla="*/ 108 w 162"/>
              <a:gd name="T51" fmla="*/ 118 h 136"/>
              <a:gd name="T52" fmla="*/ 110 w 162"/>
              <a:gd name="T53" fmla="*/ 114 h 136"/>
              <a:gd name="T54" fmla="*/ 116 w 162"/>
              <a:gd name="T55" fmla="*/ 112 h 136"/>
              <a:gd name="T56" fmla="*/ 124 w 162"/>
              <a:gd name="T57" fmla="*/ 110 h 136"/>
              <a:gd name="T58" fmla="*/ 126 w 162"/>
              <a:gd name="T59" fmla="*/ 98 h 136"/>
              <a:gd name="T60" fmla="*/ 122 w 162"/>
              <a:gd name="T61" fmla="*/ 90 h 136"/>
              <a:gd name="T62" fmla="*/ 112 w 162"/>
              <a:gd name="T63" fmla="*/ 80 h 136"/>
              <a:gd name="T64" fmla="*/ 90 w 162"/>
              <a:gd name="T65" fmla="*/ 68 h 136"/>
              <a:gd name="T66" fmla="*/ 66 w 162"/>
              <a:gd name="T67" fmla="*/ 62 h 136"/>
              <a:gd name="T68" fmla="*/ 60 w 162"/>
              <a:gd name="T69" fmla="*/ 56 h 136"/>
              <a:gd name="T70" fmla="*/ 54 w 162"/>
              <a:gd name="T71" fmla="*/ 54 h 136"/>
              <a:gd name="T72" fmla="*/ 48 w 162"/>
              <a:gd name="T73" fmla="*/ 40 h 136"/>
              <a:gd name="T74" fmla="*/ 42 w 162"/>
              <a:gd name="T75" fmla="*/ 42 h 136"/>
              <a:gd name="T76" fmla="*/ 42 w 162"/>
              <a:gd name="T77" fmla="*/ 48 h 136"/>
              <a:gd name="T78" fmla="*/ 42 w 162"/>
              <a:gd name="T79" fmla="*/ 58 h 136"/>
              <a:gd name="T80" fmla="*/ 32 w 162"/>
              <a:gd name="T81" fmla="*/ 56 h 136"/>
              <a:gd name="T82" fmla="*/ 32 w 162"/>
              <a:gd name="T83" fmla="*/ 46 h 136"/>
              <a:gd name="T84" fmla="*/ 30 w 162"/>
              <a:gd name="T85" fmla="*/ 40 h 136"/>
              <a:gd name="T86" fmla="*/ 20 w 162"/>
              <a:gd name="T87" fmla="*/ 38 h 136"/>
              <a:gd name="T88" fmla="*/ 30 w 162"/>
              <a:gd name="T89" fmla="*/ 32 h 136"/>
              <a:gd name="T90" fmla="*/ 42 w 162"/>
              <a:gd name="T91" fmla="*/ 34 h 136"/>
              <a:gd name="T92" fmla="*/ 50 w 162"/>
              <a:gd name="T93" fmla="*/ 32 h 136"/>
              <a:gd name="T94" fmla="*/ 46 w 162"/>
              <a:gd name="T95" fmla="*/ 24 h 136"/>
              <a:gd name="T96" fmla="*/ 30 w 162"/>
              <a:gd name="T97" fmla="*/ 24 h 136"/>
              <a:gd name="T98" fmla="*/ 20 w 162"/>
              <a:gd name="T99" fmla="*/ 26 h 136"/>
              <a:gd name="T100" fmla="*/ 16 w 162"/>
              <a:gd name="T101" fmla="*/ 16 h 136"/>
              <a:gd name="T102" fmla="*/ 6 w 162"/>
              <a:gd name="T103" fmla="*/ 16 h 136"/>
              <a:gd name="T104" fmla="*/ 0 w 162"/>
              <a:gd name="T105" fmla="*/ 14 h 136"/>
              <a:gd name="T106" fmla="*/ 2 w 162"/>
              <a:gd name="T107" fmla="*/ 8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62" h="136">
                <a:moveTo>
                  <a:pt x="2" y="8"/>
                </a:moveTo>
                <a:lnTo>
                  <a:pt x="20" y="2"/>
                </a:lnTo>
                <a:lnTo>
                  <a:pt x="30" y="0"/>
                </a:lnTo>
                <a:lnTo>
                  <a:pt x="48" y="2"/>
                </a:lnTo>
                <a:lnTo>
                  <a:pt x="56" y="10"/>
                </a:lnTo>
                <a:lnTo>
                  <a:pt x="54" y="22"/>
                </a:lnTo>
                <a:lnTo>
                  <a:pt x="54" y="30"/>
                </a:lnTo>
                <a:lnTo>
                  <a:pt x="60" y="34"/>
                </a:lnTo>
                <a:lnTo>
                  <a:pt x="62" y="42"/>
                </a:lnTo>
                <a:lnTo>
                  <a:pt x="70" y="44"/>
                </a:lnTo>
                <a:lnTo>
                  <a:pt x="80" y="42"/>
                </a:lnTo>
                <a:lnTo>
                  <a:pt x="86" y="32"/>
                </a:lnTo>
                <a:lnTo>
                  <a:pt x="94" y="26"/>
                </a:lnTo>
                <a:lnTo>
                  <a:pt x="104" y="22"/>
                </a:lnTo>
                <a:lnTo>
                  <a:pt x="110" y="16"/>
                </a:lnTo>
                <a:lnTo>
                  <a:pt x="128" y="22"/>
                </a:lnTo>
                <a:lnTo>
                  <a:pt x="142" y="26"/>
                </a:lnTo>
                <a:lnTo>
                  <a:pt x="158" y="32"/>
                </a:lnTo>
                <a:lnTo>
                  <a:pt x="162" y="34"/>
                </a:lnTo>
                <a:lnTo>
                  <a:pt x="162" y="136"/>
                </a:lnTo>
                <a:lnTo>
                  <a:pt x="148" y="124"/>
                </a:lnTo>
                <a:lnTo>
                  <a:pt x="138" y="120"/>
                </a:lnTo>
                <a:lnTo>
                  <a:pt x="130" y="120"/>
                </a:lnTo>
                <a:lnTo>
                  <a:pt x="124" y="124"/>
                </a:lnTo>
                <a:lnTo>
                  <a:pt x="110" y="126"/>
                </a:lnTo>
                <a:lnTo>
                  <a:pt x="108" y="118"/>
                </a:lnTo>
                <a:lnTo>
                  <a:pt x="110" y="114"/>
                </a:lnTo>
                <a:lnTo>
                  <a:pt x="116" y="112"/>
                </a:lnTo>
                <a:lnTo>
                  <a:pt x="124" y="110"/>
                </a:lnTo>
                <a:lnTo>
                  <a:pt x="126" y="98"/>
                </a:lnTo>
                <a:lnTo>
                  <a:pt x="122" y="90"/>
                </a:lnTo>
                <a:lnTo>
                  <a:pt x="112" y="80"/>
                </a:lnTo>
                <a:lnTo>
                  <a:pt x="90" y="68"/>
                </a:lnTo>
                <a:lnTo>
                  <a:pt x="66" y="62"/>
                </a:lnTo>
                <a:lnTo>
                  <a:pt x="60" y="56"/>
                </a:lnTo>
                <a:lnTo>
                  <a:pt x="54" y="54"/>
                </a:lnTo>
                <a:lnTo>
                  <a:pt x="48" y="40"/>
                </a:lnTo>
                <a:lnTo>
                  <a:pt x="42" y="42"/>
                </a:lnTo>
                <a:lnTo>
                  <a:pt x="42" y="48"/>
                </a:lnTo>
                <a:lnTo>
                  <a:pt x="42" y="58"/>
                </a:lnTo>
                <a:lnTo>
                  <a:pt x="32" y="56"/>
                </a:lnTo>
                <a:lnTo>
                  <a:pt x="32" y="46"/>
                </a:lnTo>
                <a:lnTo>
                  <a:pt x="30" y="40"/>
                </a:lnTo>
                <a:lnTo>
                  <a:pt x="20" y="38"/>
                </a:lnTo>
                <a:lnTo>
                  <a:pt x="30" y="32"/>
                </a:lnTo>
                <a:lnTo>
                  <a:pt x="42" y="34"/>
                </a:lnTo>
                <a:lnTo>
                  <a:pt x="50" y="32"/>
                </a:lnTo>
                <a:lnTo>
                  <a:pt x="46" y="24"/>
                </a:lnTo>
                <a:lnTo>
                  <a:pt x="30" y="24"/>
                </a:lnTo>
                <a:lnTo>
                  <a:pt x="20" y="26"/>
                </a:lnTo>
                <a:lnTo>
                  <a:pt x="16" y="16"/>
                </a:lnTo>
                <a:lnTo>
                  <a:pt x="6" y="16"/>
                </a:lnTo>
                <a:lnTo>
                  <a:pt x="0" y="14"/>
                </a:lnTo>
                <a:lnTo>
                  <a:pt x="2" y="8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12" name="Freeform 249">
            <a:extLst>
              <a:ext uri="{FF2B5EF4-FFF2-40B4-BE49-F238E27FC236}">
                <a16:creationId xmlns:a16="http://schemas.microsoft.com/office/drawing/2014/main" id="{C8E15AA6-7070-4C7C-A8D7-5CD6709809D6}"/>
              </a:ext>
            </a:extLst>
          </p:cNvPr>
          <p:cNvSpPr>
            <a:spLocks/>
          </p:cNvSpPr>
          <p:nvPr/>
        </p:nvSpPr>
        <p:spPr bwMode="gray">
          <a:xfrm>
            <a:off x="4086576" y="2430833"/>
            <a:ext cx="34860" cy="10682"/>
          </a:xfrm>
          <a:custGeom>
            <a:avLst/>
            <a:gdLst>
              <a:gd name="T0" fmla="*/ 4 w 48"/>
              <a:gd name="T1" fmla="*/ 2 h 16"/>
              <a:gd name="T2" fmla="*/ 20 w 48"/>
              <a:gd name="T3" fmla="*/ 0 h 16"/>
              <a:gd name="T4" fmla="*/ 38 w 48"/>
              <a:gd name="T5" fmla="*/ 2 h 16"/>
              <a:gd name="T6" fmla="*/ 48 w 48"/>
              <a:gd name="T7" fmla="*/ 10 h 16"/>
              <a:gd name="T8" fmla="*/ 46 w 48"/>
              <a:gd name="T9" fmla="*/ 16 h 16"/>
              <a:gd name="T10" fmla="*/ 34 w 48"/>
              <a:gd name="T11" fmla="*/ 12 h 16"/>
              <a:gd name="T12" fmla="*/ 24 w 48"/>
              <a:gd name="T13" fmla="*/ 10 h 16"/>
              <a:gd name="T14" fmla="*/ 12 w 48"/>
              <a:gd name="T15" fmla="*/ 10 h 16"/>
              <a:gd name="T16" fmla="*/ 8 w 48"/>
              <a:gd name="T17" fmla="*/ 14 h 16"/>
              <a:gd name="T18" fmla="*/ 2 w 48"/>
              <a:gd name="T19" fmla="*/ 14 h 16"/>
              <a:gd name="T20" fmla="*/ 0 w 48"/>
              <a:gd name="T21" fmla="*/ 6 h 16"/>
              <a:gd name="T22" fmla="*/ 4 w 48"/>
              <a:gd name="T23" fmla="*/ 2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8" h="16">
                <a:moveTo>
                  <a:pt x="4" y="2"/>
                </a:moveTo>
                <a:lnTo>
                  <a:pt x="20" y="0"/>
                </a:lnTo>
                <a:lnTo>
                  <a:pt x="38" y="2"/>
                </a:lnTo>
                <a:lnTo>
                  <a:pt x="48" y="10"/>
                </a:lnTo>
                <a:lnTo>
                  <a:pt x="46" y="16"/>
                </a:lnTo>
                <a:lnTo>
                  <a:pt x="34" y="12"/>
                </a:lnTo>
                <a:lnTo>
                  <a:pt x="24" y="10"/>
                </a:lnTo>
                <a:lnTo>
                  <a:pt x="12" y="10"/>
                </a:lnTo>
                <a:lnTo>
                  <a:pt x="8" y="14"/>
                </a:lnTo>
                <a:lnTo>
                  <a:pt x="2" y="14"/>
                </a:lnTo>
                <a:lnTo>
                  <a:pt x="0" y="6"/>
                </a:lnTo>
                <a:lnTo>
                  <a:pt x="4" y="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13" name="Freeform 250">
            <a:extLst>
              <a:ext uri="{FF2B5EF4-FFF2-40B4-BE49-F238E27FC236}">
                <a16:creationId xmlns:a16="http://schemas.microsoft.com/office/drawing/2014/main" id="{06B5E228-ECB3-4197-A843-CB4E44AAA755}"/>
              </a:ext>
            </a:extLst>
          </p:cNvPr>
          <p:cNvSpPr>
            <a:spLocks/>
          </p:cNvSpPr>
          <p:nvPr/>
        </p:nvSpPr>
        <p:spPr bwMode="gray">
          <a:xfrm>
            <a:off x="4067694" y="2434839"/>
            <a:ext cx="13072" cy="6676"/>
          </a:xfrm>
          <a:custGeom>
            <a:avLst/>
            <a:gdLst>
              <a:gd name="T0" fmla="*/ 2 w 18"/>
              <a:gd name="T1" fmla="*/ 0 h 10"/>
              <a:gd name="T2" fmla="*/ 12 w 18"/>
              <a:gd name="T3" fmla="*/ 0 h 10"/>
              <a:gd name="T4" fmla="*/ 18 w 18"/>
              <a:gd name="T5" fmla="*/ 4 h 10"/>
              <a:gd name="T6" fmla="*/ 14 w 18"/>
              <a:gd name="T7" fmla="*/ 10 h 10"/>
              <a:gd name="T8" fmla="*/ 4 w 18"/>
              <a:gd name="T9" fmla="*/ 10 h 10"/>
              <a:gd name="T10" fmla="*/ 0 w 18"/>
              <a:gd name="T11" fmla="*/ 6 h 10"/>
              <a:gd name="T12" fmla="*/ 2 w 18"/>
              <a:gd name="T13" fmla="*/ 0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8" h="10">
                <a:moveTo>
                  <a:pt x="2" y="0"/>
                </a:moveTo>
                <a:lnTo>
                  <a:pt x="12" y="0"/>
                </a:lnTo>
                <a:lnTo>
                  <a:pt x="18" y="4"/>
                </a:lnTo>
                <a:lnTo>
                  <a:pt x="14" y="10"/>
                </a:lnTo>
                <a:lnTo>
                  <a:pt x="4" y="10"/>
                </a:lnTo>
                <a:lnTo>
                  <a:pt x="0" y="6"/>
                </a:lnTo>
                <a:lnTo>
                  <a:pt x="2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14" name="Freeform 251">
            <a:extLst>
              <a:ext uri="{FF2B5EF4-FFF2-40B4-BE49-F238E27FC236}">
                <a16:creationId xmlns:a16="http://schemas.microsoft.com/office/drawing/2014/main" id="{6A8DC2C3-27A8-449D-BEF3-4331EE4528D5}"/>
              </a:ext>
            </a:extLst>
          </p:cNvPr>
          <p:cNvSpPr>
            <a:spLocks/>
          </p:cNvSpPr>
          <p:nvPr/>
        </p:nvSpPr>
        <p:spPr bwMode="gray">
          <a:xfrm>
            <a:off x="4082219" y="2380095"/>
            <a:ext cx="15977" cy="33381"/>
          </a:xfrm>
          <a:custGeom>
            <a:avLst/>
            <a:gdLst>
              <a:gd name="T0" fmla="*/ 0 w 22"/>
              <a:gd name="T1" fmla="*/ 0 h 50"/>
              <a:gd name="T2" fmla="*/ 6 w 22"/>
              <a:gd name="T3" fmla="*/ 2 h 50"/>
              <a:gd name="T4" fmla="*/ 8 w 22"/>
              <a:gd name="T5" fmla="*/ 10 h 50"/>
              <a:gd name="T6" fmla="*/ 8 w 22"/>
              <a:gd name="T7" fmla="*/ 14 h 50"/>
              <a:gd name="T8" fmla="*/ 14 w 22"/>
              <a:gd name="T9" fmla="*/ 6 h 50"/>
              <a:gd name="T10" fmla="*/ 20 w 22"/>
              <a:gd name="T11" fmla="*/ 4 h 50"/>
              <a:gd name="T12" fmla="*/ 22 w 22"/>
              <a:gd name="T13" fmla="*/ 14 h 50"/>
              <a:gd name="T14" fmla="*/ 16 w 22"/>
              <a:gd name="T15" fmla="*/ 16 h 50"/>
              <a:gd name="T16" fmla="*/ 14 w 22"/>
              <a:gd name="T17" fmla="*/ 20 h 50"/>
              <a:gd name="T18" fmla="*/ 18 w 22"/>
              <a:gd name="T19" fmla="*/ 22 h 50"/>
              <a:gd name="T20" fmla="*/ 20 w 22"/>
              <a:gd name="T21" fmla="*/ 26 h 50"/>
              <a:gd name="T22" fmla="*/ 8 w 22"/>
              <a:gd name="T23" fmla="*/ 26 h 50"/>
              <a:gd name="T24" fmla="*/ 8 w 22"/>
              <a:gd name="T25" fmla="*/ 30 h 50"/>
              <a:gd name="T26" fmla="*/ 10 w 22"/>
              <a:gd name="T27" fmla="*/ 38 h 50"/>
              <a:gd name="T28" fmla="*/ 16 w 22"/>
              <a:gd name="T29" fmla="*/ 44 h 50"/>
              <a:gd name="T30" fmla="*/ 18 w 22"/>
              <a:gd name="T31" fmla="*/ 46 h 50"/>
              <a:gd name="T32" fmla="*/ 18 w 22"/>
              <a:gd name="T33" fmla="*/ 48 h 50"/>
              <a:gd name="T34" fmla="*/ 16 w 22"/>
              <a:gd name="T35" fmla="*/ 50 h 50"/>
              <a:gd name="T36" fmla="*/ 12 w 22"/>
              <a:gd name="T37" fmla="*/ 50 h 50"/>
              <a:gd name="T38" fmla="*/ 8 w 22"/>
              <a:gd name="T39" fmla="*/ 48 h 50"/>
              <a:gd name="T40" fmla="*/ 6 w 22"/>
              <a:gd name="T41" fmla="*/ 46 h 50"/>
              <a:gd name="T42" fmla="*/ 2 w 22"/>
              <a:gd name="T43" fmla="*/ 32 h 50"/>
              <a:gd name="T44" fmla="*/ 0 w 22"/>
              <a:gd name="T45" fmla="*/ 22 h 50"/>
              <a:gd name="T46" fmla="*/ 2 w 22"/>
              <a:gd name="T47" fmla="*/ 12 h 50"/>
              <a:gd name="T48" fmla="*/ 0 w 22"/>
              <a:gd name="T49" fmla="*/ 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2" h="50">
                <a:moveTo>
                  <a:pt x="0" y="0"/>
                </a:moveTo>
                <a:lnTo>
                  <a:pt x="6" y="2"/>
                </a:lnTo>
                <a:lnTo>
                  <a:pt x="8" y="10"/>
                </a:lnTo>
                <a:lnTo>
                  <a:pt x="8" y="14"/>
                </a:lnTo>
                <a:lnTo>
                  <a:pt x="14" y="6"/>
                </a:lnTo>
                <a:lnTo>
                  <a:pt x="20" y="4"/>
                </a:lnTo>
                <a:lnTo>
                  <a:pt x="22" y="14"/>
                </a:lnTo>
                <a:lnTo>
                  <a:pt x="16" y="16"/>
                </a:lnTo>
                <a:lnTo>
                  <a:pt x="14" y="20"/>
                </a:lnTo>
                <a:lnTo>
                  <a:pt x="18" y="22"/>
                </a:lnTo>
                <a:lnTo>
                  <a:pt x="20" y="26"/>
                </a:lnTo>
                <a:lnTo>
                  <a:pt x="8" y="26"/>
                </a:lnTo>
                <a:lnTo>
                  <a:pt x="8" y="30"/>
                </a:lnTo>
                <a:lnTo>
                  <a:pt x="10" y="38"/>
                </a:lnTo>
                <a:lnTo>
                  <a:pt x="16" y="44"/>
                </a:lnTo>
                <a:lnTo>
                  <a:pt x="18" y="46"/>
                </a:lnTo>
                <a:lnTo>
                  <a:pt x="18" y="48"/>
                </a:lnTo>
                <a:lnTo>
                  <a:pt x="16" y="50"/>
                </a:lnTo>
                <a:lnTo>
                  <a:pt x="12" y="50"/>
                </a:lnTo>
                <a:lnTo>
                  <a:pt x="8" y="48"/>
                </a:lnTo>
                <a:lnTo>
                  <a:pt x="6" y="46"/>
                </a:lnTo>
                <a:lnTo>
                  <a:pt x="2" y="32"/>
                </a:lnTo>
                <a:lnTo>
                  <a:pt x="0" y="22"/>
                </a:lnTo>
                <a:lnTo>
                  <a:pt x="2" y="1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15" name="Freeform 252">
            <a:extLst>
              <a:ext uri="{FF2B5EF4-FFF2-40B4-BE49-F238E27FC236}">
                <a16:creationId xmlns:a16="http://schemas.microsoft.com/office/drawing/2014/main" id="{3839CDC7-928F-41CE-BA8B-3CE4113CECA3}"/>
              </a:ext>
            </a:extLst>
          </p:cNvPr>
          <p:cNvSpPr>
            <a:spLocks/>
          </p:cNvSpPr>
          <p:nvPr/>
        </p:nvSpPr>
        <p:spPr bwMode="gray">
          <a:xfrm>
            <a:off x="4237634" y="2429498"/>
            <a:ext cx="111841" cy="86789"/>
          </a:xfrm>
          <a:custGeom>
            <a:avLst/>
            <a:gdLst>
              <a:gd name="T0" fmla="*/ 0 w 154"/>
              <a:gd name="T1" fmla="*/ 0 h 130"/>
              <a:gd name="T2" fmla="*/ 14 w 154"/>
              <a:gd name="T3" fmla="*/ 4 h 130"/>
              <a:gd name="T4" fmla="*/ 32 w 154"/>
              <a:gd name="T5" fmla="*/ 10 h 130"/>
              <a:gd name="T6" fmla="*/ 50 w 154"/>
              <a:gd name="T7" fmla="*/ 18 h 130"/>
              <a:gd name="T8" fmla="*/ 66 w 154"/>
              <a:gd name="T9" fmla="*/ 28 h 130"/>
              <a:gd name="T10" fmla="*/ 74 w 154"/>
              <a:gd name="T11" fmla="*/ 38 h 130"/>
              <a:gd name="T12" fmla="*/ 84 w 154"/>
              <a:gd name="T13" fmla="*/ 44 h 130"/>
              <a:gd name="T14" fmla="*/ 100 w 154"/>
              <a:gd name="T15" fmla="*/ 52 h 130"/>
              <a:gd name="T16" fmla="*/ 108 w 154"/>
              <a:gd name="T17" fmla="*/ 58 h 130"/>
              <a:gd name="T18" fmla="*/ 108 w 154"/>
              <a:gd name="T19" fmla="*/ 62 h 130"/>
              <a:gd name="T20" fmla="*/ 110 w 154"/>
              <a:gd name="T21" fmla="*/ 64 h 130"/>
              <a:gd name="T22" fmla="*/ 108 w 154"/>
              <a:gd name="T23" fmla="*/ 66 h 130"/>
              <a:gd name="T24" fmla="*/ 94 w 154"/>
              <a:gd name="T25" fmla="*/ 66 h 130"/>
              <a:gd name="T26" fmla="*/ 100 w 154"/>
              <a:gd name="T27" fmla="*/ 72 h 130"/>
              <a:gd name="T28" fmla="*/ 110 w 154"/>
              <a:gd name="T29" fmla="*/ 86 h 130"/>
              <a:gd name="T30" fmla="*/ 124 w 154"/>
              <a:gd name="T31" fmla="*/ 102 h 130"/>
              <a:gd name="T32" fmla="*/ 130 w 154"/>
              <a:gd name="T33" fmla="*/ 106 h 130"/>
              <a:gd name="T34" fmla="*/ 138 w 154"/>
              <a:gd name="T35" fmla="*/ 114 h 130"/>
              <a:gd name="T36" fmla="*/ 154 w 154"/>
              <a:gd name="T37" fmla="*/ 124 h 130"/>
              <a:gd name="T38" fmla="*/ 152 w 154"/>
              <a:gd name="T39" fmla="*/ 130 h 130"/>
              <a:gd name="T40" fmla="*/ 136 w 154"/>
              <a:gd name="T41" fmla="*/ 122 h 130"/>
              <a:gd name="T42" fmla="*/ 124 w 154"/>
              <a:gd name="T43" fmla="*/ 120 h 130"/>
              <a:gd name="T44" fmla="*/ 104 w 154"/>
              <a:gd name="T45" fmla="*/ 118 h 130"/>
              <a:gd name="T46" fmla="*/ 94 w 154"/>
              <a:gd name="T47" fmla="*/ 106 h 130"/>
              <a:gd name="T48" fmla="*/ 84 w 154"/>
              <a:gd name="T49" fmla="*/ 92 h 130"/>
              <a:gd name="T50" fmla="*/ 72 w 154"/>
              <a:gd name="T51" fmla="*/ 84 h 130"/>
              <a:gd name="T52" fmla="*/ 60 w 154"/>
              <a:gd name="T53" fmla="*/ 76 h 130"/>
              <a:gd name="T54" fmla="*/ 46 w 154"/>
              <a:gd name="T55" fmla="*/ 70 h 130"/>
              <a:gd name="T56" fmla="*/ 46 w 154"/>
              <a:gd name="T57" fmla="*/ 80 h 130"/>
              <a:gd name="T58" fmla="*/ 42 w 154"/>
              <a:gd name="T59" fmla="*/ 86 h 130"/>
              <a:gd name="T60" fmla="*/ 28 w 154"/>
              <a:gd name="T61" fmla="*/ 88 h 130"/>
              <a:gd name="T62" fmla="*/ 30 w 154"/>
              <a:gd name="T63" fmla="*/ 96 h 130"/>
              <a:gd name="T64" fmla="*/ 38 w 154"/>
              <a:gd name="T65" fmla="*/ 100 h 130"/>
              <a:gd name="T66" fmla="*/ 32 w 154"/>
              <a:gd name="T67" fmla="*/ 106 h 130"/>
              <a:gd name="T68" fmla="*/ 18 w 154"/>
              <a:gd name="T69" fmla="*/ 102 h 130"/>
              <a:gd name="T70" fmla="*/ 8 w 154"/>
              <a:gd name="T71" fmla="*/ 102 h 130"/>
              <a:gd name="T72" fmla="*/ 0 w 154"/>
              <a:gd name="T73" fmla="*/ 102 h 130"/>
              <a:gd name="T74" fmla="*/ 0 w 154"/>
              <a:gd name="T75" fmla="*/ 0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54" h="130">
                <a:moveTo>
                  <a:pt x="0" y="0"/>
                </a:moveTo>
                <a:lnTo>
                  <a:pt x="14" y="4"/>
                </a:lnTo>
                <a:lnTo>
                  <a:pt x="32" y="10"/>
                </a:lnTo>
                <a:lnTo>
                  <a:pt x="50" y="18"/>
                </a:lnTo>
                <a:lnTo>
                  <a:pt x="66" y="28"/>
                </a:lnTo>
                <a:lnTo>
                  <a:pt x="74" y="38"/>
                </a:lnTo>
                <a:lnTo>
                  <a:pt x="84" y="44"/>
                </a:lnTo>
                <a:lnTo>
                  <a:pt x="100" y="52"/>
                </a:lnTo>
                <a:lnTo>
                  <a:pt x="108" y="58"/>
                </a:lnTo>
                <a:lnTo>
                  <a:pt x="108" y="62"/>
                </a:lnTo>
                <a:lnTo>
                  <a:pt x="110" y="64"/>
                </a:lnTo>
                <a:lnTo>
                  <a:pt x="108" y="66"/>
                </a:lnTo>
                <a:lnTo>
                  <a:pt x="94" y="66"/>
                </a:lnTo>
                <a:lnTo>
                  <a:pt x="100" y="72"/>
                </a:lnTo>
                <a:lnTo>
                  <a:pt x="110" y="86"/>
                </a:lnTo>
                <a:lnTo>
                  <a:pt x="124" y="102"/>
                </a:lnTo>
                <a:lnTo>
                  <a:pt x="130" y="106"/>
                </a:lnTo>
                <a:lnTo>
                  <a:pt x="138" y="114"/>
                </a:lnTo>
                <a:lnTo>
                  <a:pt x="154" y="124"/>
                </a:lnTo>
                <a:lnTo>
                  <a:pt x="152" y="130"/>
                </a:lnTo>
                <a:lnTo>
                  <a:pt x="136" y="122"/>
                </a:lnTo>
                <a:lnTo>
                  <a:pt x="124" y="120"/>
                </a:lnTo>
                <a:lnTo>
                  <a:pt x="104" y="118"/>
                </a:lnTo>
                <a:lnTo>
                  <a:pt x="94" y="106"/>
                </a:lnTo>
                <a:lnTo>
                  <a:pt x="84" y="92"/>
                </a:lnTo>
                <a:lnTo>
                  <a:pt x="72" y="84"/>
                </a:lnTo>
                <a:lnTo>
                  <a:pt x="60" y="76"/>
                </a:lnTo>
                <a:lnTo>
                  <a:pt x="46" y="70"/>
                </a:lnTo>
                <a:lnTo>
                  <a:pt x="46" y="80"/>
                </a:lnTo>
                <a:lnTo>
                  <a:pt x="42" y="86"/>
                </a:lnTo>
                <a:lnTo>
                  <a:pt x="28" y="88"/>
                </a:lnTo>
                <a:lnTo>
                  <a:pt x="30" y="96"/>
                </a:lnTo>
                <a:lnTo>
                  <a:pt x="38" y="100"/>
                </a:lnTo>
                <a:lnTo>
                  <a:pt x="32" y="106"/>
                </a:lnTo>
                <a:lnTo>
                  <a:pt x="18" y="102"/>
                </a:lnTo>
                <a:lnTo>
                  <a:pt x="8" y="102"/>
                </a:lnTo>
                <a:lnTo>
                  <a:pt x="0" y="10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16" name="Freeform 253">
            <a:extLst>
              <a:ext uri="{FF2B5EF4-FFF2-40B4-BE49-F238E27FC236}">
                <a16:creationId xmlns:a16="http://schemas.microsoft.com/office/drawing/2014/main" id="{FEDD87A9-F7D9-4A21-BC7D-9BBEBC034A5F}"/>
              </a:ext>
            </a:extLst>
          </p:cNvPr>
          <p:cNvSpPr>
            <a:spLocks/>
          </p:cNvSpPr>
          <p:nvPr/>
        </p:nvSpPr>
        <p:spPr bwMode="gray">
          <a:xfrm>
            <a:off x="4327688" y="2445520"/>
            <a:ext cx="42122" cy="24034"/>
          </a:xfrm>
          <a:custGeom>
            <a:avLst/>
            <a:gdLst>
              <a:gd name="T0" fmla="*/ 0 w 58"/>
              <a:gd name="T1" fmla="*/ 22 h 36"/>
              <a:gd name="T2" fmla="*/ 14 w 58"/>
              <a:gd name="T3" fmla="*/ 22 h 36"/>
              <a:gd name="T4" fmla="*/ 34 w 58"/>
              <a:gd name="T5" fmla="*/ 22 h 36"/>
              <a:gd name="T6" fmla="*/ 40 w 58"/>
              <a:gd name="T7" fmla="*/ 16 h 36"/>
              <a:gd name="T8" fmla="*/ 50 w 58"/>
              <a:gd name="T9" fmla="*/ 6 h 36"/>
              <a:gd name="T10" fmla="*/ 56 w 58"/>
              <a:gd name="T11" fmla="*/ 0 h 36"/>
              <a:gd name="T12" fmla="*/ 58 w 58"/>
              <a:gd name="T13" fmla="*/ 10 h 36"/>
              <a:gd name="T14" fmla="*/ 54 w 58"/>
              <a:gd name="T15" fmla="*/ 18 h 36"/>
              <a:gd name="T16" fmla="*/ 46 w 58"/>
              <a:gd name="T17" fmla="*/ 22 h 36"/>
              <a:gd name="T18" fmla="*/ 38 w 58"/>
              <a:gd name="T19" fmla="*/ 28 h 36"/>
              <a:gd name="T20" fmla="*/ 32 w 58"/>
              <a:gd name="T21" fmla="*/ 34 h 36"/>
              <a:gd name="T22" fmla="*/ 20 w 58"/>
              <a:gd name="T23" fmla="*/ 36 h 36"/>
              <a:gd name="T24" fmla="*/ 6 w 58"/>
              <a:gd name="T25" fmla="*/ 32 h 36"/>
              <a:gd name="T26" fmla="*/ 0 w 58"/>
              <a:gd name="T27" fmla="*/ 28 h 36"/>
              <a:gd name="T28" fmla="*/ 0 w 58"/>
              <a:gd name="T29" fmla="*/ 22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8" h="36">
                <a:moveTo>
                  <a:pt x="0" y="22"/>
                </a:moveTo>
                <a:lnTo>
                  <a:pt x="14" y="22"/>
                </a:lnTo>
                <a:lnTo>
                  <a:pt x="34" y="22"/>
                </a:lnTo>
                <a:lnTo>
                  <a:pt x="40" y="16"/>
                </a:lnTo>
                <a:lnTo>
                  <a:pt x="50" y="6"/>
                </a:lnTo>
                <a:lnTo>
                  <a:pt x="56" y="0"/>
                </a:lnTo>
                <a:lnTo>
                  <a:pt x="58" y="10"/>
                </a:lnTo>
                <a:lnTo>
                  <a:pt x="54" y="18"/>
                </a:lnTo>
                <a:lnTo>
                  <a:pt x="46" y="22"/>
                </a:lnTo>
                <a:lnTo>
                  <a:pt x="38" y="28"/>
                </a:lnTo>
                <a:lnTo>
                  <a:pt x="32" y="34"/>
                </a:lnTo>
                <a:lnTo>
                  <a:pt x="20" y="36"/>
                </a:lnTo>
                <a:lnTo>
                  <a:pt x="6" y="32"/>
                </a:lnTo>
                <a:lnTo>
                  <a:pt x="0" y="28"/>
                </a:lnTo>
                <a:lnTo>
                  <a:pt x="0" y="2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17" name="Freeform 254">
            <a:extLst>
              <a:ext uri="{FF2B5EF4-FFF2-40B4-BE49-F238E27FC236}">
                <a16:creationId xmlns:a16="http://schemas.microsoft.com/office/drawing/2014/main" id="{7E76C63E-8DEF-4B30-9788-05D88B7EFCF9}"/>
              </a:ext>
            </a:extLst>
          </p:cNvPr>
          <p:cNvSpPr>
            <a:spLocks/>
          </p:cNvSpPr>
          <p:nvPr/>
        </p:nvSpPr>
        <p:spPr bwMode="gray">
          <a:xfrm>
            <a:off x="4394502" y="2457537"/>
            <a:ext cx="15977" cy="18693"/>
          </a:xfrm>
          <a:custGeom>
            <a:avLst/>
            <a:gdLst>
              <a:gd name="T0" fmla="*/ 0 w 22"/>
              <a:gd name="T1" fmla="*/ 0 h 28"/>
              <a:gd name="T2" fmla="*/ 10 w 22"/>
              <a:gd name="T3" fmla="*/ 6 h 28"/>
              <a:gd name="T4" fmla="*/ 20 w 22"/>
              <a:gd name="T5" fmla="*/ 16 h 28"/>
              <a:gd name="T6" fmla="*/ 22 w 22"/>
              <a:gd name="T7" fmla="*/ 28 h 28"/>
              <a:gd name="T8" fmla="*/ 12 w 22"/>
              <a:gd name="T9" fmla="*/ 22 h 28"/>
              <a:gd name="T10" fmla="*/ 8 w 22"/>
              <a:gd name="T11" fmla="*/ 14 h 28"/>
              <a:gd name="T12" fmla="*/ 2 w 22"/>
              <a:gd name="T13" fmla="*/ 8 h 28"/>
              <a:gd name="T14" fmla="*/ 0 w 22"/>
              <a:gd name="T15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" h="28">
                <a:moveTo>
                  <a:pt x="0" y="0"/>
                </a:moveTo>
                <a:lnTo>
                  <a:pt x="10" y="6"/>
                </a:lnTo>
                <a:lnTo>
                  <a:pt x="20" y="16"/>
                </a:lnTo>
                <a:lnTo>
                  <a:pt x="22" y="28"/>
                </a:lnTo>
                <a:lnTo>
                  <a:pt x="12" y="22"/>
                </a:lnTo>
                <a:lnTo>
                  <a:pt x="8" y="14"/>
                </a:lnTo>
                <a:lnTo>
                  <a:pt x="2" y="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18" name="Freeform 255">
            <a:extLst>
              <a:ext uri="{FF2B5EF4-FFF2-40B4-BE49-F238E27FC236}">
                <a16:creationId xmlns:a16="http://schemas.microsoft.com/office/drawing/2014/main" id="{D7761D83-8237-4FF4-A671-E3DB2BE43542}"/>
              </a:ext>
            </a:extLst>
          </p:cNvPr>
          <p:cNvSpPr>
            <a:spLocks/>
          </p:cNvSpPr>
          <p:nvPr/>
        </p:nvSpPr>
        <p:spPr bwMode="gray">
          <a:xfrm>
            <a:off x="4451149" y="2500265"/>
            <a:ext cx="14525" cy="8011"/>
          </a:xfrm>
          <a:custGeom>
            <a:avLst/>
            <a:gdLst>
              <a:gd name="T0" fmla="*/ 4 w 20"/>
              <a:gd name="T1" fmla="*/ 0 h 12"/>
              <a:gd name="T2" fmla="*/ 10 w 20"/>
              <a:gd name="T3" fmla="*/ 0 h 12"/>
              <a:gd name="T4" fmla="*/ 20 w 20"/>
              <a:gd name="T5" fmla="*/ 8 h 12"/>
              <a:gd name="T6" fmla="*/ 20 w 20"/>
              <a:gd name="T7" fmla="*/ 10 h 12"/>
              <a:gd name="T8" fmla="*/ 20 w 20"/>
              <a:gd name="T9" fmla="*/ 12 h 12"/>
              <a:gd name="T10" fmla="*/ 18 w 20"/>
              <a:gd name="T11" fmla="*/ 12 h 12"/>
              <a:gd name="T12" fmla="*/ 4 w 20"/>
              <a:gd name="T13" fmla="*/ 10 h 12"/>
              <a:gd name="T14" fmla="*/ 0 w 20"/>
              <a:gd name="T15" fmla="*/ 4 h 12"/>
              <a:gd name="T16" fmla="*/ 4 w 20"/>
              <a:gd name="T17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0" h="12">
                <a:moveTo>
                  <a:pt x="4" y="0"/>
                </a:moveTo>
                <a:lnTo>
                  <a:pt x="10" y="0"/>
                </a:lnTo>
                <a:lnTo>
                  <a:pt x="20" y="8"/>
                </a:lnTo>
                <a:lnTo>
                  <a:pt x="20" y="10"/>
                </a:lnTo>
                <a:lnTo>
                  <a:pt x="20" y="12"/>
                </a:lnTo>
                <a:lnTo>
                  <a:pt x="18" y="12"/>
                </a:lnTo>
                <a:lnTo>
                  <a:pt x="4" y="10"/>
                </a:lnTo>
                <a:lnTo>
                  <a:pt x="0" y="4"/>
                </a:lnTo>
                <a:lnTo>
                  <a:pt x="4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19" name="Freeform 256">
            <a:extLst>
              <a:ext uri="{FF2B5EF4-FFF2-40B4-BE49-F238E27FC236}">
                <a16:creationId xmlns:a16="http://schemas.microsoft.com/office/drawing/2014/main" id="{3EE8FA09-3376-4CB9-A822-91E979924564}"/>
              </a:ext>
            </a:extLst>
          </p:cNvPr>
          <p:cNvSpPr>
            <a:spLocks/>
          </p:cNvSpPr>
          <p:nvPr/>
        </p:nvSpPr>
        <p:spPr bwMode="gray">
          <a:xfrm>
            <a:off x="4462769" y="2489583"/>
            <a:ext cx="11620" cy="13352"/>
          </a:xfrm>
          <a:custGeom>
            <a:avLst/>
            <a:gdLst>
              <a:gd name="T0" fmla="*/ 0 w 16"/>
              <a:gd name="T1" fmla="*/ 0 h 20"/>
              <a:gd name="T2" fmla="*/ 2 w 16"/>
              <a:gd name="T3" fmla="*/ 8 h 20"/>
              <a:gd name="T4" fmla="*/ 6 w 16"/>
              <a:gd name="T5" fmla="*/ 18 h 20"/>
              <a:gd name="T6" fmla="*/ 16 w 16"/>
              <a:gd name="T7" fmla="*/ 20 h 20"/>
              <a:gd name="T8" fmla="*/ 14 w 16"/>
              <a:gd name="T9" fmla="*/ 8 h 20"/>
              <a:gd name="T10" fmla="*/ 8 w 16"/>
              <a:gd name="T11" fmla="*/ 4 h 20"/>
              <a:gd name="T12" fmla="*/ 0 w 16"/>
              <a:gd name="T13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" h="20">
                <a:moveTo>
                  <a:pt x="0" y="0"/>
                </a:moveTo>
                <a:lnTo>
                  <a:pt x="2" y="8"/>
                </a:lnTo>
                <a:lnTo>
                  <a:pt x="6" y="18"/>
                </a:lnTo>
                <a:lnTo>
                  <a:pt x="16" y="20"/>
                </a:lnTo>
                <a:lnTo>
                  <a:pt x="14" y="8"/>
                </a:lnTo>
                <a:lnTo>
                  <a:pt x="8" y="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20" name="Freeform 257">
            <a:extLst>
              <a:ext uri="{FF2B5EF4-FFF2-40B4-BE49-F238E27FC236}">
                <a16:creationId xmlns:a16="http://schemas.microsoft.com/office/drawing/2014/main" id="{DE84E145-7566-4044-82DB-C7D712664294}"/>
              </a:ext>
            </a:extLst>
          </p:cNvPr>
          <p:cNvSpPr>
            <a:spLocks/>
          </p:cNvSpPr>
          <p:nvPr/>
        </p:nvSpPr>
        <p:spPr bwMode="gray">
          <a:xfrm>
            <a:off x="4472936" y="2510946"/>
            <a:ext cx="10167" cy="6676"/>
          </a:xfrm>
          <a:custGeom>
            <a:avLst/>
            <a:gdLst>
              <a:gd name="T0" fmla="*/ 0 w 14"/>
              <a:gd name="T1" fmla="*/ 2 h 10"/>
              <a:gd name="T2" fmla="*/ 6 w 14"/>
              <a:gd name="T3" fmla="*/ 0 h 10"/>
              <a:gd name="T4" fmla="*/ 14 w 14"/>
              <a:gd name="T5" fmla="*/ 4 h 10"/>
              <a:gd name="T6" fmla="*/ 14 w 14"/>
              <a:gd name="T7" fmla="*/ 10 h 10"/>
              <a:gd name="T8" fmla="*/ 6 w 14"/>
              <a:gd name="T9" fmla="*/ 8 h 10"/>
              <a:gd name="T10" fmla="*/ 0 w 14"/>
              <a:gd name="T11" fmla="*/ 2 h 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" h="10">
                <a:moveTo>
                  <a:pt x="0" y="2"/>
                </a:moveTo>
                <a:lnTo>
                  <a:pt x="6" y="0"/>
                </a:lnTo>
                <a:lnTo>
                  <a:pt x="14" y="4"/>
                </a:lnTo>
                <a:lnTo>
                  <a:pt x="14" y="10"/>
                </a:lnTo>
                <a:lnTo>
                  <a:pt x="6" y="8"/>
                </a:lnTo>
                <a:lnTo>
                  <a:pt x="0" y="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21" name="Freeform 258">
            <a:extLst>
              <a:ext uri="{FF2B5EF4-FFF2-40B4-BE49-F238E27FC236}">
                <a16:creationId xmlns:a16="http://schemas.microsoft.com/office/drawing/2014/main" id="{9506F794-EEC2-4C0F-A30B-8EFB7FD41E8F}"/>
              </a:ext>
            </a:extLst>
          </p:cNvPr>
          <p:cNvSpPr>
            <a:spLocks/>
          </p:cNvSpPr>
          <p:nvPr/>
        </p:nvSpPr>
        <p:spPr bwMode="gray">
          <a:xfrm>
            <a:off x="4504891" y="2619099"/>
            <a:ext cx="31955" cy="24034"/>
          </a:xfrm>
          <a:custGeom>
            <a:avLst/>
            <a:gdLst>
              <a:gd name="T0" fmla="*/ 0 w 44"/>
              <a:gd name="T1" fmla="*/ 0 h 36"/>
              <a:gd name="T2" fmla="*/ 14 w 44"/>
              <a:gd name="T3" fmla="*/ 6 h 36"/>
              <a:gd name="T4" fmla="*/ 24 w 44"/>
              <a:gd name="T5" fmla="*/ 18 h 36"/>
              <a:gd name="T6" fmla="*/ 34 w 44"/>
              <a:gd name="T7" fmla="*/ 24 h 36"/>
              <a:gd name="T8" fmla="*/ 44 w 44"/>
              <a:gd name="T9" fmla="*/ 32 h 36"/>
              <a:gd name="T10" fmla="*/ 42 w 44"/>
              <a:gd name="T11" fmla="*/ 36 h 36"/>
              <a:gd name="T12" fmla="*/ 30 w 44"/>
              <a:gd name="T13" fmla="*/ 28 h 36"/>
              <a:gd name="T14" fmla="*/ 20 w 44"/>
              <a:gd name="T15" fmla="*/ 20 h 36"/>
              <a:gd name="T16" fmla="*/ 10 w 44"/>
              <a:gd name="T17" fmla="*/ 12 h 36"/>
              <a:gd name="T18" fmla="*/ 2 w 44"/>
              <a:gd name="T19" fmla="*/ 8 h 36"/>
              <a:gd name="T20" fmla="*/ 0 w 44"/>
              <a:gd name="T21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4" h="36">
                <a:moveTo>
                  <a:pt x="0" y="0"/>
                </a:moveTo>
                <a:lnTo>
                  <a:pt x="14" y="6"/>
                </a:lnTo>
                <a:lnTo>
                  <a:pt x="24" y="18"/>
                </a:lnTo>
                <a:lnTo>
                  <a:pt x="34" y="24"/>
                </a:lnTo>
                <a:lnTo>
                  <a:pt x="44" y="32"/>
                </a:lnTo>
                <a:lnTo>
                  <a:pt x="42" y="36"/>
                </a:lnTo>
                <a:lnTo>
                  <a:pt x="30" y="28"/>
                </a:lnTo>
                <a:lnTo>
                  <a:pt x="20" y="20"/>
                </a:lnTo>
                <a:lnTo>
                  <a:pt x="10" y="12"/>
                </a:lnTo>
                <a:lnTo>
                  <a:pt x="2" y="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22" name="Freeform 259">
            <a:extLst>
              <a:ext uri="{FF2B5EF4-FFF2-40B4-BE49-F238E27FC236}">
                <a16:creationId xmlns:a16="http://schemas.microsoft.com/office/drawing/2014/main" id="{AE093627-F92D-4C64-9484-230F58009DC5}"/>
              </a:ext>
            </a:extLst>
          </p:cNvPr>
          <p:cNvSpPr>
            <a:spLocks/>
          </p:cNvSpPr>
          <p:nvPr/>
        </p:nvSpPr>
        <p:spPr bwMode="gray">
          <a:xfrm>
            <a:off x="4605112" y="2779326"/>
            <a:ext cx="63909" cy="90795"/>
          </a:xfrm>
          <a:custGeom>
            <a:avLst/>
            <a:gdLst>
              <a:gd name="T0" fmla="*/ 20 w 88"/>
              <a:gd name="T1" fmla="*/ 98 h 136"/>
              <a:gd name="T2" fmla="*/ 14 w 88"/>
              <a:gd name="T3" fmla="*/ 90 h 136"/>
              <a:gd name="T4" fmla="*/ 22 w 88"/>
              <a:gd name="T5" fmla="*/ 84 h 136"/>
              <a:gd name="T6" fmla="*/ 28 w 88"/>
              <a:gd name="T7" fmla="*/ 80 h 136"/>
              <a:gd name="T8" fmla="*/ 28 w 88"/>
              <a:gd name="T9" fmla="*/ 62 h 136"/>
              <a:gd name="T10" fmla="*/ 30 w 88"/>
              <a:gd name="T11" fmla="*/ 46 h 136"/>
              <a:gd name="T12" fmla="*/ 20 w 88"/>
              <a:gd name="T13" fmla="*/ 34 h 136"/>
              <a:gd name="T14" fmla="*/ 8 w 88"/>
              <a:gd name="T15" fmla="*/ 26 h 136"/>
              <a:gd name="T16" fmla="*/ 2 w 88"/>
              <a:gd name="T17" fmla="*/ 10 h 136"/>
              <a:gd name="T18" fmla="*/ 0 w 88"/>
              <a:gd name="T19" fmla="*/ 0 h 136"/>
              <a:gd name="T20" fmla="*/ 10 w 88"/>
              <a:gd name="T21" fmla="*/ 10 h 136"/>
              <a:gd name="T22" fmla="*/ 22 w 88"/>
              <a:gd name="T23" fmla="*/ 18 h 136"/>
              <a:gd name="T24" fmla="*/ 30 w 88"/>
              <a:gd name="T25" fmla="*/ 26 h 136"/>
              <a:gd name="T26" fmla="*/ 28 w 88"/>
              <a:gd name="T27" fmla="*/ 34 h 136"/>
              <a:gd name="T28" fmla="*/ 34 w 88"/>
              <a:gd name="T29" fmla="*/ 44 h 136"/>
              <a:gd name="T30" fmla="*/ 38 w 88"/>
              <a:gd name="T31" fmla="*/ 52 h 136"/>
              <a:gd name="T32" fmla="*/ 44 w 88"/>
              <a:gd name="T33" fmla="*/ 46 h 136"/>
              <a:gd name="T34" fmla="*/ 46 w 88"/>
              <a:gd name="T35" fmla="*/ 52 h 136"/>
              <a:gd name="T36" fmla="*/ 52 w 88"/>
              <a:gd name="T37" fmla="*/ 60 h 136"/>
              <a:gd name="T38" fmla="*/ 64 w 88"/>
              <a:gd name="T39" fmla="*/ 68 h 136"/>
              <a:gd name="T40" fmla="*/ 76 w 88"/>
              <a:gd name="T41" fmla="*/ 66 h 136"/>
              <a:gd name="T42" fmla="*/ 82 w 88"/>
              <a:gd name="T43" fmla="*/ 60 h 136"/>
              <a:gd name="T44" fmla="*/ 88 w 88"/>
              <a:gd name="T45" fmla="*/ 62 h 136"/>
              <a:gd name="T46" fmla="*/ 88 w 88"/>
              <a:gd name="T47" fmla="*/ 74 h 136"/>
              <a:gd name="T48" fmla="*/ 80 w 88"/>
              <a:gd name="T49" fmla="*/ 80 h 136"/>
              <a:gd name="T50" fmla="*/ 80 w 88"/>
              <a:gd name="T51" fmla="*/ 88 h 136"/>
              <a:gd name="T52" fmla="*/ 64 w 88"/>
              <a:gd name="T53" fmla="*/ 90 h 136"/>
              <a:gd name="T54" fmla="*/ 64 w 88"/>
              <a:gd name="T55" fmla="*/ 98 h 136"/>
              <a:gd name="T56" fmla="*/ 64 w 88"/>
              <a:gd name="T57" fmla="*/ 106 h 136"/>
              <a:gd name="T58" fmla="*/ 58 w 88"/>
              <a:gd name="T59" fmla="*/ 114 h 136"/>
              <a:gd name="T60" fmla="*/ 50 w 88"/>
              <a:gd name="T61" fmla="*/ 126 h 136"/>
              <a:gd name="T62" fmla="*/ 40 w 88"/>
              <a:gd name="T63" fmla="*/ 136 h 136"/>
              <a:gd name="T64" fmla="*/ 32 w 88"/>
              <a:gd name="T65" fmla="*/ 134 h 136"/>
              <a:gd name="T66" fmla="*/ 30 w 88"/>
              <a:gd name="T67" fmla="*/ 122 h 136"/>
              <a:gd name="T68" fmla="*/ 36 w 88"/>
              <a:gd name="T69" fmla="*/ 116 h 136"/>
              <a:gd name="T70" fmla="*/ 36 w 88"/>
              <a:gd name="T71" fmla="*/ 108 h 136"/>
              <a:gd name="T72" fmla="*/ 30 w 88"/>
              <a:gd name="T73" fmla="*/ 100 h 136"/>
              <a:gd name="T74" fmla="*/ 20 w 88"/>
              <a:gd name="T75" fmla="*/ 98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" h="136">
                <a:moveTo>
                  <a:pt x="20" y="98"/>
                </a:moveTo>
                <a:lnTo>
                  <a:pt x="14" y="90"/>
                </a:lnTo>
                <a:lnTo>
                  <a:pt x="22" y="84"/>
                </a:lnTo>
                <a:lnTo>
                  <a:pt x="28" y="80"/>
                </a:lnTo>
                <a:lnTo>
                  <a:pt x="28" y="62"/>
                </a:lnTo>
                <a:lnTo>
                  <a:pt x="30" y="46"/>
                </a:lnTo>
                <a:lnTo>
                  <a:pt x="20" y="34"/>
                </a:lnTo>
                <a:lnTo>
                  <a:pt x="8" y="26"/>
                </a:lnTo>
                <a:lnTo>
                  <a:pt x="2" y="10"/>
                </a:lnTo>
                <a:lnTo>
                  <a:pt x="0" y="0"/>
                </a:lnTo>
                <a:lnTo>
                  <a:pt x="10" y="10"/>
                </a:lnTo>
                <a:lnTo>
                  <a:pt x="22" y="18"/>
                </a:lnTo>
                <a:lnTo>
                  <a:pt x="30" y="26"/>
                </a:lnTo>
                <a:lnTo>
                  <a:pt x="28" y="34"/>
                </a:lnTo>
                <a:lnTo>
                  <a:pt x="34" y="44"/>
                </a:lnTo>
                <a:lnTo>
                  <a:pt x="38" y="52"/>
                </a:lnTo>
                <a:lnTo>
                  <a:pt x="44" y="46"/>
                </a:lnTo>
                <a:lnTo>
                  <a:pt x="46" y="52"/>
                </a:lnTo>
                <a:lnTo>
                  <a:pt x="52" y="60"/>
                </a:lnTo>
                <a:lnTo>
                  <a:pt x="64" y="68"/>
                </a:lnTo>
                <a:lnTo>
                  <a:pt x="76" y="66"/>
                </a:lnTo>
                <a:lnTo>
                  <a:pt x="82" y="60"/>
                </a:lnTo>
                <a:lnTo>
                  <a:pt x="88" y="62"/>
                </a:lnTo>
                <a:lnTo>
                  <a:pt x="88" y="74"/>
                </a:lnTo>
                <a:lnTo>
                  <a:pt x="80" y="80"/>
                </a:lnTo>
                <a:lnTo>
                  <a:pt x="80" y="88"/>
                </a:lnTo>
                <a:lnTo>
                  <a:pt x="64" y="90"/>
                </a:lnTo>
                <a:lnTo>
                  <a:pt x="64" y="98"/>
                </a:lnTo>
                <a:lnTo>
                  <a:pt x="64" y="106"/>
                </a:lnTo>
                <a:lnTo>
                  <a:pt x="58" y="114"/>
                </a:lnTo>
                <a:lnTo>
                  <a:pt x="50" y="126"/>
                </a:lnTo>
                <a:lnTo>
                  <a:pt x="40" y="136"/>
                </a:lnTo>
                <a:lnTo>
                  <a:pt x="32" y="134"/>
                </a:lnTo>
                <a:lnTo>
                  <a:pt x="30" y="122"/>
                </a:lnTo>
                <a:lnTo>
                  <a:pt x="36" y="116"/>
                </a:lnTo>
                <a:lnTo>
                  <a:pt x="36" y="108"/>
                </a:lnTo>
                <a:lnTo>
                  <a:pt x="30" y="100"/>
                </a:lnTo>
                <a:lnTo>
                  <a:pt x="20" y="98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23" name="Freeform 260">
            <a:extLst>
              <a:ext uri="{FF2B5EF4-FFF2-40B4-BE49-F238E27FC236}">
                <a16:creationId xmlns:a16="http://schemas.microsoft.com/office/drawing/2014/main" id="{7F4F88D5-DC71-475E-9C2D-9D67E10AEEF8}"/>
              </a:ext>
            </a:extLst>
          </p:cNvPr>
          <p:cNvSpPr>
            <a:spLocks/>
          </p:cNvSpPr>
          <p:nvPr/>
        </p:nvSpPr>
        <p:spPr bwMode="gray">
          <a:xfrm>
            <a:off x="4532488" y="2856769"/>
            <a:ext cx="88601" cy="77443"/>
          </a:xfrm>
          <a:custGeom>
            <a:avLst/>
            <a:gdLst>
              <a:gd name="T0" fmla="*/ 92 w 122"/>
              <a:gd name="T1" fmla="*/ 0 h 116"/>
              <a:gd name="T2" fmla="*/ 100 w 122"/>
              <a:gd name="T3" fmla="*/ 2 h 116"/>
              <a:gd name="T4" fmla="*/ 106 w 122"/>
              <a:gd name="T5" fmla="*/ 10 h 116"/>
              <a:gd name="T6" fmla="*/ 116 w 122"/>
              <a:gd name="T7" fmla="*/ 10 h 116"/>
              <a:gd name="T8" fmla="*/ 122 w 122"/>
              <a:gd name="T9" fmla="*/ 10 h 116"/>
              <a:gd name="T10" fmla="*/ 122 w 122"/>
              <a:gd name="T11" fmla="*/ 20 h 116"/>
              <a:gd name="T12" fmla="*/ 116 w 122"/>
              <a:gd name="T13" fmla="*/ 30 h 116"/>
              <a:gd name="T14" fmla="*/ 110 w 122"/>
              <a:gd name="T15" fmla="*/ 38 h 116"/>
              <a:gd name="T16" fmla="*/ 100 w 122"/>
              <a:gd name="T17" fmla="*/ 46 h 116"/>
              <a:gd name="T18" fmla="*/ 100 w 122"/>
              <a:gd name="T19" fmla="*/ 60 h 116"/>
              <a:gd name="T20" fmla="*/ 90 w 122"/>
              <a:gd name="T21" fmla="*/ 62 h 116"/>
              <a:gd name="T22" fmla="*/ 80 w 122"/>
              <a:gd name="T23" fmla="*/ 66 h 116"/>
              <a:gd name="T24" fmla="*/ 74 w 122"/>
              <a:gd name="T25" fmla="*/ 74 h 116"/>
              <a:gd name="T26" fmla="*/ 70 w 122"/>
              <a:gd name="T27" fmla="*/ 90 h 116"/>
              <a:gd name="T28" fmla="*/ 58 w 122"/>
              <a:gd name="T29" fmla="*/ 104 h 116"/>
              <a:gd name="T30" fmla="*/ 48 w 122"/>
              <a:gd name="T31" fmla="*/ 114 h 116"/>
              <a:gd name="T32" fmla="*/ 30 w 122"/>
              <a:gd name="T33" fmla="*/ 116 h 116"/>
              <a:gd name="T34" fmla="*/ 22 w 122"/>
              <a:gd name="T35" fmla="*/ 110 h 116"/>
              <a:gd name="T36" fmla="*/ 16 w 122"/>
              <a:gd name="T37" fmla="*/ 108 h 116"/>
              <a:gd name="T38" fmla="*/ 0 w 122"/>
              <a:gd name="T39" fmla="*/ 106 h 116"/>
              <a:gd name="T40" fmla="*/ 4 w 122"/>
              <a:gd name="T41" fmla="*/ 92 h 116"/>
              <a:gd name="T42" fmla="*/ 14 w 122"/>
              <a:gd name="T43" fmla="*/ 80 h 116"/>
              <a:gd name="T44" fmla="*/ 30 w 122"/>
              <a:gd name="T45" fmla="*/ 64 h 116"/>
              <a:gd name="T46" fmla="*/ 38 w 122"/>
              <a:gd name="T47" fmla="*/ 64 h 116"/>
              <a:gd name="T48" fmla="*/ 48 w 122"/>
              <a:gd name="T49" fmla="*/ 52 h 116"/>
              <a:gd name="T50" fmla="*/ 60 w 122"/>
              <a:gd name="T51" fmla="*/ 52 h 116"/>
              <a:gd name="T52" fmla="*/ 72 w 122"/>
              <a:gd name="T53" fmla="*/ 36 h 116"/>
              <a:gd name="T54" fmla="*/ 78 w 122"/>
              <a:gd name="T55" fmla="*/ 26 h 116"/>
              <a:gd name="T56" fmla="*/ 88 w 122"/>
              <a:gd name="T57" fmla="*/ 20 h 116"/>
              <a:gd name="T58" fmla="*/ 88 w 122"/>
              <a:gd name="T59" fmla="*/ 10 h 116"/>
              <a:gd name="T60" fmla="*/ 92 w 122"/>
              <a:gd name="T61" fmla="*/ 0 h 1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22" h="116">
                <a:moveTo>
                  <a:pt x="92" y="0"/>
                </a:moveTo>
                <a:lnTo>
                  <a:pt x="100" y="2"/>
                </a:lnTo>
                <a:lnTo>
                  <a:pt x="106" y="10"/>
                </a:lnTo>
                <a:lnTo>
                  <a:pt x="116" y="10"/>
                </a:lnTo>
                <a:lnTo>
                  <a:pt x="122" y="10"/>
                </a:lnTo>
                <a:lnTo>
                  <a:pt x="122" y="20"/>
                </a:lnTo>
                <a:lnTo>
                  <a:pt x="116" y="30"/>
                </a:lnTo>
                <a:lnTo>
                  <a:pt x="110" y="38"/>
                </a:lnTo>
                <a:lnTo>
                  <a:pt x="100" y="46"/>
                </a:lnTo>
                <a:lnTo>
                  <a:pt x="100" y="60"/>
                </a:lnTo>
                <a:lnTo>
                  <a:pt x="90" y="62"/>
                </a:lnTo>
                <a:lnTo>
                  <a:pt x="80" y="66"/>
                </a:lnTo>
                <a:lnTo>
                  <a:pt x="74" y="74"/>
                </a:lnTo>
                <a:lnTo>
                  <a:pt x="70" y="90"/>
                </a:lnTo>
                <a:lnTo>
                  <a:pt x="58" y="104"/>
                </a:lnTo>
                <a:lnTo>
                  <a:pt x="48" y="114"/>
                </a:lnTo>
                <a:lnTo>
                  <a:pt x="30" y="116"/>
                </a:lnTo>
                <a:lnTo>
                  <a:pt x="22" y="110"/>
                </a:lnTo>
                <a:lnTo>
                  <a:pt x="16" y="108"/>
                </a:lnTo>
                <a:lnTo>
                  <a:pt x="0" y="106"/>
                </a:lnTo>
                <a:lnTo>
                  <a:pt x="4" y="92"/>
                </a:lnTo>
                <a:lnTo>
                  <a:pt x="14" y="80"/>
                </a:lnTo>
                <a:lnTo>
                  <a:pt x="30" y="64"/>
                </a:lnTo>
                <a:lnTo>
                  <a:pt x="38" y="64"/>
                </a:lnTo>
                <a:lnTo>
                  <a:pt x="48" y="52"/>
                </a:lnTo>
                <a:lnTo>
                  <a:pt x="60" y="52"/>
                </a:lnTo>
                <a:lnTo>
                  <a:pt x="72" y="36"/>
                </a:lnTo>
                <a:lnTo>
                  <a:pt x="78" y="26"/>
                </a:lnTo>
                <a:lnTo>
                  <a:pt x="88" y="20"/>
                </a:lnTo>
                <a:lnTo>
                  <a:pt x="88" y="10"/>
                </a:lnTo>
                <a:lnTo>
                  <a:pt x="92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24" name="Freeform 261">
            <a:extLst>
              <a:ext uri="{FF2B5EF4-FFF2-40B4-BE49-F238E27FC236}">
                <a16:creationId xmlns:a16="http://schemas.microsoft.com/office/drawing/2014/main" id="{C3A7BFF6-99C1-4DD0-A08E-8B3D66325089}"/>
              </a:ext>
            </a:extLst>
          </p:cNvPr>
          <p:cNvSpPr>
            <a:spLocks/>
          </p:cNvSpPr>
          <p:nvPr/>
        </p:nvSpPr>
        <p:spPr bwMode="gray">
          <a:xfrm>
            <a:off x="4279756" y="2856769"/>
            <a:ext cx="42122" cy="38721"/>
          </a:xfrm>
          <a:custGeom>
            <a:avLst/>
            <a:gdLst>
              <a:gd name="T0" fmla="*/ 2 w 58"/>
              <a:gd name="T1" fmla="*/ 0 h 58"/>
              <a:gd name="T2" fmla="*/ 12 w 58"/>
              <a:gd name="T3" fmla="*/ 6 h 58"/>
              <a:gd name="T4" fmla="*/ 26 w 58"/>
              <a:gd name="T5" fmla="*/ 12 h 58"/>
              <a:gd name="T6" fmla="*/ 40 w 58"/>
              <a:gd name="T7" fmla="*/ 10 h 58"/>
              <a:gd name="T8" fmla="*/ 52 w 58"/>
              <a:gd name="T9" fmla="*/ 8 h 58"/>
              <a:gd name="T10" fmla="*/ 58 w 58"/>
              <a:gd name="T11" fmla="*/ 10 h 58"/>
              <a:gd name="T12" fmla="*/ 58 w 58"/>
              <a:gd name="T13" fmla="*/ 26 h 58"/>
              <a:gd name="T14" fmla="*/ 54 w 58"/>
              <a:gd name="T15" fmla="*/ 34 h 58"/>
              <a:gd name="T16" fmla="*/ 52 w 58"/>
              <a:gd name="T17" fmla="*/ 42 h 58"/>
              <a:gd name="T18" fmla="*/ 48 w 58"/>
              <a:gd name="T19" fmla="*/ 46 h 58"/>
              <a:gd name="T20" fmla="*/ 42 w 58"/>
              <a:gd name="T21" fmla="*/ 46 h 58"/>
              <a:gd name="T22" fmla="*/ 40 w 58"/>
              <a:gd name="T23" fmla="*/ 50 h 58"/>
              <a:gd name="T24" fmla="*/ 32 w 58"/>
              <a:gd name="T25" fmla="*/ 58 h 58"/>
              <a:gd name="T26" fmla="*/ 24 w 58"/>
              <a:gd name="T27" fmla="*/ 56 h 58"/>
              <a:gd name="T28" fmla="*/ 16 w 58"/>
              <a:gd name="T29" fmla="*/ 48 h 58"/>
              <a:gd name="T30" fmla="*/ 10 w 58"/>
              <a:gd name="T31" fmla="*/ 40 h 58"/>
              <a:gd name="T32" fmla="*/ 12 w 58"/>
              <a:gd name="T33" fmla="*/ 26 h 58"/>
              <a:gd name="T34" fmla="*/ 8 w 58"/>
              <a:gd name="T35" fmla="*/ 18 h 58"/>
              <a:gd name="T36" fmla="*/ 0 w 58"/>
              <a:gd name="T37" fmla="*/ 12 h 58"/>
              <a:gd name="T38" fmla="*/ 2 w 58"/>
              <a:gd name="T39" fmla="*/ 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58" h="58">
                <a:moveTo>
                  <a:pt x="2" y="0"/>
                </a:moveTo>
                <a:lnTo>
                  <a:pt x="12" y="6"/>
                </a:lnTo>
                <a:lnTo>
                  <a:pt x="26" y="12"/>
                </a:lnTo>
                <a:lnTo>
                  <a:pt x="40" y="10"/>
                </a:lnTo>
                <a:lnTo>
                  <a:pt x="52" y="8"/>
                </a:lnTo>
                <a:lnTo>
                  <a:pt x="58" y="10"/>
                </a:lnTo>
                <a:lnTo>
                  <a:pt x="58" y="26"/>
                </a:lnTo>
                <a:lnTo>
                  <a:pt x="54" y="34"/>
                </a:lnTo>
                <a:lnTo>
                  <a:pt x="52" y="42"/>
                </a:lnTo>
                <a:lnTo>
                  <a:pt x="48" y="46"/>
                </a:lnTo>
                <a:lnTo>
                  <a:pt x="42" y="46"/>
                </a:lnTo>
                <a:lnTo>
                  <a:pt x="40" y="50"/>
                </a:lnTo>
                <a:lnTo>
                  <a:pt x="32" y="58"/>
                </a:lnTo>
                <a:lnTo>
                  <a:pt x="24" y="56"/>
                </a:lnTo>
                <a:lnTo>
                  <a:pt x="16" y="48"/>
                </a:lnTo>
                <a:lnTo>
                  <a:pt x="10" y="40"/>
                </a:lnTo>
                <a:lnTo>
                  <a:pt x="12" y="26"/>
                </a:lnTo>
                <a:lnTo>
                  <a:pt x="8" y="18"/>
                </a:lnTo>
                <a:lnTo>
                  <a:pt x="0" y="12"/>
                </a:lnTo>
                <a:lnTo>
                  <a:pt x="2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25" name="Freeform 262">
            <a:extLst>
              <a:ext uri="{FF2B5EF4-FFF2-40B4-BE49-F238E27FC236}">
                <a16:creationId xmlns:a16="http://schemas.microsoft.com/office/drawing/2014/main" id="{375ED9E6-C9F3-4CD6-846B-45B188C22B30}"/>
              </a:ext>
            </a:extLst>
          </p:cNvPr>
          <p:cNvSpPr>
            <a:spLocks/>
          </p:cNvSpPr>
          <p:nvPr/>
        </p:nvSpPr>
        <p:spPr bwMode="gray">
          <a:xfrm>
            <a:off x="3916636" y="2517622"/>
            <a:ext cx="464794" cy="317783"/>
          </a:xfrm>
          <a:custGeom>
            <a:avLst/>
            <a:gdLst>
              <a:gd name="T0" fmla="*/ 308 w 640"/>
              <a:gd name="T1" fmla="*/ 18 h 476"/>
              <a:gd name="T2" fmla="*/ 308 w 640"/>
              <a:gd name="T3" fmla="*/ 4 h 476"/>
              <a:gd name="T4" fmla="*/ 340 w 640"/>
              <a:gd name="T5" fmla="*/ 18 h 476"/>
              <a:gd name="T6" fmla="*/ 362 w 640"/>
              <a:gd name="T7" fmla="*/ 22 h 476"/>
              <a:gd name="T8" fmla="*/ 372 w 640"/>
              <a:gd name="T9" fmla="*/ 30 h 476"/>
              <a:gd name="T10" fmla="*/ 352 w 640"/>
              <a:gd name="T11" fmla="*/ 54 h 476"/>
              <a:gd name="T12" fmla="*/ 372 w 640"/>
              <a:gd name="T13" fmla="*/ 78 h 476"/>
              <a:gd name="T14" fmla="*/ 416 w 640"/>
              <a:gd name="T15" fmla="*/ 102 h 476"/>
              <a:gd name="T16" fmla="*/ 450 w 640"/>
              <a:gd name="T17" fmla="*/ 84 h 476"/>
              <a:gd name="T18" fmla="*/ 456 w 640"/>
              <a:gd name="T19" fmla="*/ 22 h 476"/>
              <a:gd name="T20" fmla="*/ 470 w 640"/>
              <a:gd name="T21" fmla="*/ 6 h 476"/>
              <a:gd name="T22" fmla="*/ 484 w 640"/>
              <a:gd name="T23" fmla="*/ 54 h 476"/>
              <a:gd name="T24" fmla="*/ 510 w 640"/>
              <a:gd name="T25" fmla="*/ 72 h 476"/>
              <a:gd name="T26" fmla="*/ 522 w 640"/>
              <a:gd name="T27" fmla="*/ 102 h 476"/>
              <a:gd name="T28" fmla="*/ 532 w 640"/>
              <a:gd name="T29" fmla="*/ 134 h 476"/>
              <a:gd name="T30" fmla="*/ 568 w 640"/>
              <a:gd name="T31" fmla="*/ 162 h 476"/>
              <a:gd name="T32" fmla="*/ 582 w 640"/>
              <a:gd name="T33" fmla="*/ 188 h 476"/>
              <a:gd name="T34" fmla="*/ 612 w 640"/>
              <a:gd name="T35" fmla="*/ 214 h 476"/>
              <a:gd name="T36" fmla="*/ 634 w 640"/>
              <a:gd name="T37" fmla="*/ 254 h 476"/>
              <a:gd name="T38" fmla="*/ 640 w 640"/>
              <a:gd name="T39" fmla="*/ 300 h 476"/>
              <a:gd name="T40" fmla="*/ 624 w 640"/>
              <a:gd name="T41" fmla="*/ 358 h 476"/>
              <a:gd name="T42" fmla="*/ 596 w 640"/>
              <a:gd name="T43" fmla="*/ 402 h 476"/>
              <a:gd name="T44" fmla="*/ 582 w 640"/>
              <a:gd name="T45" fmla="*/ 450 h 476"/>
              <a:gd name="T46" fmla="*/ 550 w 640"/>
              <a:gd name="T47" fmla="*/ 452 h 476"/>
              <a:gd name="T48" fmla="*/ 532 w 640"/>
              <a:gd name="T49" fmla="*/ 474 h 476"/>
              <a:gd name="T50" fmla="*/ 516 w 640"/>
              <a:gd name="T51" fmla="*/ 468 h 476"/>
              <a:gd name="T52" fmla="*/ 500 w 640"/>
              <a:gd name="T53" fmla="*/ 460 h 476"/>
              <a:gd name="T54" fmla="*/ 462 w 640"/>
              <a:gd name="T55" fmla="*/ 464 h 476"/>
              <a:gd name="T56" fmla="*/ 430 w 640"/>
              <a:gd name="T57" fmla="*/ 452 h 476"/>
              <a:gd name="T58" fmla="*/ 418 w 640"/>
              <a:gd name="T59" fmla="*/ 424 h 476"/>
              <a:gd name="T60" fmla="*/ 400 w 640"/>
              <a:gd name="T61" fmla="*/ 408 h 476"/>
              <a:gd name="T62" fmla="*/ 390 w 640"/>
              <a:gd name="T63" fmla="*/ 402 h 476"/>
              <a:gd name="T64" fmla="*/ 392 w 640"/>
              <a:gd name="T65" fmla="*/ 382 h 476"/>
              <a:gd name="T66" fmla="*/ 382 w 640"/>
              <a:gd name="T67" fmla="*/ 376 h 476"/>
              <a:gd name="T68" fmla="*/ 360 w 640"/>
              <a:gd name="T69" fmla="*/ 402 h 476"/>
              <a:gd name="T70" fmla="*/ 340 w 640"/>
              <a:gd name="T71" fmla="*/ 372 h 476"/>
              <a:gd name="T72" fmla="*/ 298 w 640"/>
              <a:gd name="T73" fmla="*/ 350 h 476"/>
              <a:gd name="T74" fmla="*/ 228 w 640"/>
              <a:gd name="T75" fmla="*/ 356 h 476"/>
              <a:gd name="T76" fmla="*/ 172 w 640"/>
              <a:gd name="T77" fmla="*/ 372 h 476"/>
              <a:gd name="T78" fmla="*/ 108 w 640"/>
              <a:gd name="T79" fmla="*/ 386 h 476"/>
              <a:gd name="T80" fmla="*/ 80 w 640"/>
              <a:gd name="T81" fmla="*/ 406 h 476"/>
              <a:gd name="T82" fmla="*/ 30 w 640"/>
              <a:gd name="T83" fmla="*/ 394 h 476"/>
              <a:gd name="T84" fmla="*/ 40 w 640"/>
              <a:gd name="T85" fmla="*/ 356 h 476"/>
              <a:gd name="T86" fmla="*/ 30 w 640"/>
              <a:gd name="T87" fmla="*/ 310 h 476"/>
              <a:gd name="T88" fmla="*/ 4 w 640"/>
              <a:gd name="T89" fmla="*/ 254 h 476"/>
              <a:gd name="T90" fmla="*/ 10 w 640"/>
              <a:gd name="T91" fmla="*/ 254 h 476"/>
              <a:gd name="T92" fmla="*/ 12 w 640"/>
              <a:gd name="T93" fmla="*/ 238 h 476"/>
              <a:gd name="T94" fmla="*/ 12 w 640"/>
              <a:gd name="T95" fmla="*/ 188 h 476"/>
              <a:gd name="T96" fmla="*/ 24 w 640"/>
              <a:gd name="T97" fmla="*/ 178 h 476"/>
              <a:gd name="T98" fmla="*/ 62 w 640"/>
              <a:gd name="T99" fmla="*/ 158 h 476"/>
              <a:gd name="T100" fmla="*/ 122 w 640"/>
              <a:gd name="T101" fmla="*/ 144 h 476"/>
              <a:gd name="T102" fmla="*/ 146 w 640"/>
              <a:gd name="T103" fmla="*/ 98 h 476"/>
              <a:gd name="T104" fmla="*/ 164 w 640"/>
              <a:gd name="T105" fmla="*/ 102 h 476"/>
              <a:gd name="T106" fmla="*/ 176 w 640"/>
              <a:gd name="T107" fmla="*/ 88 h 476"/>
              <a:gd name="T108" fmla="*/ 192 w 640"/>
              <a:gd name="T109" fmla="*/ 66 h 476"/>
              <a:gd name="T110" fmla="*/ 220 w 640"/>
              <a:gd name="T111" fmla="*/ 48 h 476"/>
              <a:gd name="T112" fmla="*/ 242 w 640"/>
              <a:gd name="T113" fmla="*/ 66 h 476"/>
              <a:gd name="T114" fmla="*/ 256 w 640"/>
              <a:gd name="T115" fmla="*/ 52 h 476"/>
              <a:gd name="T116" fmla="*/ 282 w 640"/>
              <a:gd name="T117" fmla="*/ 24 h 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40" h="476">
                <a:moveTo>
                  <a:pt x="286" y="20"/>
                </a:moveTo>
                <a:lnTo>
                  <a:pt x="296" y="22"/>
                </a:lnTo>
                <a:lnTo>
                  <a:pt x="308" y="18"/>
                </a:lnTo>
                <a:lnTo>
                  <a:pt x="310" y="12"/>
                </a:lnTo>
                <a:lnTo>
                  <a:pt x="302" y="6"/>
                </a:lnTo>
                <a:lnTo>
                  <a:pt x="308" y="4"/>
                </a:lnTo>
                <a:lnTo>
                  <a:pt x="322" y="10"/>
                </a:lnTo>
                <a:lnTo>
                  <a:pt x="330" y="14"/>
                </a:lnTo>
                <a:lnTo>
                  <a:pt x="340" y="18"/>
                </a:lnTo>
                <a:lnTo>
                  <a:pt x="348" y="20"/>
                </a:lnTo>
                <a:lnTo>
                  <a:pt x="354" y="22"/>
                </a:lnTo>
                <a:lnTo>
                  <a:pt x="362" y="22"/>
                </a:lnTo>
                <a:lnTo>
                  <a:pt x="372" y="18"/>
                </a:lnTo>
                <a:lnTo>
                  <a:pt x="380" y="22"/>
                </a:lnTo>
                <a:lnTo>
                  <a:pt x="372" y="30"/>
                </a:lnTo>
                <a:lnTo>
                  <a:pt x="366" y="40"/>
                </a:lnTo>
                <a:lnTo>
                  <a:pt x="360" y="48"/>
                </a:lnTo>
                <a:lnTo>
                  <a:pt x="352" y="54"/>
                </a:lnTo>
                <a:lnTo>
                  <a:pt x="352" y="62"/>
                </a:lnTo>
                <a:lnTo>
                  <a:pt x="358" y="68"/>
                </a:lnTo>
                <a:lnTo>
                  <a:pt x="372" y="78"/>
                </a:lnTo>
                <a:lnTo>
                  <a:pt x="388" y="84"/>
                </a:lnTo>
                <a:lnTo>
                  <a:pt x="404" y="96"/>
                </a:lnTo>
                <a:lnTo>
                  <a:pt x="416" y="102"/>
                </a:lnTo>
                <a:lnTo>
                  <a:pt x="432" y="112"/>
                </a:lnTo>
                <a:lnTo>
                  <a:pt x="442" y="100"/>
                </a:lnTo>
                <a:lnTo>
                  <a:pt x="450" y="84"/>
                </a:lnTo>
                <a:lnTo>
                  <a:pt x="452" y="66"/>
                </a:lnTo>
                <a:lnTo>
                  <a:pt x="450" y="40"/>
                </a:lnTo>
                <a:lnTo>
                  <a:pt x="456" y="22"/>
                </a:lnTo>
                <a:lnTo>
                  <a:pt x="460" y="10"/>
                </a:lnTo>
                <a:lnTo>
                  <a:pt x="464" y="0"/>
                </a:lnTo>
                <a:lnTo>
                  <a:pt x="470" y="6"/>
                </a:lnTo>
                <a:lnTo>
                  <a:pt x="478" y="20"/>
                </a:lnTo>
                <a:lnTo>
                  <a:pt x="482" y="32"/>
                </a:lnTo>
                <a:lnTo>
                  <a:pt x="484" y="54"/>
                </a:lnTo>
                <a:lnTo>
                  <a:pt x="494" y="58"/>
                </a:lnTo>
                <a:lnTo>
                  <a:pt x="506" y="62"/>
                </a:lnTo>
                <a:lnTo>
                  <a:pt x="510" y="72"/>
                </a:lnTo>
                <a:lnTo>
                  <a:pt x="512" y="82"/>
                </a:lnTo>
                <a:lnTo>
                  <a:pt x="512" y="96"/>
                </a:lnTo>
                <a:lnTo>
                  <a:pt x="522" y="102"/>
                </a:lnTo>
                <a:lnTo>
                  <a:pt x="526" y="112"/>
                </a:lnTo>
                <a:lnTo>
                  <a:pt x="526" y="124"/>
                </a:lnTo>
                <a:lnTo>
                  <a:pt x="532" y="134"/>
                </a:lnTo>
                <a:lnTo>
                  <a:pt x="544" y="138"/>
                </a:lnTo>
                <a:lnTo>
                  <a:pt x="558" y="148"/>
                </a:lnTo>
                <a:lnTo>
                  <a:pt x="568" y="162"/>
                </a:lnTo>
                <a:lnTo>
                  <a:pt x="578" y="172"/>
                </a:lnTo>
                <a:lnTo>
                  <a:pt x="578" y="182"/>
                </a:lnTo>
                <a:lnTo>
                  <a:pt x="582" y="188"/>
                </a:lnTo>
                <a:lnTo>
                  <a:pt x="594" y="188"/>
                </a:lnTo>
                <a:lnTo>
                  <a:pt x="598" y="204"/>
                </a:lnTo>
                <a:lnTo>
                  <a:pt x="612" y="214"/>
                </a:lnTo>
                <a:lnTo>
                  <a:pt x="624" y="228"/>
                </a:lnTo>
                <a:lnTo>
                  <a:pt x="630" y="242"/>
                </a:lnTo>
                <a:lnTo>
                  <a:pt x="634" y="254"/>
                </a:lnTo>
                <a:lnTo>
                  <a:pt x="636" y="270"/>
                </a:lnTo>
                <a:lnTo>
                  <a:pt x="638" y="282"/>
                </a:lnTo>
                <a:lnTo>
                  <a:pt x="640" y="300"/>
                </a:lnTo>
                <a:lnTo>
                  <a:pt x="634" y="322"/>
                </a:lnTo>
                <a:lnTo>
                  <a:pt x="632" y="340"/>
                </a:lnTo>
                <a:lnTo>
                  <a:pt x="624" y="358"/>
                </a:lnTo>
                <a:lnTo>
                  <a:pt x="612" y="368"/>
                </a:lnTo>
                <a:lnTo>
                  <a:pt x="606" y="380"/>
                </a:lnTo>
                <a:lnTo>
                  <a:pt x="596" y="402"/>
                </a:lnTo>
                <a:lnTo>
                  <a:pt x="590" y="418"/>
                </a:lnTo>
                <a:lnTo>
                  <a:pt x="582" y="432"/>
                </a:lnTo>
                <a:lnTo>
                  <a:pt x="582" y="450"/>
                </a:lnTo>
                <a:lnTo>
                  <a:pt x="576" y="454"/>
                </a:lnTo>
                <a:lnTo>
                  <a:pt x="566" y="454"/>
                </a:lnTo>
                <a:lnTo>
                  <a:pt x="550" y="452"/>
                </a:lnTo>
                <a:lnTo>
                  <a:pt x="546" y="464"/>
                </a:lnTo>
                <a:lnTo>
                  <a:pt x="534" y="472"/>
                </a:lnTo>
                <a:lnTo>
                  <a:pt x="532" y="474"/>
                </a:lnTo>
                <a:lnTo>
                  <a:pt x="526" y="476"/>
                </a:lnTo>
                <a:lnTo>
                  <a:pt x="520" y="472"/>
                </a:lnTo>
                <a:lnTo>
                  <a:pt x="516" y="468"/>
                </a:lnTo>
                <a:lnTo>
                  <a:pt x="510" y="462"/>
                </a:lnTo>
                <a:lnTo>
                  <a:pt x="506" y="458"/>
                </a:lnTo>
                <a:lnTo>
                  <a:pt x="500" y="460"/>
                </a:lnTo>
                <a:lnTo>
                  <a:pt x="486" y="474"/>
                </a:lnTo>
                <a:lnTo>
                  <a:pt x="474" y="470"/>
                </a:lnTo>
                <a:lnTo>
                  <a:pt x="462" y="464"/>
                </a:lnTo>
                <a:lnTo>
                  <a:pt x="450" y="464"/>
                </a:lnTo>
                <a:lnTo>
                  <a:pt x="438" y="462"/>
                </a:lnTo>
                <a:lnTo>
                  <a:pt x="430" y="452"/>
                </a:lnTo>
                <a:lnTo>
                  <a:pt x="424" y="444"/>
                </a:lnTo>
                <a:lnTo>
                  <a:pt x="426" y="434"/>
                </a:lnTo>
                <a:lnTo>
                  <a:pt x="418" y="424"/>
                </a:lnTo>
                <a:lnTo>
                  <a:pt x="410" y="416"/>
                </a:lnTo>
                <a:lnTo>
                  <a:pt x="402" y="416"/>
                </a:lnTo>
                <a:lnTo>
                  <a:pt x="400" y="408"/>
                </a:lnTo>
                <a:lnTo>
                  <a:pt x="406" y="398"/>
                </a:lnTo>
                <a:lnTo>
                  <a:pt x="398" y="394"/>
                </a:lnTo>
                <a:lnTo>
                  <a:pt x="390" y="402"/>
                </a:lnTo>
                <a:lnTo>
                  <a:pt x="380" y="408"/>
                </a:lnTo>
                <a:lnTo>
                  <a:pt x="386" y="388"/>
                </a:lnTo>
                <a:lnTo>
                  <a:pt x="392" y="382"/>
                </a:lnTo>
                <a:lnTo>
                  <a:pt x="394" y="376"/>
                </a:lnTo>
                <a:lnTo>
                  <a:pt x="390" y="366"/>
                </a:lnTo>
                <a:lnTo>
                  <a:pt x="382" y="376"/>
                </a:lnTo>
                <a:lnTo>
                  <a:pt x="376" y="386"/>
                </a:lnTo>
                <a:lnTo>
                  <a:pt x="366" y="394"/>
                </a:lnTo>
                <a:lnTo>
                  <a:pt x="360" y="402"/>
                </a:lnTo>
                <a:lnTo>
                  <a:pt x="352" y="398"/>
                </a:lnTo>
                <a:lnTo>
                  <a:pt x="350" y="386"/>
                </a:lnTo>
                <a:lnTo>
                  <a:pt x="340" y="372"/>
                </a:lnTo>
                <a:lnTo>
                  <a:pt x="334" y="364"/>
                </a:lnTo>
                <a:lnTo>
                  <a:pt x="328" y="358"/>
                </a:lnTo>
                <a:lnTo>
                  <a:pt x="298" y="350"/>
                </a:lnTo>
                <a:lnTo>
                  <a:pt x="258" y="344"/>
                </a:lnTo>
                <a:lnTo>
                  <a:pt x="246" y="348"/>
                </a:lnTo>
                <a:lnTo>
                  <a:pt x="228" y="356"/>
                </a:lnTo>
                <a:lnTo>
                  <a:pt x="200" y="358"/>
                </a:lnTo>
                <a:lnTo>
                  <a:pt x="184" y="368"/>
                </a:lnTo>
                <a:lnTo>
                  <a:pt x="172" y="372"/>
                </a:lnTo>
                <a:lnTo>
                  <a:pt x="170" y="380"/>
                </a:lnTo>
                <a:lnTo>
                  <a:pt x="164" y="386"/>
                </a:lnTo>
                <a:lnTo>
                  <a:pt x="108" y="386"/>
                </a:lnTo>
                <a:lnTo>
                  <a:pt x="100" y="394"/>
                </a:lnTo>
                <a:lnTo>
                  <a:pt x="90" y="394"/>
                </a:lnTo>
                <a:lnTo>
                  <a:pt x="80" y="406"/>
                </a:lnTo>
                <a:lnTo>
                  <a:pt x="54" y="408"/>
                </a:lnTo>
                <a:lnTo>
                  <a:pt x="42" y="400"/>
                </a:lnTo>
                <a:lnTo>
                  <a:pt x="30" y="394"/>
                </a:lnTo>
                <a:lnTo>
                  <a:pt x="28" y="384"/>
                </a:lnTo>
                <a:lnTo>
                  <a:pt x="40" y="378"/>
                </a:lnTo>
                <a:lnTo>
                  <a:pt x="40" y="356"/>
                </a:lnTo>
                <a:lnTo>
                  <a:pt x="40" y="342"/>
                </a:lnTo>
                <a:lnTo>
                  <a:pt x="30" y="328"/>
                </a:lnTo>
                <a:lnTo>
                  <a:pt x="30" y="310"/>
                </a:lnTo>
                <a:lnTo>
                  <a:pt x="18" y="280"/>
                </a:lnTo>
                <a:lnTo>
                  <a:pt x="10" y="264"/>
                </a:lnTo>
                <a:lnTo>
                  <a:pt x="4" y="254"/>
                </a:lnTo>
                <a:lnTo>
                  <a:pt x="0" y="246"/>
                </a:lnTo>
                <a:lnTo>
                  <a:pt x="6" y="248"/>
                </a:lnTo>
                <a:lnTo>
                  <a:pt x="10" y="254"/>
                </a:lnTo>
                <a:lnTo>
                  <a:pt x="18" y="254"/>
                </a:lnTo>
                <a:lnTo>
                  <a:pt x="20" y="244"/>
                </a:lnTo>
                <a:lnTo>
                  <a:pt x="12" y="238"/>
                </a:lnTo>
                <a:lnTo>
                  <a:pt x="6" y="218"/>
                </a:lnTo>
                <a:lnTo>
                  <a:pt x="6" y="204"/>
                </a:lnTo>
                <a:lnTo>
                  <a:pt x="12" y="188"/>
                </a:lnTo>
                <a:lnTo>
                  <a:pt x="14" y="180"/>
                </a:lnTo>
                <a:lnTo>
                  <a:pt x="20" y="186"/>
                </a:lnTo>
                <a:lnTo>
                  <a:pt x="24" y="178"/>
                </a:lnTo>
                <a:lnTo>
                  <a:pt x="34" y="178"/>
                </a:lnTo>
                <a:lnTo>
                  <a:pt x="48" y="162"/>
                </a:lnTo>
                <a:lnTo>
                  <a:pt x="62" y="158"/>
                </a:lnTo>
                <a:lnTo>
                  <a:pt x="86" y="154"/>
                </a:lnTo>
                <a:lnTo>
                  <a:pt x="110" y="146"/>
                </a:lnTo>
                <a:lnTo>
                  <a:pt x="122" y="144"/>
                </a:lnTo>
                <a:lnTo>
                  <a:pt x="144" y="118"/>
                </a:lnTo>
                <a:lnTo>
                  <a:pt x="142" y="106"/>
                </a:lnTo>
                <a:lnTo>
                  <a:pt x="146" y="98"/>
                </a:lnTo>
                <a:lnTo>
                  <a:pt x="156" y="92"/>
                </a:lnTo>
                <a:lnTo>
                  <a:pt x="160" y="98"/>
                </a:lnTo>
                <a:lnTo>
                  <a:pt x="164" y="102"/>
                </a:lnTo>
                <a:lnTo>
                  <a:pt x="168" y="96"/>
                </a:lnTo>
                <a:lnTo>
                  <a:pt x="168" y="84"/>
                </a:lnTo>
                <a:lnTo>
                  <a:pt x="176" y="88"/>
                </a:lnTo>
                <a:lnTo>
                  <a:pt x="180" y="84"/>
                </a:lnTo>
                <a:lnTo>
                  <a:pt x="182" y="72"/>
                </a:lnTo>
                <a:lnTo>
                  <a:pt x="192" y="66"/>
                </a:lnTo>
                <a:lnTo>
                  <a:pt x="198" y="60"/>
                </a:lnTo>
                <a:lnTo>
                  <a:pt x="204" y="60"/>
                </a:lnTo>
                <a:lnTo>
                  <a:pt x="220" y="48"/>
                </a:lnTo>
                <a:lnTo>
                  <a:pt x="230" y="54"/>
                </a:lnTo>
                <a:lnTo>
                  <a:pt x="236" y="60"/>
                </a:lnTo>
                <a:lnTo>
                  <a:pt x="242" y="66"/>
                </a:lnTo>
                <a:lnTo>
                  <a:pt x="254" y="64"/>
                </a:lnTo>
                <a:lnTo>
                  <a:pt x="262" y="62"/>
                </a:lnTo>
                <a:lnTo>
                  <a:pt x="256" y="52"/>
                </a:lnTo>
                <a:lnTo>
                  <a:pt x="268" y="40"/>
                </a:lnTo>
                <a:lnTo>
                  <a:pt x="274" y="28"/>
                </a:lnTo>
                <a:lnTo>
                  <a:pt x="282" y="24"/>
                </a:lnTo>
                <a:lnTo>
                  <a:pt x="286" y="2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26" name="Freeform 263">
            <a:extLst>
              <a:ext uri="{FF2B5EF4-FFF2-40B4-BE49-F238E27FC236}">
                <a16:creationId xmlns:a16="http://schemas.microsoft.com/office/drawing/2014/main" id="{5E84EDE0-9C33-47BE-A7FC-B7A622D06D08}"/>
              </a:ext>
            </a:extLst>
          </p:cNvPr>
          <p:cNvSpPr>
            <a:spLocks/>
          </p:cNvSpPr>
          <p:nvPr/>
        </p:nvSpPr>
        <p:spPr bwMode="gray">
          <a:xfrm>
            <a:off x="3993618" y="2203845"/>
            <a:ext cx="50837" cy="64091"/>
          </a:xfrm>
          <a:custGeom>
            <a:avLst/>
            <a:gdLst>
              <a:gd name="T0" fmla="*/ 4 w 70"/>
              <a:gd name="T1" fmla="*/ 58 h 96"/>
              <a:gd name="T2" fmla="*/ 14 w 70"/>
              <a:gd name="T3" fmla="*/ 64 h 96"/>
              <a:gd name="T4" fmla="*/ 16 w 70"/>
              <a:gd name="T5" fmla="*/ 76 h 96"/>
              <a:gd name="T6" fmla="*/ 24 w 70"/>
              <a:gd name="T7" fmla="*/ 78 h 96"/>
              <a:gd name="T8" fmla="*/ 30 w 70"/>
              <a:gd name="T9" fmla="*/ 72 h 96"/>
              <a:gd name="T10" fmla="*/ 38 w 70"/>
              <a:gd name="T11" fmla="*/ 74 h 96"/>
              <a:gd name="T12" fmla="*/ 40 w 70"/>
              <a:gd name="T13" fmla="*/ 82 h 96"/>
              <a:gd name="T14" fmla="*/ 48 w 70"/>
              <a:gd name="T15" fmla="*/ 80 h 96"/>
              <a:gd name="T16" fmla="*/ 52 w 70"/>
              <a:gd name="T17" fmla="*/ 84 h 96"/>
              <a:gd name="T18" fmla="*/ 62 w 70"/>
              <a:gd name="T19" fmla="*/ 90 h 96"/>
              <a:gd name="T20" fmla="*/ 66 w 70"/>
              <a:gd name="T21" fmla="*/ 96 h 96"/>
              <a:gd name="T22" fmla="*/ 70 w 70"/>
              <a:gd name="T23" fmla="*/ 90 h 96"/>
              <a:gd name="T24" fmla="*/ 62 w 70"/>
              <a:gd name="T25" fmla="*/ 84 h 96"/>
              <a:gd name="T26" fmla="*/ 62 w 70"/>
              <a:gd name="T27" fmla="*/ 78 h 96"/>
              <a:gd name="T28" fmla="*/ 58 w 70"/>
              <a:gd name="T29" fmla="*/ 72 h 96"/>
              <a:gd name="T30" fmla="*/ 50 w 70"/>
              <a:gd name="T31" fmla="*/ 72 h 96"/>
              <a:gd name="T32" fmla="*/ 46 w 70"/>
              <a:gd name="T33" fmla="*/ 68 h 96"/>
              <a:gd name="T34" fmla="*/ 40 w 70"/>
              <a:gd name="T35" fmla="*/ 70 h 96"/>
              <a:gd name="T36" fmla="*/ 32 w 70"/>
              <a:gd name="T37" fmla="*/ 66 h 96"/>
              <a:gd name="T38" fmla="*/ 28 w 70"/>
              <a:gd name="T39" fmla="*/ 62 h 96"/>
              <a:gd name="T40" fmla="*/ 26 w 70"/>
              <a:gd name="T41" fmla="*/ 54 h 96"/>
              <a:gd name="T42" fmla="*/ 28 w 70"/>
              <a:gd name="T43" fmla="*/ 42 h 96"/>
              <a:gd name="T44" fmla="*/ 34 w 70"/>
              <a:gd name="T45" fmla="*/ 40 h 96"/>
              <a:gd name="T46" fmla="*/ 40 w 70"/>
              <a:gd name="T47" fmla="*/ 26 h 96"/>
              <a:gd name="T48" fmla="*/ 38 w 70"/>
              <a:gd name="T49" fmla="*/ 14 h 96"/>
              <a:gd name="T50" fmla="*/ 38 w 70"/>
              <a:gd name="T51" fmla="*/ 4 h 96"/>
              <a:gd name="T52" fmla="*/ 28 w 70"/>
              <a:gd name="T53" fmla="*/ 2 h 96"/>
              <a:gd name="T54" fmla="*/ 12 w 70"/>
              <a:gd name="T55" fmla="*/ 0 h 96"/>
              <a:gd name="T56" fmla="*/ 10 w 70"/>
              <a:gd name="T57" fmla="*/ 16 h 96"/>
              <a:gd name="T58" fmla="*/ 10 w 70"/>
              <a:gd name="T59" fmla="*/ 28 h 96"/>
              <a:gd name="T60" fmla="*/ 12 w 70"/>
              <a:gd name="T61" fmla="*/ 36 h 96"/>
              <a:gd name="T62" fmla="*/ 0 w 70"/>
              <a:gd name="T63" fmla="*/ 38 h 96"/>
              <a:gd name="T64" fmla="*/ 2 w 70"/>
              <a:gd name="T65" fmla="*/ 44 h 96"/>
              <a:gd name="T66" fmla="*/ 4 w 70"/>
              <a:gd name="T67" fmla="*/ 48 h 96"/>
              <a:gd name="T68" fmla="*/ 4 w 70"/>
              <a:gd name="T69" fmla="*/ 5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70" h="96">
                <a:moveTo>
                  <a:pt x="4" y="58"/>
                </a:moveTo>
                <a:lnTo>
                  <a:pt x="14" y="64"/>
                </a:lnTo>
                <a:lnTo>
                  <a:pt x="16" y="76"/>
                </a:lnTo>
                <a:lnTo>
                  <a:pt x="24" y="78"/>
                </a:lnTo>
                <a:lnTo>
                  <a:pt x="30" y="72"/>
                </a:lnTo>
                <a:lnTo>
                  <a:pt x="38" y="74"/>
                </a:lnTo>
                <a:lnTo>
                  <a:pt x="40" y="82"/>
                </a:lnTo>
                <a:lnTo>
                  <a:pt x="48" y="80"/>
                </a:lnTo>
                <a:lnTo>
                  <a:pt x="52" y="84"/>
                </a:lnTo>
                <a:lnTo>
                  <a:pt x="62" y="90"/>
                </a:lnTo>
                <a:lnTo>
                  <a:pt x="66" y="96"/>
                </a:lnTo>
                <a:lnTo>
                  <a:pt x="70" y="90"/>
                </a:lnTo>
                <a:lnTo>
                  <a:pt x="62" y="84"/>
                </a:lnTo>
                <a:lnTo>
                  <a:pt x="62" y="78"/>
                </a:lnTo>
                <a:lnTo>
                  <a:pt x="58" y="72"/>
                </a:lnTo>
                <a:lnTo>
                  <a:pt x="50" y="72"/>
                </a:lnTo>
                <a:lnTo>
                  <a:pt x="46" y="68"/>
                </a:lnTo>
                <a:lnTo>
                  <a:pt x="40" y="70"/>
                </a:lnTo>
                <a:lnTo>
                  <a:pt x="32" y="66"/>
                </a:lnTo>
                <a:lnTo>
                  <a:pt x="28" y="62"/>
                </a:lnTo>
                <a:lnTo>
                  <a:pt x="26" y="54"/>
                </a:lnTo>
                <a:lnTo>
                  <a:pt x="28" y="42"/>
                </a:lnTo>
                <a:lnTo>
                  <a:pt x="34" y="40"/>
                </a:lnTo>
                <a:lnTo>
                  <a:pt x="40" y="26"/>
                </a:lnTo>
                <a:lnTo>
                  <a:pt x="38" y="14"/>
                </a:lnTo>
                <a:lnTo>
                  <a:pt x="38" y="4"/>
                </a:lnTo>
                <a:lnTo>
                  <a:pt x="28" y="2"/>
                </a:lnTo>
                <a:lnTo>
                  <a:pt x="12" y="0"/>
                </a:lnTo>
                <a:lnTo>
                  <a:pt x="10" y="16"/>
                </a:lnTo>
                <a:lnTo>
                  <a:pt x="10" y="28"/>
                </a:lnTo>
                <a:lnTo>
                  <a:pt x="12" y="36"/>
                </a:lnTo>
                <a:lnTo>
                  <a:pt x="0" y="38"/>
                </a:lnTo>
                <a:lnTo>
                  <a:pt x="2" y="44"/>
                </a:lnTo>
                <a:lnTo>
                  <a:pt x="4" y="48"/>
                </a:lnTo>
                <a:lnTo>
                  <a:pt x="4" y="58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27" name="Freeform 264">
            <a:extLst>
              <a:ext uri="{FF2B5EF4-FFF2-40B4-BE49-F238E27FC236}">
                <a16:creationId xmlns:a16="http://schemas.microsoft.com/office/drawing/2014/main" id="{AAD79434-985E-4B6A-974E-58E89F34BA7E}"/>
              </a:ext>
            </a:extLst>
          </p:cNvPr>
          <p:cNvSpPr>
            <a:spLocks/>
          </p:cNvSpPr>
          <p:nvPr/>
        </p:nvSpPr>
        <p:spPr bwMode="gray">
          <a:xfrm>
            <a:off x="3963115" y="2282623"/>
            <a:ext cx="30502" cy="30710"/>
          </a:xfrm>
          <a:custGeom>
            <a:avLst/>
            <a:gdLst>
              <a:gd name="T0" fmla="*/ 0 w 42"/>
              <a:gd name="T1" fmla="*/ 46 h 46"/>
              <a:gd name="T2" fmla="*/ 8 w 42"/>
              <a:gd name="T3" fmla="*/ 34 h 46"/>
              <a:gd name="T4" fmla="*/ 20 w 42"/>
              <a:gd name="T5" fmla="*/ 20 h 46"/>
              <a:gd name="T6" fmla="*/ 32 w 42"/>
              <a:gd name="T7" fmla="*/ 10 h 46"/>
              <a:gd name="T8" fmla="*/ 36 w 42"/>
              <a:gd name="T9" fmla="*/ 0 h 46"/>
              <a:gd name="T10" fmla="*/ 38 w 42"/>
              <a:gd name="T11" fmla="*/ 6 h 46"/>
              <a:gd name="T12" fmla="*/ 42 w 42"/>
              <a:gd name="T13" fmla="*/ 12 h 46"/>
              <a:gd name="T14" fmla="*/ 32 w 42"/>
              <a:gd name="T15" fmla="*/ 16 h 46"/>
              <a:gd name="T16" fmla="*/ 20 w 42"/>
              <a:gd name="T17" fmla="*/ 30 h 46"/>
              <a:gd name="T18" fmla="*/ 14 w 42"/>
              <a:gd name="T19" fmla="*/ 38 h 46"/>
              <a:gd name="T20" fmla="*/ 0 w 42"/>
              <a:gd name="T21" fmla="*/ 46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2" h="46">
                <a:moveTo>
                  <a:pt x="0" y="46"/>
                </a:moveTo>
                <a:lnTo>
                  <a:pt x="8" y="34"/>
                </a:lnTo>
                <a:lnTo>
                  <a:pt x="20" y="20"/>
                </a:lnTo>
                <a:lnTo>
                  <a:pt x="32" y="10"/>
                </a:lnTo>
                <a:lnTo>
                  <a:pt x="36" y="0"/>
                </a:lnTo>
                <a:lnTo>
                  <a:pt x="38" y="6"/>
                </a:lnTo>
                <a:lnTo>
                  <a:pt x="42" y="12"/>
                </a:lnTo>
                <a:lnTo>
                  <a:pt x="32" y="16"/>
                </a:lnTo>
                <a:lnTo>
                  <a:pt x="20" y="30"/>
                </a:lnTo>
                <a:lnTo>
                  <a:pt x="14" y="38"/>
                </a:lnTo>
                <a:lnTo>
                  <a:pt x="0" y="4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28" name="Freeform 265">
            <a:extLst>
              <a:ext uri="{FF2B5EF4-FFF2-40B4-BE49-F238E27FC236}">
                <a16:creationId xmlns:a16="http://schemas.microsoft.com/office/drawing/2014/main" id="{E8D79B0E-47E1-4DC9-856D-5463EFBD3E84}"/>
              </a:ext>
            </a:extLst>
          </p:cNvPr>
          <p:cNvSpPr>
            <a:spLocks/>
          </p:cNvSpPr>
          <p:nvPr/>
        </p:nvSpPr>
        <p:spPr bwMode="gray">
          <a:xfrm>
            <a:off x="4016857" y="2298646"/>
            <a:ext cx="53742" cy="40057"/>
          </a:xfrm>
          <a:custGeom>
            <a:avLst/>
            <a:gdLst>
              <a:gd name="T0" fmla="*/ 58 w 74"/>
              <a:gd name="T1" fmla="*/ 58 h 60"/>
              <a:gd name="T2" fmla="*/ 40 w 74"/>
              <a:gd name="T3" fmla="*/ 60 h 60"/>
              <a:gd name="T4" fmla="*/ 34 w 74"/>
              <a:gd name="T5" fmla="*/ 48 h 60"/>
              <a:gd name="T6" fmla="*/ 34 w 74"/>
              <a:gd name="T7" fmla="*/ 38 h 60"/>
              <a:gd name="T8" fmla="*/ 40 w 74"/>
              <a:gd name="T9" fmla="*/ 36 h 60"/>
              <a:gd name="T10" fmla="*/ 32 w 74"/>
              <a:gd name="T11" fmla="*/ 30 h 60"/>
              <a:gd name="T12" fmla="*/ 24 w 74"/>
              <a:gd name="T13" fmla="*/ 32 h 60"/>
              <a:gd name="T14" fmla="*/ 18 w 74"/>
              <a:gd name="T15" fmla="*/ 34 h 60"/>
              <a:gd name="T16" fmla="*/ 12 w 74"/>
              <a:gd name="T17" fmla="*/ 36 h 60"/>
              <a:gd name="T18" fmla="*/ 8 w 74"/>
              <a:gd name="T19" fmla="*/ 44 h 60"/>
              <a:gd name="T20" fmla="*/ 4 w 74"/>
              <a:gd name="T21" fmla="*/ 50 h 60"/>
              <a:gd name="T22" fmla="*/ 0 w 74"/>
              <a:gd name="T23" fmla="*/ 38 h 60"/>
              <a:gd name="T24" fmla="*/ 4 w 74"/>
              <a:gd name="T25" fmla="*/ 28 h 60"/>
              <a:gd name="T26" fmla="*/ 14 w 74"/>
              <a:gd name="T27" fmla="*/ 24 h 60"/>
              <a:gd name="T28" fmla="*/ 22 w 74"/>
              <a:gd name="T29" fmla="*/ 20 h 60"/>
              <a:gd name="T30" fmla="*/ 26 w 74"/>
              <a:gd name="T31" fmla="*/ 14 h 60"/>
              <a:gd name="T32" fmla="*/ 32 w 74"/>
              <a:gd name="T33" fmla="*/ 22 h 60"/>
              <a:gd name="T34" fmla="*/ 36 w 74"/>
              <a:gd name="T35" fmla="*/ 24 h 60"/>
              <a:gd name="T36" fmla="*/ 42 w 74"/>
              <a:gd name="T37" fmla="*/ 18 h 60"/>
              <a:gd name="T38" fmla="*/ 50 w 74"/>
              <a:gd name="T39" fmla="*/ 8 h 60"/>
              <a:gd name="T40" fmla="*/ 54 w 74"/>
              <a:gd name="T41" fmla="*/ 10 h 60"/>
              <a:gd name="T42" fmla="*/ 58 w 74"/>
              <a:gd name="T43" fmla="*/ 10 h 60"/>
              <a:gd name="T44" fmla="*/ 58 w 74"/>
              <a:gd name="T45" fmla="*/ 4 h 60"/>
              <a:gd name="T46" fmla="*/ 62 w 74"/>
              <a:gd name="T47" fmla="*/ 0 h 60"/>
              <a:gd name="T48" fmla="*/ 68 w 74"/>
              <a:gd name="T49" fmla="*/ 6 h 60"/>
              <a:gd name="T50" fmla="*/ 72 w 74"/>
              <a:gd name="T51" fmla="*/ 14 h 60"/>
              <a:gd name="T52" fmla="*/ 74 w 74"/>
              <a:gd name="T53" fmla="*/ 28 h 60"/>
              <a:gd name="T54" fmla="*/ 74 w 74"/>
              <a:gd name="T55" fmla="*/ 42 h 60"/>
              <a:gd name="T56" fmla="*/ 66 w 74"/>
              <a:gd name="T57" fmla="*/ 44 h 60"/>
              <a:gd name="T58" fmla="*/ 64 w 74"/>
              <a:gd name="T59" fmla="*/ 36 h 60"/>
              <a:gd name="T60" fmla="*/ 58 w 74"/>
              <a:gd name="T61" fmla="*/ 42 h 60"/>
              <a:gd name="T62" fmla="*/ 54 w 74"/>
              <a:gd name="T63" fmla="*/ 46 h 60"/>
              <a:gd name="T64" fmla="*/ 58 w 74"/>
              <a:gd name="T65" fmla="*/ 58 h 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74" h="60">
                <a:moveTo>
                  <a:pt x="58" y="58"/>
                </a:moveTo>
                <a:lnTo>
                  <a:pt x="40" y="60"/>
                </a:lnTo>
                <a:lnTo>
                  <a:pt x="34" y="48"/>
                </a:lnTo>
                <a:lnTo>
                  <a:pt x="34" y="38"/>
                </a:lnTo>
                <a:lnTo>
                  <a:pt x="40" y="36"/>
                </a:lnTo>
                <a:lnTo>
                  <a:pt x="32" y="30"/>
                </a:lnTo>
                <a:lnTo>
                  <a:pt x="24" y="32"/>
                </a:lnTo>
                <a:lnTo>
                  <a:pt x="18" y="34"/>
                </a:lnTo>
                <a:lnTo>
                  <a:pt x="12" y="36"/>
                </a:lnTo>
                <a:lnTo>
                  <a:pt x="8" y="44"/>
                </a:lnTo>
                <a:lnTo>
                  <a:pt x="4" y="50"/>
                </a:lnTo>
                <a:lnTo>
                  <a:pt x="0" y="38"/>
                </a:lnTo>
                <a:lnTo>
                  <a:pt x="4" y="28"/>
                </a:lnTo>
                <a:lnTo>
                  <a:pt x="14" y="24"/>
                </a:lnTo>
                <a:lnTo>
                  <a:pt x="22" y="20"/>
                </a:lnTo>
                <a:lnTo>
                  <a:pt x="26" y="14"/>
                </a:lnTo>
                <a:lnTo>
                  <a:pt x="32" y="22"/>
                </a:lnTo>
                <a:lnTo>
                  <a:pt x="36" y="24"/>
                </a:lnTo>
                <a:lnTo>
                  <a:pt x="42" y="18"/>
                </a:lnTo>
                <a:lnTo>
                  <a:pt x="50" y="8"/>
                </a:lnTo>
                <a:lnTo>
                  <a:pt x="54" y="10"/>
                </a:lnTo>
                <a:lnTo>
                  <a:pt x="58" y="10"/>
                </a:lnTo>
                <a:lnTo>
                  <a:pt x="58" y="4"/>
                </a:lnTo>
                <a:lnTo>
                  <a:pt x="62" y="0"/>
                </a:lnTo>
                <a:lnTo>
                  <a:pt x="68" y="6"/>
                </a:lnTo>
                <a:lnTo>
                  <a:pt x="72" y="14"/>
                </a:lnTo>
                <a:lnTo>
                  <a:pt x="74" y="28"/>
                </a:lnTo>
                <a:lnTo>
                  <a:pt x="74" y="42"/>
                </a:lnTo>
                <a:lnTo>
                  <a:pt x="66" y="44"/>
                </a:lnTo>
                <a:lnTo>
                  <a:pt x="64" y="36"/>
                </a:lnTo>
                <a:lnTo>
                  <a:pt x="58" y="42"/>
                </a:lnTo>
                <a:lnTo>
                  <a:pt x="54" y="46"/>
                </a:lnTo>
                <a:lnTo>
                  <a:pt x="58" y="58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29" name="Freeform 266">
            <a:extLst>
              <a:ext uri="{FF2B5EF4-FFF2-40B4-BE49-F238E27FC236}">
                <a16:creationId xmlns:a16="http://schemas.microsoft.com/office/drawing/2014/main" id="{DEEA9DB0-EC57-40B3-BA93-B4EBD769F6EF}"/>
              </a:ext>
            </a:extLst>
          </p:cNvPr>
          <p:cNvSpPr>
            <a:spLocks/>
          </p:cNvSpPr>
          <p:nvPr/>
        </p:nvSpPr>
        <p:spPr bwMode="gray">
          <a:xfrm>
            <a:off x="4045907" y="2267936"/>
            <a:ext cx="13072" cy="14687"/>
          </a:xfrm>
          <a:custGeom>
            <a:avLst/>
            <a:gdLst>
              <a:gd name="T0" fmla="*/ 0 w 18"/>
              <a:gd name="T1" fmla="*/ 4 h 22"/>
              <a:gd name="T2" fmla="*/ 12 w 18"/>
              <a:gd name="T3" fmla="*/ 0 h 22"/>
              <a:gd name="T4" fmla="*/ 18 w 18"/>
              <a:gd name="T5" fmla="*/ 2 h 22"/>
              <a:gd name="T6" fmla="*/ 18 w 18"/>
              <a:gd name="T7" fmla="*/ 16 h 22"/>
              <a:gd name="T8" fmla="*/ 18 w 18"/>
              <a:gd name="T9" fmla="*/ 22 h 22"/>
              <a:gd name="T10" fmla="*/ 10 w 18"/>
              <a:gd name="T11" fmla="*/ 18 h 22"/>
              <a:gd name="T12" fmla="*/ 4 w 18"/>
              <a:gd name="T13" fmla="*/ 12 h 22"/>
              <a:gd name="T14" fmla="*/ 0 w 18"/>
              <a:gd name="T15" fmla="*/ 4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8" h="22">
                <a:moveTo>
                  <a:pt x="0" y="4"/>
                </a:moveTo>
                <a:lnTo>
                  <a:pt x="12" y="0"/>
                </a:lnTo>
                <a:lnTo>
                  <a:pt x="18" y="2"/>
                </a:lnTo>
                <a:lnTo>
                  <a:pt x="18" y="16"/>
                </a:lnTo>
                <a:lnTo>
                  <a:pt x="18" y="22"/>
                </a:lnTo>
                <a:lnTo>
                  <a:pt x="10" y="18"/>
                </a:lnTo>
                <a:lnTo>
                  <a:pt x="4" y="12"/>
                </a:lnTo>
                <a:lnTo>
                  <a:pt x="0" y="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30" name="Freeform 267">
            <a:extLst>
              <a:ext uri="{FF2B5EF4-FFF2-40B4-BE49-F238E27FC236}">
                <a16:creationId xmlns:a16="http://schemas.microsoft.com/office/drawing/2014/main" id="{A1479517-3DF8-4B85-90FB-2B3E5B97D3BF}"/>
              </a:ext>
            </a:extLst>
          </p:cNvPr>
          <p:cNvSpPr>
            <a:spLocks/>
          </p:cNvSpPr>
          <p:nvPr/>
        </p:nvSpPr>
        <p:spPr bwMode="gray">
          <a:xfrm>
            <a:off x="3999427" y="2257254"/>
            <a:ext cx="14525" cy="16023"/>
          </a:xfrm>
          <a:custGeom>
            <a:avLst/>
            <a:gdLst>
              <a:gd name="T0" fmla="*/ 0 w 20"/>
              <a:gd name="T1" fmla="*/ 0 h 24"/>
              <a:gd name="T2" fmla="*/ 10 w 20"/>
              <a:gd name="T3" fmla="*/ 2 h 24"/>
              <a:gd name="T4" fmla="*/ 20 w 20"/>
              <a:gd name="T5" fmla="*/ 10 h 24"/>
              <a:gd name="T6" fmla="*/ 18 w 20"/>
              <a:gd name="T7" fmla="*/ 22 h 24"/>
              <a:gd name="T8" fmla="*/ 12 w 20"/>
              <a:gd name="T9" fmla="*/ 24 h 24"/>
              <a:gd name="T10" fmla="*/ 6 w 20"/>
              <a:gd name="T11" fmla="*/ 10 h 24"/>
              <a:gd name="T12" fmla="*/ 2 w 20"/>
              <a:gd name="T13" fmla="*/ 6 h 24"/>
              <a:gd name="T14" fmla="*/ 0 w 20"/>
              <a:gd name="T15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10" y="2"/>
                </a:lnTo>
                <a:lnTo>
                  <a:pt x="20" y="10"/>
                </a:lnTo>
                <a:lnTo>
                  <a:pt x="18" y="22"/>
                </a:lnTo>
                <a:lnTo>
                  <a:pt x="12" y="24"/>
                </a:lnTo>
                <a:lnTo>
                  <a:pt x="6" y="10"/>
                </a:lnTo>
                <a:lnTo>
                  <a:pt x="2" y="6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31" name="Freeform 268">
            <a:extLst>
              <a:ext uri="{FF2B5EF4-FFF2-40B4-BE49-F238E27FC236}">
                <a16:creationId xmlns:a16="http://schemas.microsoft.com/office/drawing/2014/main" id="{421AB7A3-A38E-4E9B-8E1C-8BB1EF624C4D}"/>
              </a:ext>
            </a:extLst>
          </p:cNvPr>
          <p:cNvSpPr>
            <a:spLocks/>
          </p:cNvSpPr>
          <p:nvPr/>
        </p:nvSpPr>
        <p:spPr bwMode="gray">
          <a:xfrm>
            <a:off x="4018310" y="2277282"/>
            <a:ext cx="15977" cy="13352"/>
          </a:xfrm>
          <a:custGeom>
            <a:avLst/>
            <a:gdLst>
              <a:gd name="T0" fmla="*/ 0 w 22"/>
              <a:gd name="T1" fmla="*/ 0 h 20"/>
              <a:gd name="T2" fmla="*/ 0 w 22"/>
              <a:gd name="T3" fmla="*/ 10 h 20"/>
              <a:gd name="T4" fmla="*/ 0 w 22"/>
              <a:gd name="T5" fmla="*/ 20 h 20"/>
              <a:gd name="T6" fmla="*/ 6 w 22"/>
              <a:gd name="T7" fmla="*/ 16 h 20"/>
              <a:gd name="T8" fmla="*/ 18 w 22"/>
              <a:gd name="T9" fmla="*/ 8 h 20"/>
              <a:gd name="T10" fmla="*/ 22 w 22"/>
              <a:gd name="T11" fmla="*/ 2 h 20"/>
              <a:gd name="T12" fmla="*/ 14 w 22"/>
              <a:gd name="T13" fmla="*/ 0 h 20"/>
              <a:gd name="T14" fmla="*/ 8 w 22"/>
              <a:gd name="T15" fmla="*/ 2 h 20"/>
              <a:gd name="T16" fmla="*/ 0 w 22"/>
              <a:gd name="T17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2" h="20">
                <a:moveTo>
                  <a:pt x="0" y="0"/>
                </a:moveTo>
                <a:lnTo>
                  <a:pt x="0" y="10"/>
                </a:lnTo>
                <a:lnTo>
                  <a:pt x="0" y="20"/>
                </a:lnTo>
                <a:lnTo>
                  <a:pt x="6" y="16"/>
                </a:lnTo>
                <a:lnTo>
                  <a:pt x="18" y="8"/>
                </a:lnTo>
                <a:lnTo>
                  <a:pt x="22" y="2"/>
                </a:lnTo>
                <a:lnTo>
                  <a:pt x="14" y="0"/>
                </a:lnTo>
                <a:lnTo>
                  <a:pt x="8" y="2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32" name="Freeform 269">
            <a:extLst>
              <a:ext uri="{FF2B5EF4-FFF2-40B4-BE49-F238E27FC236}">
                <a16:creationId xmlns:a16="http://schemas.microsoft.com/office/drawing/2014/main" id="{F56B7B98-C044-494F-83A3-3367F47B9222}"/>
              </a:ext>
            </a:extLst>
          </p:cNvPr>
          <p:cNvSpPr>
            <a:spLocks/>
          </p:cNvSpPr>
          <p:nvPr/>
        </p:nvSpPr>
        <p:spPr bwMode="gray">
          <a:xfrm>
            <a:off x="4022667" y="2285294"/>
            <a:ext cx="17430" cy="18693"/>
          </a:xfrm>
          <a:custGeom>
            <a:avLst/>
            <a:gdLst>
              <a:gd name="T0" fmla="*/ 0 w 24"/>
              <a:gd name="T1" fmla="*/ 18 h 28"/>
              <a:gd name="T2" fmla="*/ 6 w 24"/>
              <a:gd name="T3" fmla="*/ 26 h 28"/>
              <a:gd name="T4" fmla="*/ 14 w 24"/>
              <a:gd name="T5" fmla="*/ 28 h 28"/>
              <a:gd name="T6" fmla="*/ 14 w 24"/>
              <a:gd name="T7" fmla="*/ 16 h 28"/>
              <a:gd name="T8" fmla="*/ 18 w 24"/>
              <a:gd name="T9" fmla="*/ 12 h 28"/>
              <a:gd name="T10" fmla="*/ 24 w 24"/>
              <a:gd name="T11" fmla="*/ 8 h 28"/>
              <a:gd name="T12" fmla="*/ 22 w 24"/>
              <a:gd name="T13" fmla="*/ 4 h 28"/>
              <a:gd name="T14" fmla="*/ 16 w 24"/>
              <a:gd name="T15" fmla="*/ 0 h 28"/>
              <a:gd name="T16" fmla="*/ 10 w 24"/>
              <a:gd name="T17" fmla="*/ 2 h 28"/>
              <a:gd name="T18" fmla="*/ 8 w 24"/>
              <a:gd name="T19" fmla="*/ 10 h 28"/>
              <a:gd name="T20" fmla="*/ 4 w 24"/>
              <a:gd name="T21" fmla="*/ 16 h 28"/>
              <a:gd name="T22" fmla="*/ 0 w 24"/>
              <a:gd name="T23" fmla="*/ 18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4" h="28">
                <a:moveTo>
                  <a:pt x="0" y="18"/>
                </a:moveTo>
                <a:lnTo>
                  <a:pt x="6" y="26"/>
                </a:lnTo>
                <a:lnTo>
                  <a:pt x="14" y="28"/>
                </a:lnTo>
                <a:lnTo>
                  <a:pt x="14" y="16"/>
                </a:lnTo>
                <a:lnTo>
                  <a:pt x="18" y="12"/>
                </a:lnTo>
                <a:lnTo>
                  <a:pt x="24" y="8"/>
                </a:lnTo>
                <a:lnTo>
                  <a:pt x="22" y="4"/>
                </a:lnTo>
                <a:lnTo>
                  <a:pt x="16" y="0"/>
                </a:lnTo>
                <a:lnTo>
                  <a:pt x="10" y="2"/>
                </a:lnTo>
                <a:lnTo>
                  <a:pt x="8" y="10"/>
                </a:lnTo>
                <a:lnTo>
                  <a:pt x="4" y="16"/>
                </a:lnTo>
                <a:lnTo>
                  <a:pt x="0" y="18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33" name="Freeform 270">
            <a:extLst>
              <a:ext uri="{FF2B5EF4-FFF2-40B4-BE49-F238E27FC236}">
                <a16:creationId xmlns:a16="http://schemas.microsoft.com/office/drawing/2014/main" id="{179BF240-0449-451C-9753-D9A73B2B7B55}"/>
              </a:ext>
            </a:extLst>
          </p:cNvPr>
          <p:cNvSpPr>
            <a:spLocks/>
          </p:cNvSpPr>
          <p:nvPr/>
        </p:nvSpPr>
        <p:spPr bwMode="gray">
          <a:xfrm>
            <a:off x="3996523" y="2129073"/>
            <a:ext cx="21787" cy="36051"/>
          </a:xfrm>
          <a:custGeom>
            <a:avLst/>
            <a:gdLst>
              <a:gd name="T0" fmla="*/ 30 w 30"/>
              <a:gd name="T1" fmla="*/ 4 h 54"/>
              <a:gd name="T2" fmla="*/ 26 w 30"/>
              <a:gd name="T3" fmla="*/ 18 h 54"/>
              <a:gd name="T4" fmla="*/ 22 w 30"/>
              <a:gd name="T5" fmla="*/ 28 h 54"/>
              <a:gd name="T6" fmla="*/ 20 w 30"/>
              <a:gd name="T7" fmla="*/ 36 h 54"/>
              <a:gd name="T8" fmla="*/ 16 w 30"/>
              <a:gd name="T9" fmla="*/ 48 h 54"/>
              <a:gd name="T10" fmla="*/ 10 w 30"/>
              <a:gd name="T11" fmla="*/ 54 h 54"/>
              <a:gd name="T12" fmla="*/ 4 w 30"/>
              <a:gd name="T13" fmla="*/ 42 h 54"/>
              <a:gd name="T14" fmla="*/ 0 w 30"/>
              <a:gd name="T15" fmla="*/ 26 h 54"/>
              <a:gd name="T16" fmla="*/ 8 w 30"/>
              <a:gd name="T17" fmla="*/ 12 h 54"/>
              <a:gd name="T18" fmla="*/ 18 w 30"/>
              <a:gd name="T19" fmla="*/ 4 h 54"/>
              <a:gd name="T20" fmla="*/ 22 w 30"/>
              <a:gd name="T21" fmla="*/ 0 h 54"/>
              <a:gd name="T22" fmla="*/ 30 w 30"/>
              <a:gd name="T23" fmla="*/ 4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0" h="54">
                <a:moveTo>
                  <a:pt x="30" y="4"/>
                </a:moveTo>
                <a:lnTo>
                  <a:pt x="26" y="18"/>
                </a:lnTo>
                <a:lnTo>
                  <a:pt x="22" y="28"/>
                </a:lnTo>
                <a:lnTo>
                  <a:pt x="20" y="36"/>
                </a:lnTo>
                <a:lnTo>
                  <a:pt x="16" y="48"/>
                </a:lnTo>
                <a:lnTo>
                  <a:pt x="10" y="54"/>
                </a:lnTo>
                <a:lnTo>
                  <a:pt x="4" y="42"/>
                </a:lnTo>
                <a:lnTo>
                  <a:pt x="0" y="26"/>
                </a:lnTo>
                <a:lnTo>
                  <a:pt x="8" y="12"/>
                </a:lnTo>
                <a:lnTo>
                  <a:pt x="18" y="4"/>
                </a:lnTo>
                <a:lnTo>
                  <a:pt x="22" y="0"/>
                </a:lnTo>
                <a:lnTo>
                  <a:pt x="30" y="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34" name="Freeform 271">
            <a:extLst>
              <a:ext uri="{FF2B5EF4-FFF2-40B4-BE49-F238E27FC236}">
                <a16:creationId xmlns:a16="http://schemas.microsoft.com/office/drawing/2014/main" id="{3A63A642-2B63-469D-AB2D-40410AF718FE}"/>
              </a:ext>
            </a:extLst>
          </p:cNvPr>
          <p:cNvSpPr>
            <a:spLocks/>
          </p:cNvSpPr>
          <p:nvPr/>
        </p:nvSpPr>
        <p:spPr bwMode="gray">
          <a:xfrm>
            <a:off x="3864347" y="2186487"/>
            <a:ext cx="27597" cy="20028"/>
          </a:xfrm>
          <a:custGeom>
            <a:avLst/>
            <a:gdLst>
              <a:gd name="T0" fmla="*/ 10 w 38"/>
              <a:gd name="T1" fmla="*/ 6 h 30"/>
              <a:gd name="T2" fmla="*/ 20 w 38"/>
              <a:gd name="T3" fmla="*/ 0 h 30"/>
              <a:gd name="T4" fmla="*/ 30 w 38"/>
              <a:gd name="T5" fmla="*/ 0 h 30"/>
              <a:gd name="T6" fmla="*/ 38 w 38"/>
              <a:gd name="T7" fmla="*/ 2 h 30"/>
              <a:gd name="T8" fmla="*/ 34 w 38"/>
              <a:gd name="T9" fmla="*/ 8 h 30"/>
              <a:gd name="T10" fmla="*/ 30 w 38"/>
              <a:gd name="T11" fmla="*/ 14 h 30"/>
              <a:gd name="T12" fmla="*/ 30 w 38"/>
              <a:gd name="T13" fmla="*/ 24 h 30"/>
              <a:gd name="T14" fmla="*/ 22 w 38"/>
              <a:gd name="T15" fmla="*/ 26 h 30"/>
              <a:gd name="T16" fmla="*/ 16 w 38"/>
              <a:gd name="T17" fmla="*/ 30 h 30"/>
              <a:gd name="T18" fmla="*/ 6 w 38"/>
              <a:gd name="T19" fmla="*/ 28 h 30"/>
              <a:gd name="T20" fmla="*/ 0 w 38"/>
              <a:gd name="T21" fmla="*/ 20 h 30"/>
              <a:gd name="T22" fmla="*/ 0 w 38"/>
              <a:gd name="T23" fmla="*/ 10 h 30"/>
              <a:gd name="T24" fmla="*/ 10 w 38"/>
              <a:gd name="T25" fmla="*/ 6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8" h="30">
                <a:moveTo>
                  <a:pt x="10" y="6"/>
                </a:moveTo>
                <a:lnTo>
                  <a:pt x="20" y="0"/>
                </a:lnTo>
                <a:lnTo>
                  <a:pt x="30" y="0"/>
                </a:lnTo>
                <a:lnTo>
                  <a:pt x="38" y="2"/>
                </a:lnTo>
                <a:lnTo>
                  <a:pt x="34" y="8"/>
                </a:lnTo>
                <a:lnTo>
                  <a:pt x="30" y="14"/>
                </a:lnTo>
                <a:lnTo>
                  <a:pt x="30" y="24"/>
                </a:lnTo>
                <a:lnTo>
                  <a:pt x="22" y="26"/>
                </a:lnTo>
                <a:lnTo>
                  <a:pt x="16" y="30"/>
                </a:lnTo>
                <a:lnTo>
                  <a:pt x="6" y="28"/>
                </a:lnTo>
                <a:lnTo>
                  <a:pt x="0" y="20"/>
                </a:lnTo>
                <a:lnTo>
                  <a:pt x="0" y="10"/>
                </a:lnTo>
                <a:lnTo>
                  <a:pt x="10" y="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35" name="Freeform 272">
            <a:extLst>
              <a:ext uri="{FF2B5EF4-FFF2-40B4-BE49-F238E27FC236}">
                <a16:creationId xmlns:a16="http://schemas.microsoft.com/office/drawing/2014/main" id="{835B1D43-2DC8-471D-A4DD-3506B1E93F6B}"/>
              </a:ext>
            </a:extLst>
          </p:cNvPr>
          <p:cNvSpPr>
            <a:spLocks/>
          </p:cNvSpPr>
          <p:nvPr/>
        </p:nvSpPr>
        <p:spPr bwMode="gray">
          <a:xfrm>
            <a:off x="4224562" y="1884727"/>
            <a:ext cx="66814" cy="52074"/>
          </a:xfrm>
          <a:custGeom>
            <a:avLst/>
            <a:gdLst>
              <a:gd name="T0" fmla="*/ 30 w 92"/>
              <a:gd name="T1" fmla="*/ 0 h 78"/>
              <a:gd name="T2" fmla="*/ 38 w 92"/>
              <a:gd name="T3" fmla="*/ 6 h 78"/>
              <a:gd name="T4" fmla="*/ 48 w 92"/>
              <a:gd name="T5" fmla="*/ 16 h 78"/>
              <a:gd name="T6" fmla="*/ 66 w 92"/>
              <a:gd name="T7" fmla="*/ 26 h 78"/>
              <a:gd name="T8" fmla="*/ 76 w 92"/>
              <a:gd name="T9" fmla="*/ 30 h 78"/>
              <a:gd name="T10" fmla="*/ 84 w 92"/>
              <a:gd name="T11" fmla="*/ 24 h 78"/>
              <a:gd name="T12" fmla="*/ 90 w 92"/>
              <a:gd name="T13" fmla="*/ 24 h 78"/>
              <a:gd name="T14" fmla="*/ 84 w 92"/>
              <a:gd name="T15" fmla="*/ 30 h 78"/>
              <a:gd name="T16" fmla="*/ 88 w 92"/>
              <a:gd name="T17" fmla="*/ 36 h 78"/>
              <a:gd name="T18" fmla="*/ 92 w 92"/>
              <a:gd name="T19" fmla="*/ 40 h 78"/>
              <a:gd name="T20" fmla="*/ 84 w 92"/>
              <a:gd name="T21" fmla="*/ 46 h 78"/>
              <a:gd name="T22" fmla="*/ 80 w 92"/>
              <a:gd name="T23" fmla="*/ 48 h 78"/>
              <a:gd name="T24" fmla="*/ 74 w 92"/>
              <a:gd name="T25" fmla="*/ 46 h 78"/>
              <a:gd name="T26" fmla="*/ 68 w 92"/>
              <a:gd name="T27" fmla="*/ 48 h 78"/>
              <a:gd name="T28" fmla="*/ 58 w 92"/>
              <a:gd name="T29" fmla="*/ 52 h 78"/>
              <a:gd name="T30" fmla="*/ 52 w 92"/>
              <a:gd name="T31" fmla="*/ 60 h 78"/>
              <a:gd name="T32" fmla="*/ 52 w 92"/>
              <a:gd name="T33" fmla="*/ 66 h 78"/>
              <a:gd name="T34" fmla="*/ 44 w 92"/>
              <a:gd name="T35" fmla="*/ 62 h 78"/>
              <a:gd name="T36" fmla="*/ 36 w 92"/>
              <a:gd name="T37" fmla="*/ 56 h 78"/>
              <a:gd name="T38" fmla="*/ 28 w 92"/>
              <a:gd name="T39" fmla="*/ 54 h 78"/>
              <a:gd name="T40" fmla="*/ 24 w 92"/>
              <a:gd name="T41" fmla="*/ 56 h 78"/>
              <a:gd name="T42" fmla="*/ 22 w 92"/>
              <a:gd name="T43" fmla="*/ 60 h 78"/>
              <a:gd name="T44" fmla="*/ 16 w 92"/>
              <a:gd name="T45" fmla="*/ 56 h 78"/>
              <a:gd name="T46" fmla="*/ 10 w 92"/>
              <a:gd name="T47" fmla="*/ 54 h 78"/>
              <a:gd name="T48" fmla="*/ 8 w 92"/>
              <a:gd name="T49" fmla="*/ 58 h 78"/>
              <a:gd name="T50" fmla="*/ 10 w 92"/>
              <a:gd name="T51" fmla="*/ 64 h 78"/>
              <a:gd name="T52" fmla="*/ 16 w 92"/>
              <a:gd name="T53" fmla="*/ 66 h 78"/>
              <a:gd name="T54" fmla="*/ 14 w 92"/>
              <a:gd name="T55" fmla="*/ 72 h 78"/>
              <a:gd name="T56" fmla="*/ 8 w 92"/>
              <a:gd name="T57" fmla="*/ 74 h 78"/>
              <a:gd name="T58" fmla="*/ 2 w 92"/>
              <a:gd name="T59" fmla="*/ 78 h 78"/>
              <a:gd name="T60" fmla="*/ 2 w 92"/>
              <a:gd name="T61" fmla="*/ 68 h 78"/>
              <a:gd name="T62" fmla="*/ 0 w 92"/>
              <a:gd name="T63" fmla="*/ 60 h 78"/>
              <a:gd name="T64" fmla="*/ 0 w 92"/>
              <a:gd name="T65" fmla="*/ 52 h 78"/>
              <a:gd name="T66" fmla="*/ 6 w 92"/>
              <a:gd name="T67" fmla="*/ 50 h 78"/>
              <a:gd name="T68" fmla="*/ 10 w 92"/>
              <a:gd name="T69" fmla="*/ 44 h 78"/>
              <a:gd name="T70" fmla="*/ 10 w 92"/>
              <a:gd name="T71" fmla="*/ 38 h 78"/>
              <a:gd name="T72" fmla="*/ 16 w 92"/>
              <a:gd name="T73" fmla="*/ 38 h 78"/>
              <a:gd name="T74" fmla="*/ 22 w 92"/>
              <a:gd name="T75" fmla="*/ 42 h 78"/>
              <a:gd name="T76" fmla="*/ 28 w 92"/>
              <a:gd name="T77" fmla="*/ 40 h 78"/>
              <a:gd name="T78" fmla="*/ 30 w 92"/>
              <a:gd name="T79" fmla="*/ 16 h 78"/>
              <a:gd name="T80" fmla="*/ 30 w 92"/>
              <a:gd name="T81" fmla="*/ 0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92" h="78">
                <a:moveTo>
                  <a:pt x="30" y="0"/>
                </a:moveTo>
                <a:lnTo>
                  <a:pt x="38" y="6"/>
                </a:lnTo>
                <a:lnTo>
                  <a:pt x="48" y="16"/>
                </a:lnTo>
                <a:lnTo>
                  <a:pt x="66" y="26"/>
                </a:lnTo>
                <a:lnTo>
                  <a:pt x="76" y="30"/>
                </a:lnTo>
                <a:lnTo>
                  <a:pt x="84" y="24"/>
                </a:lnTo>
                <a:lnTo>
                  <a:pt x="90" y="24"/>
                </a:lnTo>
                <a:lnTo>
                  <a:pt x="84" y="30"/>
                </a:lnTo>
                <a:lnTo>
                  <a:pt x="88" y="36"/>
                </a:lnTo>
                <a:lnTo>
                  <a:pt x="92" y="40"/>
                </a:lnTo>
                <a:lnTo>
                  <a:pt x="84" y="46"/>
                </a:lnTo>
                <a:lnTo>
                  <a:pt x="80" y="48"/>
                </a:lnTo>
                <a:lnTo>
                  <a:pt x="74" y="46"/>
                </a:lnTo>
                <a:lnTo>
                  <a:pt x="68" y="48"/>
                </a:lnTo>
                <a:lnTo>
                  <a:pt x="58" y="52"/>
                </a:lnTo>
                <a:lnTo>
                  <a:pt x="52" y="60"/>
                </a:lnTo>
                <a:lnTo>
                  <a:pt x="52" y="66"/>
                </a:lnTo>
                <a:lnTo>
                  <a:pt x="44" y="62"/>
                </a:lnTo>
                <a:lnTo>
                  <a:pt x="36" y="56"/>
                </a:lnTo>
                <a:lnTo>
                  <a:pt x="28" y="54"/>
                </a:lnTo>
                <a:lnTo>
                  <a:pt x="24" y="56"/>
                </a:lnTo>
                <a:lnTo>
                  <a:pt x="22" y="60"/>
                </a:lnTo>
                <a:lnTo>
                  <a:pt x="16" y="56"/>
                </a:lnTo>
                <a:lnTo>
                  <a:pt x="10" y="54"/>
                </a:lnTo>
                <a:lnTo>
                  <a:pt x="8" y="58"/>
                </a:lnTo>
                <a:lnTo>
                  <a:pt x="10" y="64"/>
                </a:lnTo>
                <a:lnTo>
                  <a:pt x="16" y="66"/>
                </a:lnTo>
                <a:lnTo>
                  <a:pt x="14" y="72"/>
                </a:lnTo>
                <a:lnTo>
                  <a:pt x="8" y="74"/>
                </a:lnTo>
                <a:lnTo>
                  <a:pt x="2" y="78"/>
                </a:lnTo>
                <a:lnTo>
                  <a:pt x="2" y="68"/>
                </a:lnTo>
                <a:lnTo>
                  <a:pt x="0" y="60"/>
                </a:lnTo>
                <a:lnTo>
                  <a:pt x="0" y="52"/>
                </a:lnTo>
                <a:lnTo>
                  <a:pt x="6" y="50"/>
                </a:lnTo>
                <a:lnTo>
                  <a:pt x="10" y="44"/>
                </a:lnTo>
                <a:lnTo>
                  <a:pt x="10" y="38"/>
                </a:lnTo>
                <a:lnTo>
                  <a:pt x="16" y="38"/>
                </a:lnTo>
                <a:lnTo>
                  <a:pt x="22" y="42"/>
                </a:lnTo>
                <a:lnTo>
                  <a:pt x="28" y="40"/>
                </a:lnTo>
                <a:lnTo>
                  <a:pt x="30" y="16"/>
                </a:lnTo>
                <a:lnTo>
                  <a:pt x="30" y="0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36" name="Freeform 273">
            <a:extLst>
              <a:ext uri="{FF2B5EF4-FFF2-40B4-BE49-F238E27FC236}">
                <a16:creationId xmlns:a16="http://schemas.microsoft.com/office/drawing/2014/main" id="{88E4FC57-18CE-4457-9180-BC5A87417AD5}"/>
              </a:ext>
            </a:extLst>
          </p:cNvPr>
          <p:cNvSpPr>
            <a:spLocks/>
          </p:cNvSpPr>
          <p:nvPr/>
        </p:nvSpPr>
        <p:spPr bwMode="gray">
          <a:xfrm>
            <a:off x="4135961" y="2023590"/>
            <a:ext cx="29050" cy="17358"/>
          </a:xfrm>
          <a:custGeom>
            <a:avLst/>
            <a:gdLst>
              <a:gd name="T0" fmla="*/ 30 w 40"/>
              <a:gd name="T1" fmla="*/ 16 h 26"/>
              <a:gd name="T2" fmla="*/ 24 w 40"/>
              <a:gd name="T3" fmla="*/ 14 h 26"/>
              <a:gd name="T4" fmla="*/ 18 w 40"/>
              <a:gd name="T5" fmla="*/ 18 h 26"/>
              <a:gd name="T6" fmla="*/ 14 w 40"/>
              <a:gd name="T7" fmla="*/ 26 h 26"/>
              <a:gd name="T8" fmla="*/ 6 w 40"/>
              <a:gd name="T9" fmla="*/ 24 h 26"/>
              <a:gd name="T10" fmla="*/ 6 w 40"/>
              <a:gd name="T11" fmla="*/ 18 h 26"/>
              <a:gd name="T12" fmla="*/ 0 w 40"/>
              <a:gd name="T13" fmla="*/ 14 h 26"/>
              <a:gd name="T14" fmla="*/ 8 w 40"/>
              <a:gd name="T15" fmla="*/ 8 h 26"/>
              <a:gd name="T16" fmla="*/ 16 w 40"/>
              <a:gd name="T17" fmla="*/ 8 h 26"/>
              <a:gd name="T18" fmla="*/ 24 w 40"/>
              <a:gd name="T19" fmla="*/ 6 h 26"/>
              <a:gd name="T20" fmla="*/ 28 w 40"/>
              <a:gd name="T21" fmla="*/ 0 h 26"/>
              <a:gd name="T22" fmla="*/ 36 w 40"/>
              <a:gd name="T23" fmla="*/ 0 h 26"/>
              <a:gd name="T24" fmla="*/ 40 w 40"/>
              <a:gd name="T25" fmla="*/ 6 h 26"/>
              <a:gd name="T26" fmla="*/ 38 w 40"/>
              <a:gd name="T27" fmla="*/ 8 h 26"/>
              <a:gd name="T28" fmla="*/ 34 w 40"/>
              <a:gd name="T29" fmla="*/ 14 h 26"/>
              <a:gd name="T30" fmla="*/ 30 w 40"/>
              <a:gd name="T31" fmla="*/ 16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40" h="26">
                <a:moveTo>
                  <a:pt x="30" y="16"/>
                </a:moveTo>
                <a:lnTo>
                  <a:pt x="24" y="14"/>
                </a:lnTo>
                <a:lnTo>
                  <a:pt x="18" y="18"/>
                </a:lnTo>
                <a:lnTo>
                  <a:pt x="14" y="26"/>
                </a:lnTo>
                <a:lnTo>
                  <a:pt x="6" y="24"/>
                </a:lnTo>
                <a:lnTo>
                  <a:pt x="6" y="18"/>
                </a:lnTo>
                <a:lnTo>
                  <a:pt x="0" y="14"/>
                </a:lnTo>
                <a:lnTo>
                  <a:pt x="8" y="8"/>
                </a:lnTo>
                <a:lnTo>
                  <a:pt x="16" y="8"/>
                </a:lnTo>
                <a:lnTo>
                  <a:pt x="24" y="6"/>
                </a:lnTo>
                <a:lnTo>
                  <a:pt x="28" y="0"/>
                </a:lnTo>
                <a:lnTo>
                  <a:pt x="36" y="0"/>
                </a:lnTo>
                <a:lnTo>
                  <a:pt x="40" y="6"/>
                </a:lnTo>
                <a:lnTo>
                  <a:pt x="38" y="8"/>
                </a:lnTo>
                <a:lnTo>
                  <a:pt x="34" y="14"/>
                </a:lnTo>
                <a:lnTo>
                  <a:pt x="30" y="16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37" name="Freeform 274">
            <a:extLst>
              <a:ext uri="{FF2B5EF4-FFF2-40B4-BE49-F238E27FC236}">
                <a16:creationId xmlns:a16="http://schemas.microsoft.com/office/drawing/2014/main" id="{794FC1E5-1B2D-49E6-A480-A3CF04FCB3E0}"/>
              </a:ext>
            </a:extLst>
          </p:cNvPr>
          <p:cNvSpPr>
            <a:spLocks/>
          </p:cNvSpPr>
          <p:nvPr/>
        </p:nvSpPr>
        <p:spPr bwMode="gray">
          <a:xfrm>
            <a:off x="4105459" y="2027596"/>
            <a:ext cx="27597" cy="33381"/>
          </a:xfrm>
          <a:custGeom>
            <a:avLst/>
            <a:gdLst>
              <a:gd name="T0" fmla="*/ 4 w 38"/>
              <a:gd name="T1" fmla="*/ 12 h 50"/>
              <a:gd name="T2" fmla="*/ 10 w 38"/>
              <a:gd name="T3" fmla="*/ 8 h 50"/>
              <a:gd name="T4" fmla="*/ 16 w 38"/>
              <a:gd name="T5" fmla="*/ 0 h 50"/>
              <a:gd name="T6" fmla="*/ 24 w 38"/>
              <a:gd name="T7" fmla="*/ 0 h 50"/>
              <a:gd name="T8" fmla="*/ 28 w 38"/>
              <a:gd name="T9" fmla="*/ 6 h 50"/>
              <a:gd name="T10" fmla="*/ 34 w 38"/>
              <a:gd name="T11" fmla="*/ 10 h 50"/>
              <a:gd name="T12" fmla="*/ 38 w 38"/>
              <a:gd name="T13" fmla="*/ 16 h 50"/>
              <a:gd name="T14" fmla="*/ 36 w 38"/>
              <a:gd name="T15" fmla="*/ 24 h 50"/>
              <a:gd name="T16" fmla="*/ 32 w 38"/>
              <a:gd name="T17" fmla="*/ 26 h 50"/>
              <a:gd name="T18" fmla="*/ 30 w 38"/>
              <a:gd name="T19" fmla="*/ 32 h 50"/>
              <a:gd name="T20" fmla="*/ 30 w 38"/>
              <a:gd name="T21" fmla="*/ 40 h 50"/>
              <a:gd name="T22" fmla="*/ 26 w 38"/>
              <a:gd name="T23" fmla="*/ 50 h 50"/>
              <a:gd name="T24" fmla="*/ 18 w 38"/>
              <a:gd name="T25" fmla="*/ 48 h 50"/>
              <a:gd name="T26" fmla="*/ 18 w 38"/>
              <a:gd name="T27" fmla="*/ 44 h 50"/>
              <a:gd name="T28" fmla="*/ 20 w 38"/>
              <a:gd name="T29" fmla="*/ 36 h 50"/>
              <a:gd name="T30" fmla="*/ 12 w 38"/>
              <a:gd name="T31" fmla="*/ 36 h 50"/>
              <a:gd name="T32" fmla="*/ 14 w 38"/>
              <a:gd name="T33" fmla="*/ 30 h 50"/>
              <a:gd name="T34" fmla="*/ 18 w 38"/>
              <a:gd name="T35" fmla="*/ 24 h 50"/>
              <a:gd name="T36" fmla="*/ 18 w 38"/>
              <a:gd name="T37" fmla="*/ 20 h 50"/>
              <a:gd name="T38" fmla="*/ 16 w 38"/>
              <a:gd name="T39" fmla="*/ 14 h 50"/>
              <a:gd name="T40" fmla="*/ 8 w 38"/>
              <a:gd name="T41" fmla="*/ 16 h 50"/>
              <a:gd name="T42" fmla="*/ 0 w 38"/>
              <a:gd name="T43" fmla="*/ 18 h 50"/>
              <a:gd name="T44" fmla="*/ 4 w 38"/>
              <a:gd name="T45" fmla="*/ 12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8" h="50">
                <a:moveTo>
                  <a:pt x="4" y="12"/>
                </a:moveTo>
                <a:lnTo>
                  <a:pt x="10" y="8"/>
                </a:lnTo>
                <a:lnTo>
                  <a:pt x="16" y="0"/>
                </a:lnTo>
                <a:lnTo>
                  <a:pt x="24" y="0"/>
                </a:lnTo>
                <a:lnTo>
                  <a:pt x="28" y="6"/>
                </a:lnTo>
                <a:lnTo>
                  <a:pt x="34" y="10"/>
                </a:lnTo>
                <a:lnTo>
                  <a:pt x="38" y="16"/>
                </a:lnTo>
                <a:lnTo>
                  <a:pt x="36" y="24"/>
                </a:lnTo>
                <a:lnTo>
                  <a:pt x="32" y="26"/>
                </a:lnTo>
                <a:lnTo>
                  <a:pt x="30" y="32"/>
                </a:lnTo>
                <a:lnTo>
                  <a:pt x="30" y="40"/>
                </a:lnTo>
                <a:lnTo>
                  <a:pt x="26" y="50"/>
                </a:lnTo>
                <a:lnTo>
                  <a:pt x="18" y="48"/>
                </a:lnTo>
                <a:lnTo>
                  <a:pt x="18" y="44"/>
                </a:lnTo>
                <a:lnTo>
                  <a:pt x="20" y="36"/>
                </a:lnTo>
                <a:lnTo>
                  <a:pt x="12" y="36"/>
                </a:lnTo>
                <a:lnTo>
                  <a:pt x="14" y="30"/>
                </a:lnTo>
                <a:lnTo>
                  <a:pt x="18" y="24"/>
                </a:lnTo>
                <a:lnTo>
                  <a:pt x="18" y="20"/>
                </a:lnTo>
                <a:lnTo>
                  <a:pt x="16" y="14"/>
                </a:lnTo>
                <a:lnTo>
                  <a:pt x="8" y="16"/>
                </a:lnTo>
                <a:lnTo>
                  <a:pt x="0" y="18"/>
                </a:lnTo>
                <a:lnTo>
                  <a:pt x="4" y="1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38" name="Freeform 275">
            <a:extLst>
              <a:ext uri="{FF2B5EF4-FFF2-40B4-BE49-F238E27FC236}">
                <a16:creationId xmlns:a16="http://schemas.microsoft.com/office/drawing/2014/main" id="{4D4111C8-6848-4EC3-9DCE-CD076243ABCB}"/>
              </a:ext>
            </a:extLst>
          </p:cNvPr>
          <p:cNvSpPr>
            <a:spLocks/>
          </p:cNvSpPr>
          <p:nvPr/>
        </p:nvSpPr>
        <p:spPr bwMode="gray">
          <a:xfrm>
            <a:off x="4122888" y="1934130"/>
            <a:ext cx="126366" cy="98806"/>
          </a:xfrm>
          <a:custGeom>
            <a:avLst/>
            <a:gdLst>
              <a:gd name="T0" fmla="*/ 12 w 174"/>
              <a:gd name="T1" fmla="*/ 128 h 148"/>
              <a:gd name="T2" fmla="*/ 32 w 174"/>
              <a:gd name="T3" fmla="*/ 112 h 148"/>
              <a:gd name="T4" fmla="*/ 60 w 174"/>
              <a:gd name="T5" fmla="*/ 110 h 148"/>
              <a:gd name="T6" fmla="*/ 80 w 174"/>
              <a:gd name="T7" fmla="*/ 100 h 148"/>
              <a:gd name="T8" fmla="*/ 92 w 174"/>
              <a:gd name="T9" fmla="*/ 82 h 148"/>
              <a:gd name="T10" fmla="*/ 100 w 174"/>
              <a:gd name="T11" fmla="*/ 80 h 148"/>
              <a:gd name="T12" fmla="*/ 110 w 174"/>
              <a:gd name="T13" fmla="*/ 82 h 148"/>
              <a:gd name="T14" fmla="*/ 140 w 174"/>
              <a:gd name="T15" fmla="*/ 52 h 148"/>
              <a:gd name="T16" fmla="*/ 144 w 174"/>
              <a:gd name="T17" fmla="*/ 30 h 148"/>
              <a:gd name="T18" fmla="*/ 146 w 174"/>
              <a:gd name="T19" fmla="*/ 10 h 148"/>
              <a:gd name="T20" fmla="*/ 160 w 174"/>
              <a:gd name="T21" fmla="*/ 12 h 148"/>
              <a:gd name="T22" fmla="*/ 158 w 174"/>
              <a:gd name="T23" fmla="*/ 2 h 148"/>
              <a:gd name="T24" fmla="*/ 166 w 174"/>
              <a:gd name="T25" fmla="*/ 10 h 148"/>
              <a:gd name="T26" fmla="*/ 172 w 174"/>
              <a:gd name="T27" fmla="*/ 28 h 148"/>
              <a:gd name="T28" fmla="*/ 168 w 174"/>
              <a:gd name="T29" fmla="*/ 48 h 148"/>
              <a:gd name="T30" fmla="*/ 158 w 174"/>
              <a:gd name="T31" fmla="*/ 66 h 148"/>
              <a:gd name="T32" fmla="*/ 154 w 174"/>
              <a:gd name="T33" fmla="*/ 86 h 148"/>
              <a:gd name="T34" fmla="*/ 152 w 174"/>
              <a:gd name="T35" fmla="*/ 98 h 148"/>
              <a:gd name="T36" fmla="*/ 152 w 174"/>
              <a:gd name="T37" fmla="*/ 108 h 148"/>
              <a:gd name="T38" fmla="*/ 148 w 174"/>
              <a:gd name="T39" fmla="*/ 118 h 148"/>
              <a:gd name="T40" fmla="*/ 138 w 174"/>
              <a:gd name="T41" fmla="*/ 116 h 148"/>
              <a:gd name="T42" fmla="*/ 126 w 174"/>
              <a:gd name="T43" fmla="*/ 116 h 148"/>
              <a:gd name="T44" fmla="*/ 126 w 174"/>
              <a:gd name="T45" fmla="*/ 128 h 148"/>
              <a:gd name="T46" fmla="*/ 116 w 174"/>
              <a:gd name="T47" fmla="*/ 126 h 148"/>
              <a:gd name="T48" fmla="*/ 102 w 174"/>
              <a:gd name="T49" fmla="*/ 126 h 148"/>
              <a:gd name="T50" fmla="*/ 90 w 174"/>
              <a:gd name="T51" fmla="*/ 122 h 148"/>
              <a:gd name="T52" fmla="*/ 92 w 174"/>
              <a:gd name="T53" fmla="*/ 132 h 148"/>
              <a:gd name="T54" fmla="*/ 80 w 174"/>
              <a:gd name="T55" fmla="*/ 144 h 148"/>
              <a:gd name="T56" fmla="*/ 68 w 174"/>
              <a:gd name="T57" fmla="*/ 140 h 148"/>
              <a:gd name="T58" fmla="*/ 70 w 174"/>
              <a:gd name="T59" fmla="*/ 130 h 148"/>
              <a:gd name="T60" fmla="*/ 56 w 174"/>
              <a:gd name="T61" fmla="*/ 124 h 148"/>
              <a:gd name="T62" fmla="*/ 38 w 174"/>
              <a:gd name="T63" fmla="*/ 130 h 148"/>
              <a:gd name="T64" fmla="*/ 18 w 174"/>
              <a:gd name="T65" fmla="*/ 134 h 148"/>
              <a:gd name="T66" fmla="*/ 2 w 174"/>
              <a:gd name="T67" fmla="*/ 13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4" h="148">
                <a:moveTo>
                  <a:pt x="0" y="134"/>
                </a:moveTo>
                <a:lnTo>
                  <a:pt x="12" y="128"/>
                </a:lnTo>
                <a:lnTo>
                  <a:pt x="26" y="118"/>
                </a:lnTo>
                <a:lnTo>
                  <a:pt x="32" y="112"/>
                </a:lnTo>
                <a:lnTo>
                  <a:pt x="44" y="110"/>
                </a:lnTo>
                <a:lnTo>
                  <a:pt x="60" y="110"/>
                </a:lnTo>
                <a:lnTo>
                  <a:pt x="76" y="110"/>
                </a:lnTo>
                <a:lnTo>
                  <a:pt x="80" y="100"/>
                </a:lnTo>
                <a:lnTo>
                  <a:pt x="88" y="90"/>
                </a:lnTo>
                <a:lnTo>
                  <a:pt x="92" y="82"/>
                </a:lnTo>
                <a:lnTo>
                  <a:pt x="98" y="74"/>
                </a:lnTo>
                <a:lnTo>
                  <a:pt x="100" y="80"/>
                </a:lnTo>
                <a:lnTo>
                  <a:pt x="100" y="86"/>
                </a:lnTo>
                <a:lnTo>
                  <a:pt x="110" y="82"/>
                </a:lnTo>
                <a:lnTo>
                  <a:pt x="126" y="72"/>
                </a:lnTo>
                <a:lnTo>
                  <a:pt x="140" y="52"/>
                </a:lnTo>
                <a:lnTo>
                  <a:pt x="146" y="36"/>
                </a:lnTo>
                <a:lnTo>
                  <a:pt x="144" y="30"/>
                </a:lnTo>
                <a:lnTo>
                  <a:pt x="142" y="18"/>
                </a:lnTo>
                <a:lnTo>
                  <a:pt x="146" y="10"/>
                </a:lnTo>
                <a:lnTo>
                  <a:pt x="150" y="8"/>
                </a:lnTo>
                <a:lnTo>
                  <a:pt x="160" y="12"/>
                </a:lnTo>
                <a:lnTo>
                  <a:pt x="162" y="6"/>
                </a:lnTo>
                <a:lnTo>
                  <a:pt x="158" y="2"/>
                </a:lnTo>
                <a:lnTo>
                  <a:pt x="164" y="0"/>
                </a:lnTo>
                <a:lnTo>
                  <a:pt x="166" y="10"/>
                </a:lnTo>
                <a:lnTo>
                  <a:pt x="166" y="18"/>
                </a:lnTo>
                <a:lnTo>
                  <a:pt x="172" y="28"/>
                </a:lnTo>
                <a:lnTo>
                  <a:pt x="174" y="36"/>
                </a:lnTo>
                <a:lnTo>
                  <a:pt x="168" y="48"/>
                </a:lnTo>
                <a:lnTo>
                  <a:pt x="160" y="58"/>
                </a:lnTo>
                <a:lnTo>
                  <a:pt x="158" y="66"/>
                </a:lnTo>
                <a:lnTo>
                  <a:pt x="158" y="80"/>
                </a:lnTo>
                <a:lnTo>
                  <a:pt x="154" y="86"/>
                </a:lnTo>
                <a:lnTo>
                  <a:pt x="152" y="96"/>
                </a:lnTo>
                <a:lnTo>
                  <a:pt x="152" y="98"/>
                </a:lnTo>
                <a:lnTo>
                  <a:pt x="152" y="102"/>
                </a:lnTo>
                <a:lnTo>
                  <a:pt x="152" y="108"/>
                </a:lnTo>
                <a:lnTo>
                  <a:pt x="152" y="110"/>
                </a:lnTo>
                <a:lnTo>
                  <a:pt x="148" y="118"/>
                </a:lnTo>
                <a:lnTo>
                  <a:pt x="142" y="122"/>
                </a:lnTo>
                <a:lnTo>
                  <a:pt x="138" y="116"/>
                </a:lnTo>
                <a:lnTo>
                  <a:pt x="132" y="114"/>
                </a:lnTo>
                <a:lnTo>
                  <a:pt x="126" y="116"/>
                </a:lnTo>
                <a:lnTo>
                  <a:pt x="128" y="124"/>
                </a:lnTo>
                <a:lnTo>
                  <a:pt x="126" y="128"/>
                </a:lnTo>
                <a:lnTo>
                  <a:pt x="118" y="122"/>
                </a:lnTo>
                <a:lnTo>
                  <a:pt x="116" y="126"/>
                </a:lnTo>
                <a:lnTo>
                  <a:pt x="110" y="126"/>
                </a:lnTo>
                <a:lnTo>
                  <a:pt x="102" y="126"/>
                </a:lnTo>
                <a:lnTo>
                  <a:pt x="92" y="126"/>
                </a:lnTo>
                <a:lnTo>
                  <a:pt x="90" y="122"/>
                </a:lnTo>
                <a:lnTo>
                  <a:pt x="88" y="126"/>
                </a:lnTo>
                <a:lnTo>
                  <a:pt x="92" y="132"/>
                </a:lnTo>
                <a:lnTo>
                  <a:pt x="84" y="136"/>
                </a:lnTo>
                <a:lnTo>
                  <a:pt x="80" y="144"/>
                </a:lnTo>
                <a:lnTo>
                  <a:pt x="74" y="148"/>
                </a:lnTo>
                <a:lnTo>
                  <a:pt x="68" y="140"/>
                </a:lnTo>
                <a:lnTo>
                  <a:pt x="62" y="136"/>
                </a:lnTo>
                <a:lnTo>
                  <a:pt x="70" y="130"/>
                </a:lnTo>
                <a:lnTo>
                  <a:pt x="72" y="124"/>
                </a:lnTo>
                <a:lnTo>
                  <a:pt x="56" y="124"/>
                </a:lnTo>
                <a:lnTo>
                  <a:pt x="50" y="128"/>
                </a:lnTo>
                <a:lnTo>
                  <a:pt x="38" y="130"/>
                </a:lnTo>
                <a:lnTo>
                  <a:pt x="28" y="134"/>
                </a:lnTo>
                <a:lnTo>
                  <a:pt x="18" y="134"/>
                </a:lnTo>
                <a:lnTo>
                  <a:pt x="10" y="140"/>
                </a:lnTo>
                <a:lnTo>
                  <a:pt x="2" y="138"/>
                </a:lnTo>
                <a:lnTo>
                  <a:pt x="0" y="13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39" name="Freeform 276">
            <a:extLst>
              <a:ext uri="{FF2B5EF4-FFF2-40B4-BE49-F238E27FC236}">
                <a16:creationId xmlns:a16="http://schemas.microsoft.com/office/drawing/2014/main" id="{CC41B296-2C7C-4177-A636-E1217554DDD5}"/>
              </a:ext>
            </a:extLst>
          </p:cNvPr>
          <p:cNvSpPr>
            <a:spLocks/>
          </p:cNvSpPr>
          <p:nvPr/>
        </p:nvSpPr>
        <p:spPr bwMode="gray">
          <a:xfrm>
            <a:off x="4069147" y="1972852"/>
            <a:ext cx="36312" cy="48068"/>
          </a:xfrm>
          <a:custGeom>
            <a:avLst/>
            <a:gdLst>
              <a:gd name="T0" fmla="*/ 2 w 50"/>
              <a:gd name="T1" fmla="*/ 32 h 72"/>
              <a:gd name="T2" fmla="*/ 2 w 50"/>
              <a:gd name="T3" fmla="*/ 28 h 72"/>
              <a:gd name="T4" fmla="*/ 8 w 50"/>
              <a:gd name="T5" fmla="*/ 30 h 72"/>
              <a:gd name="T6" fmla="*/ 12 w 50"/>
              <a:gd name="T7" fmla="*/ 28 h 72"/>
              <a:gd name="T8" fmla="*/ 10 w 50"/>
              <a:gd name="T9" fmla="*/ 22 h 72"/>
              <a:gd name="T10" fmla="*/ 6 w 50"/>
              <a:gd name="T11" fmla="*/ 20 h 72"/>
              <a:gd name="T12" fmla="*/ 10 w 50"/>
              <a:gd name="T13" fmla="*/ 6 h 72"/>
              <a:gd name="T14" fmla="*/ 20 w 50"/>
              <a:gd name="T15" fmla="*/ 2 h 72"/>
              <a:gd name="T16" fmla="*/ 30 w 50"/>
              <a:gd name="T17" fmla="*/ 0 h 72"/>
              <a:gd name="T18" fmla="*/ 38 w 50"/>
              <a:gd name="T19" fmla="*/ 8 h 72"/>
              <a:gd name="T20" fmla="*/ 44 w 50"/>
              <a:gd name="T21" fmla="*/ 18 h 72"/>
              <a:gd name="T22" fmla="*/ 48 w 50"/>
              <a:gd name="T23" fmla="*/ 30 h 72"/>
              <a:gd name="T24" fmla="*/ 50 w 50"/>
              <a:gd name="T25" fmla="*/ 40 h 72"/>
              <a:gd name="T26" fmla="*/ 48 w 50"/>
              <a:gd name="T27" fmla="*/ 54 h 72"/>
              <a:gd name="T28" fmla="*/ 50 w 50"/>
              <a:gd name="T29" fmla="*/ 54 h 72"/>
              <a:gd name="T30" fmla="*/ 50 w 50"/>
              <a:gd name="T31" fmla="*/ 56 h 72"/>
              <a:gd name="T32" fmla="*/ 46 w 50"/>
              <a:gd name="T33" fmla="*/ 58 h 72"/>
              <a:gd name="T34" fmla="*/ 38 w 50"/>
              <a:gd name="T35" fmla="*/ 62 h 72"/>
              <a:gd name="T36" fmla="*/ 34 w 50"/>
              <a:gd name="T37" fmla="*/ 64 h 72"/>
              <a:gd name="T38" fmla="*/ 28 w 50"/>
              <a:gd name="T39" fmla="*/ 60 h 72"/>
              <a:gd name="T40" fmla="*/ 24 w 50"/>
              <a:gd name="T41" fmla="*/ 64 h 72"/>
              <a:gd name="T42" fmla="*/ 16 w 50"/>
              <a:gd name="T43" fmla="*/ 70 h 72"/>
              <a:gd name="T44" fmla="*/ 12 w 50"/>
              <a:gd name="T45" fmla="*/ 68 h 72"/>
              <a:gd name="T46" fmla="*/ 2 w 50"/>
              <a:gd name="T47" fmla="*/ 72 h 72"/>
              <a:gd name="T48" fmla="*/ 0 w 50"/>
              <a:gd name="T49" fmla="*/ 66 h 72"/>
              <a:gd name="T50" fmla="*/ 2 w 50"/>
              <a:gd name="T51" fmla="*/ 58 h 72"/>
              <a:gd name="T52" fmla="*/ 2 w 50"/>
              <a:gd name="T53" fmla="*/ 48 h 72"/>
              <a:gd name="T54" fmla="*/ 6 w 50"/>
              <a:gd name="T55" fmla="*/ 46 h 72"/>
              <a:gd name="T56" fmla="*/ 6 w 50"/>
              <a:gd name="T57" fmla="*/ 38 h 72"/>
              <a:gd name="T58" fmla="*/ 2 w 50"/>
              <a:gd name="T59" fmla="*/ 32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50" h="72">
                <a:moveTo>
                  <a:pt x="2" y="32"/>
                </a:moveTo>
                <a:lnTo>
                  <a:pt x="2" y="28"/>
                </a:lnTo>
                <a:lnTo>
                  <a:pt x="8" y="30"/>
                </a:lnTo>
                <a:lnTo>
                  <a:pt x="12" y="28"/>
                </a:lnTo>
                <a:lnTo>
                  <a:pt x="10" y="22"/>
                </a:lnTo>
                <a:lnTo>
                  <a:pt x="6" y="20"/>
                </a:lnTo>
                <a:lnTo>
                  <a:pt x="10" y="6"/>
                </a:lnTo>
                <a:lnTo>
                  <a:pt x="20" y="2"/>
                </a:lnTo>
                <a:lnTo>
                  <a:pt x="30" y="0"/>
                </a:lnTo>
                <a:lnTo>
                  <a:pt x="38" y="8"/>
                </a:lnTo>
                <a:lnTo>
                  <a:pt x="44" y="18"/>
                </a:lnTo>
                <a:lnTo>
                  <a:pt x="48" y="30"/>
                </a:lnTo>
                <a:lnTo>
                  <a:pt x="50" y="40"/>
                </a:lnTo>
                <a:lnTo>
                  <a:pt x="48" y="54"/>
                </a:lnTo>
                <a:lnTo>
                  <a:pt x="50" y="54"/>
                </a:lnTo>
                <a:lnTo>
                  <a:pt x="50" y="56"/>
                </a:lnTo>
                <a:lnTo>
                  <a:pt x="46" y="58"/>
                </a:lnTo>
                <a:lnTo>
                  <a:pt x="38" y="62"/>
                </a:lnTo>
                <a:lnTo>
                  <a:pt x="34" y="64"/>
                </a:lnTo>
                <a:lnTo>
                  <a:pt x="28" y="60"/>
                </a:lnTo>
                <a:lnTo>
                  <a:pt x="24" y="64"/>
                </a:lnTo>
                <a:lnTo>
                  <a:pt x="16" y="70"/>
                </a:lnTo>
                <a:lnTo>
                  <a:pt x="12" y="68"/>
                </a:lnTo>
                <a:lnTo>
                  <a:pt x="2" y="72"/>
                </a:lnTo>
                <a:lnTo>
                  <a:pt x="0" y="66"/>
                </a:lnTo>
                <a:lnTo>
                  <a:pt x="2" y="58"/>
                </a:lnTo>
                <a:lnTo>
                  <a:pt x="2" y="48"/>
                </a:lnTo>
                <a:lnTo>
                  <a:pt x="6" y="46"/>
                </a:lnTo>
                <a:lnTo>
                  <a:pt x="6" y="38"/>
                </a:lnTo>
                <a:lnTo>
                  <a:pt x="2" y="3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40" name="Freeform 277">
            <a:extLst>
              <a:ext uri="{FF2B5EF4-FFF2-40B4-BE49-F238E27FC236}">
                <a16:creationId xmlns:a16="http://schemas.microsoft.com/office/drawing/2014/main" id="{2167777B-EE1C-4C03-9B78-B93E2DAB46F3}"/>
              </a:ext>
            </a:extLst>
          </p:cNvPr>
          <p:cNvSpPr>
            <a:spLocks/>
          </p:cNvSpPr>
          <p:nvPr/>
        </p:nvSpPr>
        <p:spPr bwMode="gray">
          <a:xfrm>
            <a:off x="4047359" y="1916772"/>
            <a:ext cx="71172" cy="64091"/>
          </a:xfrm>
          <a:custGeom>
            <a:avLst/>
            <a:gdLst>
              <a:gd name="T0" fmla="*/ 24 w 98"/>
              <a:gd name="T1" fmla="*/ 92 h 96"/>
              <a:gd name="T2" fmla="*/ 12 w 98"/>
              <a:gd name="T3" fmla="*/ 94 h 96"/>
              <a:gd name="T4" fmla="*/ 8 w 98"/>
              <a:gd name="T5" fmla="*/ 88 h 96"/>
              <a:gd name="T6" fmla="*/ 12 w 98"/>
              <a:gd name="T7" fmla="*/ 80 h 96"/>
              <a:gd name="T8" fmla="*/ 12 w 98"/>
              <a:gd name="T9" fmla="*/ 70 h 96"/>
              <a:gd name="T10" fmla="*/ 16 w 98"/>
              <a:gd name="T11" fmla="*/ 60 h 96"/>
              <a:gd name="T12" fmla="*/ 6 w 98"/>
              <a:gd name="T13" fmla="*/ 60 h 96"/>
              <a:gd name="T14" fmla="*/ 0 w 98"/>
              <a:gd name="T15" fmla="*/ 56 h 96"/>
              <a:gd name="T16" fmla="*/ 6 w 98"/>
              <a:gd name="T17" fmla="*/ 48 h 96"/>
              <a:gd name="T18" fmla="*/ 22 w 98"/>
              <a:gd name="T19" fmla="*/ 38 h 96"/>
              <a:gd name="T20" fmla="*/ 28 w 98"/>
              <a:gd name="T21" fmla="*/ 32 h 96"/>
              <a:gd name="T22" fmla="*/ 36 w 98"/>
              <a:gd name="T23" fmla="*/ 24 h 96"/>
              <a:gd name="T24" fmla="*/ 40 w 98"/>
              <a:gd name="T25" fmla="*/ 22 h 96"/>
              <a:gd name="T26" fmla="*/ 50 w 98"/>
              <a:gd name="T27" fmla="*/ 26 h 96"/>
              <a:gd name="T28" fmla="*/ 60 w 98"/>
              <a:gd name="T29" fmla="*/ 24 h 96"/>
              <a:gd name="T30" fmla="*/ 62 w 98"/>
              <a:gd name="T31" fmla="*/ 16 h 96"/>
              <a:gd name="T32" fmla="*/ 72 w 98"/>
              <a:gd name="T33" fmla="*/ 16 h 96"/>
              <a:gd name="T34" fmla="*/ 80 w 98"/>
              <a:gd name="T35" fmla="*/ 10 h 96"/>
              <a:gd name="T36" fmla="*/ 82 w 98"/>
              <a:gd name="T37" fmla="*/ 4 h 96"/>
              <a:gd name="T38" fmla="*/ 88 w 98"/>
              <a:gd name="T39" fmla="*/ 0 h 96"/>
              <a:gd name="T40" fmla="*/ 98 w 98"/>
              <a:gd name="T41" fmla="*/ 8 h 96"/>
              <a:gd name="T42" fmla="*/ 92 w 98"/>
              <a:gd name="T43" fmla="*/ 12 h 96"/>
              <a:gd name="T44" fmla="*/ 84 w 98"/>
              <a:gd name="T45" fmla="*/ 18 h 96"/>
              <a:gd name="T46" fmla="*/ 80 w 98"/>
              <a:gd name="T47" fmla="*/ 28 h 96"/>
              <a:gd name="T48" fmla="*/ 78 w 98"/>
              <a:gd name="T49" fmla="*/ 38 h 96"/>
              <a:gd name="T50" fmla="*/ 76 w 98"/>
              <a:gd name="T51" fmla="*/ 42 h 96"/>
              <a:gd name="T52" fmla="*/ 68 w 98"/>
              <a:gd name="T53" fmla="*/ 46 h 96"/>
              <a:gd name="T54" fmla="*/ 52 w 98"/>
              <a:gd name="T55" fmla="*/ 52 h 96"/>
              <a:gd name="T56" fmla="*/ 48 w 98"/>
              <a:gd name="T57" fmla="*/ 58 h 96"/>
              <a:gd name="T58" fmla="*/ 48 w 98"/>
              <a:gd name="T59" fmla="*/ 66 h 96"/>
              <a:gd name="T60" fmla="*/ 52 w 98"/>
              <a:gd name="T61" fmla="*/ 76 h 96"/>
              <a:gd name="T62" fmla="*/ 56 w 98"/>
              <a:gd name="T63" fmla="*/ 80 h 96"/>
              <a:gd name="T64" fmla="*/ 60 w 98"/>
              <a:gd name="T65" fmla="*/ 84 h 96"/>
              <a:gd name="T66" fmla="*/ 50 w 98"/>
              <a:gd name="T67" fmla="*/ 86 h 96"/>
              <a:gd name="T68" fmla="*/ 40 w 98"/>
              <a:gd name="T69" fmla="*/ 90 h 96"/>
              <a:gd name="T70" fmla="*/ 36 w 98"/>
              <a:gd name="T71" fmla="*/ 96 h 96"/>
              <a:gd name="T72" fmla="*/ 24 w 98"/>
              <a:gd name="T73" fmla="*/ 92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98" h="96">
                <a:moveTo>
                  <a:pt x="24" y="92"/>
                </a:moveTo>
                <a:lnTo>
                  <a:pt x="12" y="94"/>
                </a:lnTo>
                <a:lnTo>
                  <a:pt x="8" y="88"/>
                </a:lnTo>
                <a:lnTo>
                  <a:pt x="12" y="80"/>
                </a:lnTo>
                <a:lnTo>
                  <a:pt x="12" y="70"/>
                </a:lnTo>
                <a:lnTo>
                  <a:pt x="16" y="60"/>
                </a:lnTo>
                <a:lnTo>
                  <a:pt x="6" y="60"/>
                </a:lnTo>
                <a:lnTo>
                  <a:pt x="0" y="56"/>
                </a:lnTo>
                <a:lnTo>
                  <a:pt x="6" y="48"/>
                </a:lnTo>
                <a:lnTo>
                  <a:pt x="22" y="38"/>
                </a:lnTo>
                <a:lnTo>
                  <a:pt x="28" y="32"/>
                </a:lnTo>
                <a:lnTo>
                  <a:pt x="36" y="24"/>
                </a:lnTo>
                <a:lnTo>
                  <a:pt x="40" y="22"/>
                </a:lnTo>
                <a:lnTo>
                  <a:pt x="50" y="26"/>
                </a:lnTo>
                <a:lnTo>
                  <a:pt x="60" y="24"/>
                </a:lnTo>
                <a:lnTo>
                  <a:pt x="62" y="16"/>
                </a:lnTo>
                <a:lnTo>
                  <a:pt x="72" y="16"/>
                </a:lnTo>
                <a:lnTo>
                  <a:pt x="80" y="10"/>
                </a:lnTo>
                <a:lnTo>
                  <a:pt x="82" y="4"/>
                </a:lnTo>
                <a:lnTo>
                  <a:pt x="88" y="0"/>
                </a:lnTo>
                <a:lnTo>
                  <a:pt x="98" y="8"/>
                </a:lnTo>
                <a:lnTo>
                  <a:pt x="92" y="12"/>
                </a:lnTo>
                <a:lnTo>
                  <a:pt x="84" y="18"/>
                </a:lnTo>
                <a:lnTo>
                  <a:pt x="80" y="28"/>
                </a:lnTo>
                <a:lnTo>
                  <a:pt x="78" y="38"/>
                </a:lnTo>
                <a:lnTo>
                  <a:pt x="76" y="42"/>
                </a:lnTo>
                <a:lnTo>
                  <a:pt x="68" y="46"/>
                </a:lnTo>
                <a:lnTo>
                  <a:pt x="52" y="52"/>
                </a:lnTo>
                <a:lnTo>
                  <a:pt x="48" y="58"/>
                </a:lnTo>
                <a:lnTo>
                  <a:pt x="48" y="66"/>
                </a:lnTo>
                <a:lnTo>
                  <a:pt x="52" y="76"/>
                </a:lnTo>
                <a:lnTo>
                  <a:pt x="56" y="80"/>
                </a:lnTo>
                <a:lnTo>
                  <a:pt x="60" y="84"/>
                </a:lnTo>
                <a:lnTo>
                  <a:pt x="50" y="86"/>
                </a:lnTo>
                <a:lnTo>
                  <a:pt x="40" y="90"/>
                </a:lnTo>
                <a:lnTo>
                  <a:pt x="36" y="96"/>
                </a:lnTo>
                <a:lnTo>
                  <a:pt x="24" y="9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41" name="Freeform 278">
            <a:extLst>
              <a:ext uri="{FF2B5EF4-FFF2-40B4-BE49-F238E27FC236}">
                <a16:creationId xmlns:a16="http://schemas.microsoft.com/office/drawing/2014/main" id="{BBC6274D-871C-4FA1-BE97-D2B4B87DE629}"/>
              </a:ext>
            </a:extLst>
          </p:cNvPr>
          <p:cNvSpPr>
            <a:spLocks/>
          </p:cNvSpPr>
          <p:nvPr/>
        </p:nvSpPr>
        <p:spPr bwMode="gray">
          <a:xfrm>
            <a:off x="3460557" y="1772568"/>
            <a:ext cx="705905" cy="408578"/>
          </a:xfrm>
          <a:custGeom>
            <a:avLst/>
            <a:gdLst>
              <a:gd name="T0" fmla="*/ 108 w 972"/>
              <a:gd name="T1" fmla="*/ 176 h 612"/>
              <a:gd name="T2" fmla="*/ 170 w 972"/>
              <a:gd name="T3" fmla="*/ 134 h 612"/>
              <a:gd name="T4" fmla="*/ 210 w 972"/>
              <a:gd name="T5" fmla="*/ 104 h 612"/>
              <a:gd name="T6" fmla="*/ 258 w 972"/>
              <a:gd name="T7" fmla="*/ 116 h 612"/>
              <a:gd name="T8" fmla="*/ 278 w 972"/>
              <a:gd name="T9" fmla="*/ 170 h 612"/>
              <a:gd name="T10" fmla="*/ 358 w 972"/>
              <a:gd name="T11" fmla="*/ 212 h 612"/>
              <a:gd name="T12" fmla="*/ 506 w 972"/>
              <a:gd name="T13" fmla="*/ 240 h 612"/>
              <a:gd name="T14" fmla="*/ 608 w 972"/>
              <a:gd name="T15" fmla="*/ 200 h 612"/>
              <a:gd name="T16" fmla="*/ 654 w 972"/>
              <a:gd name="T17" fmla="*/ 164 h 612"/>
              <a:gd name="T18" fmla="*/ 736 w 972"/>
              <a:gd name="T19" fmla="*/ 144 h 612"/>
              <a:gd name="T20" fmla="*/ 668 w 972"/>
              <a:gd name="T21" fmla="*/ 116 h 612"/>
              <a:gd name="T22" fmla="*/ 714 w 972"/>
              <a:gd name="T23" fmla="*/ 76 h 612"/>
              <a:gd name="T24" fmla="*/ 750 w 972"/>
              <a:gd name="T25" fmla="*/ 20 h 612"/>
              <a:gd name="T26" fmla="*/ 798 w 972"/>
              <a:gd name="T27" fmla="*/ 0 h 612"/>
              <a:gd name="T28" fmla="*/ 856 w 972"/>
              <a:gd name="T29" fmla="*/ 68 h 612"/>
              <a:gd name="T30" fmla="*/ 908 w 972"/>
              <a:gd name="T31" fmla="*/ 100 h 612"/>
              <a:gd name="T32" fmla="*/ 970 w 972"/>
              <a:gd name="T33" fmla="*/ 110 h 612"/>
              <a:gd name="T34" fmla="*/ 934 w 972"/>
              <a:gd name="T35" fmla="*/ 174 h 612"/>
              <a:gd name="T36" fmla="*/ 896 w 972"/>
              <a:gd name="T37" fmla="*/ 216 h 612"/>
              <a:gd name="T38" fmla="*/ 848 w 972"/>
              <a:gd name="T39" fmla="*/ 238 h 612"/>
              <a:gd name="T40" fmla="*/ 798 w 972"/>
              <a:gd name="T41" fmla="*/ 274 h 612"/>
              <a:gd name="T42" fmla="*/ 772 w 972"/>
              <a:gd name="T43" fmla="*/ 266 h 612"/>
              <a:gd name="T44" fmla="*/ 724 w 972"/>
              <a:gd name="T45" fmla="*/ 286 h 612"/>
              <a:gd name="T46" fmla="*/ 720 w 972"/>
              <a:gd name="T47" fmla="*/ 316 h 612"/>
              <a:gd name="T48" fmla="*/ 758 w 972"/>
              <a:gd name="T49" fmla="*/ 316 h 612"/>
              <a:gd name="T50" fmla="*/ 752 w 972"/>
              <a:gd name="T51" fmla="*/ 334 h 612"/>
              <a:gd name="T52" fmla="*/ 736 w 972"/>
              <a:gd name="T53" fmla="*/ 372 h 612"/>
              <a:gd name="T54" fmla="*/ 766 w 972"/>
              <a:gd name="T55" fmla="*/ 422 h 612"/>
              <a:gd name="T56" fmla="*/ 760 w 972"/>
              <a:gd name="T57" fmla="*/ 438 h 612"/>
              <a:gd name="T58" fmla="*/ 766 w 972"/>
              <a:gd name="T59" fmla="*/ 450 h 612"/>
              <a:gd name="T60" fmla="*/ 714 w 972"/>
              <a:gd name="T61" fmla="*/ 542 h 612"/>
              <a:gd name="T62" fmla="*/ 638 w 972"/>
              <a:gd name="T63" fmla="*/ 568 h 612"/>
              <a:gd name="T64" fmla="*/ 586 w 972"/>
              <a:gd name="T65" fmla="*/ 596 h 612"/>
              <a:gd name="T66" fmla="*/ 576 w 972"/>
              <a:gd name="T67" fmla="*/ 594 h 612"/>
              <a:gd name="T68" fmla="*/ 528 w 972"/>
              <a:gd name="T69" fmla="*/ 590 h 612"/>
              <a:gd name="T70" fmla="*/ 492 w 972"/>
              <a:gd name="T71" fmla="*/ 576 h 612"/>
              <a:gd name="T72" fmla="*/ 450 w 972"/>
              <a:gd name="T73" fmla="*/ 590 h 612"/>
              <a:gd name="T74" fmla="*/ 420 w 972"/>
              <a:gd name="T75" fmla="*/ 594 h 612"/>
              <a:gd name="T76" fmla="*/ 402 w 972"/>
              <a:gd name="T77" fmla="*/ 552 h 612"/>
              <a:gd name="T78" fmla="*/ 392 w 972"/>
              <a:gd name="T79" fmla="*/ 490 h 612"/>
              <a:gd name="T80" fmla="*/ 352 w 972"/>
              <a:gd name="T81" fmla="*/ 464 h 612"/>
              <a:gd name="T82" fmla="*/ 292 w 972"/>
              <a:gd name="T83" fmla="*/ 488 h 612"/>
              <a:gd name="T84" fmla="*/ 230 w 972"/>
              <a:gd name="T85" fmla="*/ 488 h 612"/>
              <a:gd name="T86" fmla="*/ 146 w 972"/>
              <a:gd name="T87" fmla="*/ 456 h 612"/>
              <a:gd name="T88" fmla="*/ 80 w 972"/>
              <a:gd name="T89" fmla="*/ 418 h 612"/>
              <a:gd name="T90" fmla="*/ 84 w 972"/>
              <a:gd name="T91" fmla="*/ 380 h 612"/>
              <a:gd name="T92" fmla="*/ 70 w 972"/>
              <a:gd name="T93" fmla="*/ 352 h 612"/>
              <a:gd name="T94" fmla="*/ 20 w 972"/>
              <a:gd name="T95" fmla="*/ 318 h 612"/>
              <a:gd name="T96" fmla="*/ 2 w 972"/>
              <a:gd name="T97" fmla="*/ 284 h 612"/>
              <a:gd name="T98" fmla="*/ 32 w 972"/>
              <a:gd name="T99" fmla="*/ 266 h 612"/>
              <a:gd name="T100" fmla="*/ 102 w 972"/>
              <a:gd name="T101" fmla="*/ 232 h 6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972" h="612">
                <a:moveTo>
                  <a:pt x="108" y="228"/>
                </a:moveTo>
                <a:lnTo>
                  <a:pt x="108" y="218"/>
                </a:lnTo>
                <a:lnTo>
                  <a:pt x="116" y="210"/>
                </a:lnTo>
                <a:lnTo>
                  <a:pt x="110" y="194"/>
                </a:lnTo>
                <a:lnTo>
                  <a:pt x="108" y="176"/>
                </a:lnTo>
                <a:lnTo>
                  <a:pt x="120" y="170"/>
                </a:lnTo>
                <a:lnTo>
                  <a:pt x="138" y="170"/>
                </a:lnTo>
                <a:lnTo>
                  <a:pt x="142" y="156"/>
                </a:lnTo>
                <a:lnTo>
                  <a:pt x="152" y="132"/>
                </a:lnTo>
                <a:lnTo>
                  <a:pt x="170" y="134"/>
                </a:lnTo>
                <a:lnTo>
                  <a:pt x="184" y="134"/>
                </a:lnTo>
                <a:lnTo>
                  <a:pt x="194" y="132"/>
                </a:lnTo>
                <a:lnTo>
                  <a:pt x="194" y="118"/>
                </a:lnTo>
                <a:lnTo>
                  <a:pt x="198" y="104"/>
                </a:lnTo>
                <a:lnTo>
                  <a:pt x="210" y="104"/>
                </a:lnTo>
                <a:lnTo>
                  <a:pt x="212" y="94"/>
                </a:lnTo>
                <a:lnTo>
                  <a:pt x="228" y="94"/>
                </a:lnTo>
                <a:lnTo>
                  <a:pt x="232" y="104"/>
                </a:lnTo>
                <a:lnTo>
                  <a:pt x="242" y="114"/>
                </a:lnTo>
                <a:lnTo>
                  <a:pt x="258" y="116"/>
                </a:lnTo>
                <a:lnTo>
                  <a:pt x="272" y="130"/>
                </a:lnTo>
                <a:lnTo>
                  <a:pt x="280" y="142"/>
                </a:lnTo>
                <a:lnTo>
                  <a:pt x="280" y="150"/>
                </a:lnTo>
                <a:lnTo>
                  <a:pt x="274" y="158"/>
                </a:lnTo>
                <a:lnTo>
                  <a:pt x="278" y="170"/>
                </a:lnTo>
                <a:lnTo>
                  <a:pt x="286" y="174"/>
                </a:lnTo>
                <a:lnTo>
                  <a:pt x="320" y="176"/>
                </a:lnTo>
                <a:lnTo>
                  <a:pt x="330" y="186"/>
                </a:lnTo>
                <a:lnTo>
                  <a:pt x="352" y="198"/>
                </a:lnTo>
                <a:lnTo>
                  <a:pt x="358" y="212"/>
                </a:lnTo>
                <a:lnTo>
                  <a:pt x="364" y="220"/>
                </a:lnTo>
                <a:lnTo>
                  <a:pt x="418" y="222"/>
                </a:lnTo>
                <a:lnTo>
                  <a:pt x="446" y="224"/>
                </a:lnTo>
                <a:lnTo>
                  <a:pt x="470" y="236"/>
                </a:lnTo>
                <a:lnTo>
                  <a:pt x="506" y="240"/>
                </a:lnTo>
                <a:lnTo>
                  <a:pt x="528" y="226"/>
                </a:lnTo>
                <a:lnTo>
                  <a:pt x="572" y="226"/>
                </a:lnTo>
                <a:lnTo>
                  <a:pt x="590" y="216"/>
                </a:lnTo>
                <a:lnTo>
                  <a:pt x="590" y="210"/>
                </a:lnTo>
                <a:lnTo>
                  <a:pt x="608" y="200"/>
                </a:lnTo>
                <a:lnTo>
                  <a:pt x="602" y="188"/>
                </a:lnTo>
                <a:lnTo>
                  <a:pt x="608" y="176"/>
                </a:lnTo>
                <a:lnTo>
                  <a:pt x="622" y="176"/>
                </a:lnTo>
                <a:lnTo>
                  <a:pt x="640" y="178"/>
                </a:lnTo>
                <a:lnTo>
                  <a:pt x="654" y="164"/>
                </a:lnTo>
                <a:lnTo>
                  <a:pt x="670" y="164"/>
                </a:lnTo>
                <a:lnTo>
                  <a:pt x="688" y="150"/>
                </a:lnTo>
                <a:lnTo>
                  <a:pt x="708" y="142"/>
                </a:lnTo>
                <a:lnTo>
                  <a:pt x="720" y="142"/>
                </a:lnTo>
                <a:lnTo>
                  <a:pt x="736" y="144"/>
                </a:lnTo>
                <a:lnTo>
                  <a:pt x="734" y="134"/>
                </a:lnTo>
                <a:lnTo>
                  <a:pt x="714" y="114"/>
                </a:lnTo>
                <a:lnTo>
                  <a:pt x="704" y="112"/>
                </a:lnTo>
                <a:lnTo>
                  <a:pt x="696" y="118"/>
                </a:lnTo>
                <a:lnTo>
                  <a:pt x="668" y="116"/>
                </a:lnTo>
                <a:lnTo>
                  <a:pt x="672" y="102"/>
                </a:lnTo>
                <a:lnTo>
                  <a:pt x="680" y="84"/>
                </a:lnTo>
                <a:lnTo>
                  <a:pt x="686" y="76"/>
                </a:lnTo>
                <a:lnTo>
                  <a:pt x="704" y="86"/>
                </a:lnTo>
                <a:lnTo>
                  <a:pt x="714" y="76"/>
                </a:lnTo>
                <a:lnTo>
                  <a:pt x="726" y="74"/>
                </a:lnTo>
                <a:lnTo>
                  <a:pt x="730" y="58"/>
                </a:lnTo>
                <a:lnTo>
                  <a:pt x="740" y="40"/>
                </a:lnTo>
                <a:lnTo>
                  <a:pt x="750" y="34"/>
                </a:lnTo>
                <a:lnTo>
                  <a:pt x="750" y="20"/>
                </a:lnTo>
                <a:lnTo>
                  <a:pt x="738" y="18"/>
                </a:lnTo>
                <a:lnTo>
                  <a:pt x="740" y="10"/>
                </a:lnTo>
                <a:lnTo>
                  <a:pt x="754" y="4"/>
                </a:lnTo>
                <a:lnTo>
                  <a:pt x="780" y="2"/>
                </a:lnTo>
                <a:lnTo>
                  <a:pt x="798" y="0"/>
                </a:lnTo>
                <a:lnTo>
                  <a:pt x="814" y="6"/>
                </a:lnTo>
                <a:lnTo>
                  <a:pt x="828" y="12"/>
                </a:lnTo>
                <a:lnTo>
                  <a:pt x="840" y="32"/>
                </a:lnTo>
                <a:lnTo>
                  <a:pt x="848" y="52"/>
                </a:lnTo>
                <a:lnTo>
                  <a:pt x="856" y="68"/>
                </a:lnTo>
                <a:lnTo>
                  <a:pt x="862" y="84"/>
                </a:lnTo>
                <a:lnTo>
                  <a:pt x="878" y="84"/>
                </a:lnTo>
                <a:lnTo>
                  <a:pt x="888" y="90"/>
                </a:lnTo>
                <a:lnTo>
                  <a:pt x="902" y="98"/>
                </a:lnTo>
                <a:lnTo>
                  <a:pt x="908" y="100"/>
                </a:lnTo>
                <a:lnTo>
                  <a:pt x="912" y="120"/>
                </a:lnTo>
                <a:lnTo>
                  <a:pt x="934" y="122"/>
                </a:lnTo>
                <a:lnTo>
                  <a:pt x="940" y="114"/>
                </a:lnTo>
                <a:lnTo>
                  <a:pt x="954" y="112"/>
                </a:lnTo>
                <a:lnTo>
                  <a:pt x="970" y="110"/>
                </a:lnTo>
                <a:lnTo>
                  <a:pt x="972" y="124"/>
                </a:lnTo>
                <a:lnTo>
                  <a:pt x="964" y="128"/>
                </a:lnTo>
                <a:lnTo>
                  <a:pt x="958" y="150"/>
                </a:lnTo>
                <a:lnTo>
                  <a:pt x="946" y="172"/>
                </a:lnTo>
                <a:lnTo>
                  <a:pt x="934" y="174"/>
                </a:lnTo>
                <a:lnTo>
                  <a:pt x="928" y="168"/>
                </a:lnTo>
                <a:lnTo>
                  <a:pt x="914" y="178"/>
                </a:lnTo>
                <a:lnTo>
                  <a:pt x="914" y="214"/>
                </a:lnTo>
                <a:lnTo>
                  <a:pt x="906" y="224"/>
                </a:lnTo>
                <a:lnTo>
                  <a:pt x="896" y="216"/>
                </a:lnTo>
                <a:lnTo>
                  <a:pt x="880" y="232"/>
                </a:lnTo>
                <a:lnTo>
                  <a:pt x="870" y="232"/>
                </a:lnTo>
                <a:lnTo>
                  <a:pt x="868" y="240"/>
                </a:lnTo>
                <a:lnTo>
                  <a:pt x="858" y="242"/>
                </a:lnTo>
                <a:lnTo>
                  <a:pt x="848" y="238"/>
                </a:lnTo>
                <a:lnTo>
                  <a:pt x="844" y="240"/>
                </a:lnTo>
                <a:lnTo>
                  <a:pt x="830" y="254"/>
                </a:lnTo>
                <a:lnTo>
                  <a:pt x="818" y="262"/>
                </a:lnTo>
                <a:lnTo>
                  <a:pt x="808" y="272"/>
                </a:lnTo>
                <a:lnTo>
                  <a:pt x="798" y="274"/>
                </a:lnTo>
                <a:lnTo>
                  <a:pt x="788" y="276"/>
                </a:lnTo>
                <a:lnTo>
                  <a:pt x="760" y="294"/>
                </a:lnTo>
                <a:lnTo>
                  <a:pt x="758" y="282"/>
                </a:lnTo>
                <a:lnTo>
                  <a:pt x="762" y="272"/>
                </a:lnTo>
                <a:lnTo>
                  <a:pt x="772" y="266"/>
                </a:lnTo>
                <a:lnTo>
                  <a:pt x="770" y="256"/>
                </a:lnTo>
                <a:lnTo>
                  <a:pt x="762" y="256"/>
                </a:lnTo>
                <a:lnTo>
                  <a:pt x="750" y="258"/>
                </a:lnTo>
                <a:lnTo>
                  <a:pt x="728" y="276"/>
                </a:lnTo>
                <a:lnTo>
                  <a:pt x="724" y="286"/>
                </a:lnTo>
                <a:lnTo>
                  <a:pt x="704" y="286"/>
                </a:lnTo>
                <a:lnTo>
                  <a:pt x="700" y="294"/>
                </a:lnTo>
                <a:lnTo>
                  <a:pt x="706" y="308"/>
                </a:lnTo>
                <a:lnTo>
                  <a:pt x="720" y="310"/>
                </a:lnTo>
                <a:lnTo>
                  <a:pt x="720" y="316"/>
                </a:lnTo>
                <a:lnTo>
                  <a:pt x="722" y="324"/>
                </a:lnTo>
                <a:lnTo>
                  <a:pt x="734" y="322"/>
                </a:lnTo>
                <a:lnTo>
                  <a:pt x="742" y="314"/>
                </a:lnTo>
                <a:lnTo>
                  <a:pt x="750" y="312"/>
                </a:lnTo>
                <a:lnTo>
                  <a:pt x="758" y="316"/>
                </a:lnTo>
                <a:lnTo>
                  <a:pt x="774" y="320"/>
                </a:lnTo>
                <a:lnTo>
                  <a:pt x="778" y="328"/>
                </a:lnTo>
                <a:lnTo>
                  <a:pt x="772" y="330"/>
                </a:lnTo>
                <a:lnTo>
                  <a:pt x="760" y="330"/>
                </a:lnTo>
                <a:lnTo>
                  <a:pt x="752" y="334"/>
                </a:lnTo>
                <a:lnTo>
                  <a:pt x="750" y="340"/>
                </a:lnTo>
                <a:lnTo>
                  <a:pt x="740" y="344"/>
                </a:lnTo>
                <a:lnTo>
                  <a:pt x="730" y="358"/>
                </a:lnTo>
                <a:lnTo>
                  <a:pt x="726" y="368"/>
                </a:lnTo>
                <a:lnTo>
                  <a:pt x="736" y="372"/>
                </a:lnTo>
                <a:lnTo>
                  <a:pt x="742" y="378"/>
                </a:lnTo>
                <a:lnTo>
                  <a:pt x="750" y="398"/>
                </a:lnTo>
                <a:lnTo>
                  <a:pt x="752" y="406"/>
                </a:lnTo>
                <a:lnTo>
                  <a:pt x="768" y="418"/>
                </a:lnTo>
                <a:lnTo>
                  <a:pt x="766" y="422"/>
                </a:lnTo>
                <a:lnTo>
                  <a:pt x="756" y="418"/>
                </a:lnTo>
                <a:lnTo>
                  <a:pt x="752" y="426"/>
                </a:lnTo>
                <a:lnTo>
                  <a:pt x="764" y="430"/>
                </a:lnTo>
                <a:lnTo>
                  <a:pt x="768" y="436"/>
                </a:lnTo>
                <a:lnTo>
                  <a:pt x="760" y="438"/>
                </a:lnTo>
                <a:lnTo>
                  <a:pt x="750" y="440"/>
                </a:lnTo>
                <a:lnTo>
                  <a:pt x="744" y="444"/>
                </a:lnTo>
                <a:lnTo>
                  <a:pt x="742" y="446"/>
                </a:lnTo>
                <a:lnTo>
                  <a:pt x="756" y="448"/>
                </a:lnTo>
                <a:lnTo>
                  <a:pt x="766" y="450"/>
                </a:lnTo>
                <a:lnTo>
                  <a:pt x="766" y="462"/>
                </a:lnTo>
                <a:lnTo>
                  <a:pt x="758" y="480"/>
                </a:lnTo>
                <a:lnTo>
                  <a:pt x="738" y="504"/>
                </a:lnTo>
                <a:lnTo>
                  <a:pt x="724" y="524"/>
                </a:lnTo>
                <a:lnTo>
                  <a:pt x="714" y="542"/>
                </a:lnTo>
                <a:lnTo>
                  <a:pt x="692" y="560"/>
                </a:lnTo>
                <a:lnTo>
                  <a:pt x="678" y="572"/>
                </a:lnTo>
                <a:lnTo>
                  <a:pt x="656" y="576"/>
                </a:lnTo>
                <a:lnTo>
                  <a:pt x="644" y="576"/>
                </a:lnTo>
                <a:lnTo>
                  <a:pt x="638" y="568"/>
                </a:lnTo>
                <a:lnTo>
                  <a:pt x="632" y="570"/>
                </a:lnTo>
                <a:lnTo>
                  <a:pt x="632" y="584"/>
                </a:lnTo>
                <a:lnTo>
                  <a:pt x="618" y="588"/>
                </a:lnTo>
                <a:lnTo>
                  <a:pt x="598" y="594"/>
                </a:lnTo>
                <a:lnTo>
                  <a:pt x="586" y="596"/>
                </a:lnTo>
                <a:lnTo>
                  <a:pt x="582" y="604"/>
                </a:lnTo>
                <a:lnTo>
                  <a:pt x="584" y="612"/>
                </a:lnTo>
                <a:lnTo>
                  <a:pt x="576" y="608"/>
                </a:lnTo>
                <a:lnTo>
                  <a:pt x="576" y="600"/>
                </a:lnTo>
                <a:lnTo>
                  <a:pt x="576" y="594"/>
                </a:lnTo>
                <a:lnTo>
                  <a:pt x="566" y="594"/>
                </a:lnTo>
                <a:lnTo>
                  <a:pt x="556" y="590"/>
                </a:lnTo>
                <a:lnTo>
                  <a:pt x="546" y="594"/>
                </a:lnTo>
                <a:lnTo>
                  <a:pt x="536" y="594"/>
                </a:lnTo>
                <a:lnTo>
                  <a:pt x="528" y="590"/>
                </a:lnTo>
                <a:lnTo>
                  <a:pt x="526" y="574"/>
                </a:lnTo>
                <a:lnTo>
                  <a:pt x="514" y="572"/>
                </a:lnTo>
                <a:lnTo>
                  <a:pt x="508" y="568"/>
                </a:lnTo>
                <a:lnTo>
                  <a:pt x="500" y="568"/>
                </a:lnTo>
                <a:lnTo>
                  <a:pt x="492" y="576"/>
                </a:lnTo>
                <a:lnTo>
                  <a:pt x="458" y="576"/>
                </a:lnTo>
                <a:lnTo>
                  <a:pt x="456" y="580"/>
                </a:lnTo>
                <a:lnTo>
                  <a:pt x="444" y="580"/>
                </a:lnTo>
                <a:lnTo>
                  <a:pt x="444" y="588"/>
                </a:lnTo>
                <a:lnTo>
                  <a:pt x="450" y="590"/>
                </a:lnTo>
                <a:lnTo>
                  <a:pt x="448" y="598"/>
                </a:lnTo>
                <a:lnTo>
                  <a:pt x="440" y="598"/>
                </a:lnTo>
                <a:lnTo>
                  <a:pt x="436" y="594"/>
                </a:lnTo>
                <a:lnTo>
                  <a:pt x="428" y="594"/>
                </a:lnTo>
                <a:lnTo>
                  <a:pt x="420" y="594"/>
                </a:lnTo>
                <a:lnTo>
                  <a:pt x="420" y="588"/>
                </a:lnTo>
                <a:lnTo>
                  <a:pt x="412" y="586"/>
                </a:lnTo>
                <a:lnTo>
                  <a:pt x="412" y="570"/>
                </a:lnTo>
                <a:lnTo>
                  <a:pt x="402" y="566"/>
                </a:lnTo>
                <a:lnTo>
                  <a:pt x="402" y="552"/>
                </a:lnTo>
                <a:lnTo>
                  <a:pt x="382" y="546"/>
                </a:lnTo>
                <a:lnTo>
                  <a:pt x="382" y="542"/>
                </a:lnTo>
                <a:lnTo>
                  <a:pt x="398" y="520"/>
                </a:lnTo>
                <a:lnTo>
                  <a:pt x="400" y="496"/>
                </a:lnTo>
                <a:lnTo>
                  <a:pt x="392" y="490"/>
                </a:lnTo>
                <a:lnTo>
                  <a:pt x="386" y="480"/>
                </a:lnTo>
                <a:lnTo>
                  <a:pt x="378" y="478"/>
                </a:lnTo>
                <a:lnTo>
                  <a:pt x="362" y="476"/>
                </a:lnTo>
                <a:lnTo>
                  <a:pt x="362" y="462"/>
                </a:lnTo>
                <a:lnTo>
                  <a:pt x="352" y="464"/>
                </a:lnTo>
                <a:lnTo>
                  <a:pt x="330" y="464"/>
                </a:lnTo>
                <a:lnTo>
                  <a:pt x="324" y="472"/>
                </a:lnTo>
                <a:lnTo>
                  <a:pt x="312" y="472"/>
                </a:lnTo>
                <a:lnTo>
                  <a:pt x="302" y="486"/>
                </a:lnTo>
                <a:lnTo>
                  <a:pt x="292" y="488"/>
                </a:lnTo>
                <a:lnTo>
                  <a:pt x="278" y="486"/>
                </a:lnTo>
                <a:lnTo>
                  <a:pt x="266" y="482"/>
                </a:lnTo>
                <a:lnTo>
                  <a:pt x="256" y="482"/>
                </a:lnTo>
                <a:lnTo>
                  <a:pt x="250" y="488"/>
                </a:lnTo>
                <a:lnTo>
                  <a:pt x="230" y="488"/>
                </a:lnTo>
                <a:lnTo>
                  <a:pt x="208" y="486"/>
                </a:lnTo>
                <a:lnTo>
                  <a:pt x="192" y="484"/>
                </a:lnTo>
                <a:lnTo>
                  <a:pt x="174" y="472"/>
                </a:lnTo>
                <a:lnTo>
                  <a:pt x="162" y="464"/>
                </a:lnTo>
                <a:lnTo>
                  <a:pt x="146" y="456"/>
                </a:lnTo>
                <a:lnTo>
                  <a:pt x="132" y="442"/>
                </a:lnTo>
                <a:lnTo>
                  <a:pt x="118" y="448"/>
                </a:lnTo>
                <a:lnTo>
                  <a:pt x="106" y="438"/>
                </a:lnTo>
                <a:lnTo>
                  <a:pt x="80" y="426"/>
                </a:lnTo>
                <a:lnTo>
                  <a:pt x="80" y="418"/>
                </a:lnTo>
                <a:lnTo>
                  <a:pt x="84" y="408"/>
                </a:lnTo>
                <a:lnTo>
                  <a:pt x="94" y="406"/>
                </a:lnTo>
                <a:lnTo>
                  <a:pt x="96" y="398"/>
                </a:lnTo>
                <a:lnTo>
                  <a:pt x="84" y="390"/>
                </a:lnTo>
                <a:lnTo>
                  <a:pt x="84" y="380"/>
                </a:lnTo>
                <a:lnTo>
                  <a:pt x="100" y="372"/>
                </a:lnTo>
                <a:lnTo>
                  <a:pt x="108" y="364"/>
                </a:lnTo>
                <a:lnTo>
                  <a:pt x="108" y="356"/>
                </a:lnTo>
                <a:lnTo>
                  <a:pt x="90" y="344"/>
                </a:lnTo>
                <a:lnTo>
                  <a:pt x="70" y="352"/>
                </a:lnTo>
                <a:lnTo>
                  <a:pt x="58" y="350"/>
                </a:lnTo>
                <a:lnTo>
                  <a:pt x="38" y="342"/>
                </a:lnTo>
                <a:lnTo>
                  <a:pt x="38" y="332"/>
                </a:lnTo>
                <a:lnTo>
                  <a:pt x="20" y="326"/>
                </a:lnTo>
                <a:lnTo>
                  <a:pt x="20" y="318"/>
                </a:lnTo>
                <a:lnTo>
                  <a:pt x="20" y="298"/>
                </a:lnTo>
                <a:lnTo>
                  <a:pt x="8" y="300"/>
                </a:lnTo>
                <a:lnTo>
                  <a:pt x="2" y="298"/>
                </a:lnTo>
                <a:lnTo>
                  <a:pt x="0" y="290"/>
                </a:lnTo>
                <a:lnTo>
                  <a:pt x="2" y="284"/>
                </a:lnTo>
                <a:lnTo>
                  <a:pt x="4" y="274"/>
                </a:lnTo>
                <a:lnTo>
                  <a:pt x="16" y="266"/>
                </a:lnTo>
                <a:lnTo>
                  <a:pt x="18" y="260"/>
                </a:lnTo>
                <a:lnTo>
                  <a:pt x="32" y="260"/>
                </a:lnTo>
                <a:lnTo>
                  <a:pt x="32" y="266"/>
                </a:lnTo>
                <a:lnTo>
                  <a:pt x="48" y="262"/>
                </a:lnTo>
                <a:lnTo>
                  <a:pt x="52" y="252"/>
                </a:lnTo>
                <a:lnTo>
                  <a:pt x="72" y="252"/>
                </a:lnTo>
                <a:lnTo>
                  <a:pt x="76" y="244"/>
                </a:lnTo>
                <a:lnTo>
                  <a:pt x="102" y="232"/>
                </a:lnTo>
                <a:lnTo>
                  <a:pt x="108" y="228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42" name="Freeform 279">
            <a:extLst>
              <a:ext uri="{FF2B5EF4-FFF2-40B4-BE49-F238E27FC236}">
                <a16:creationId xmlns:a16="http://schemas.microsoft.com/office/drawing/2014/main" id="{D6B196D7-2698-4F90-A9A0-4B96CE3A370A}"/>
              </a:ext>
            </a:extLst>
          </p:cNvPr>
          <p:cNvSpPr>
            <a:spLocks/>
          </p:cNvSpPr>
          <p:nvPr/>
        </p:nvSpPr>
        <p:spPr bwMode="gray">
          <a:xfrm>
            <a:off x="3762673" y="2159783"/>
            <a:ext cx="90054" cy="90795"/>
          </a:xfrm>
          <a:custGeom>
            <a:avLst/>
            <a:gdLst>
              <a:gd name="T0" fmla="*/ 12 w 124"/>
              <a:gd name="T1" fmla="*/ 14 h 136"/>
              <a:gd name="T2" fmla="*/ 20 w 124"/>
              <a:gd name="T3" fmla="*/ 14 h 136"/>
              <a:gd name="T4" fmla="*/ 24 w 124"/>
              <a:gd name="T5" fmla="*/ 18 h 136"/>
              <a:gd name="T6" fmla="*/ 32 w 124"/>
              <a:gd name="T7" fmla="*/ 18 h 136"/>
              <a:gd name="T8" fmla="*/ 34 w 124"/>
              <a:gd name="T9" fmla="*/ 10 h 136"/>
              <a:gd name="T10" fmla="*/ 28 w 124"/>
              <a:gd name="T11" fmla="*/ 8 h 136"/>
              <a:gd name="T12" fmla="*/ 28 w 124"/>
              <a:gd name="T13" fmla="*/ 0 h 136"/>
              <a:gd name="T14" fmla="*/ 40 w 124"/>
              <a:gd name="T15" fmla="*/ 0 h 136"/>
              <a:gd name="T16" fmla="*/ 40 w 124"/>
              <a:gd name="T17" fmla="*/ 4 h 136"/>
              <a:gd name="T18" fmla="*/ 50 w 124"/>
              <a:gd name="T19" fmla="*/ 14 h 136"/>
              <a:gd name="T20" fmla="*/ 52 w 124"/>
              <a:gd name="T21" fmla="*/ 24 h 136"/>
              <a:gd name="T22" fmla="*/ 52 w 124"/>
              <a:gd name="T23" fmla="*/ 28 h 136"/>
              <a:gd name="T24" fmla="*/ 74 w 124"/>
              <a:gd name="T25" fmla="*/ 26 h 136"/>
              <a:gd name="T26" fmla="*/ 80 w 124"/>
              <a:gd name="T27" fmla="*/ 36 h 136"/>
              <a:gd name="T28" fmla="*/ 82 w 124"/>
              <a:gd name="T29" fmla="*/ 46 h 136"/>
              <a:gd name="T30" fmla="*/ 68 w 124"/>
              <a:gd name="T31" fmla="*/ 46 h 136"/>
              <a:gd name="T32" fmla="*/ 68 w 124"/>
              <a:gd name="T33" fmla="*/ 56 h 136"/>
              <a:gd name="T34" fmla="*/ 76 w 124"/>
              <a:gd name="T35" fmla="*/ 60 h 136"/>
              <a:gd name="T36" fmla="*/ 100 w 124"/>
              <a:gd name="T37" fmla="*/ 84 h 136"/>
              <a:gd name="T38" fmla="*/ 120 w 124"/>
              <a:gd name="T39" fmla="*/ 106 h 136"/>
              <a:gd name="T40" fmla="*/ 124 w 124"/>
              <a:gd name="T41" fmla="*/ 120 h 136"/>
              <a:gd name="T42" fmla="*/ 122 w 124"/>
              <a:gd name="T43" fmla="*/ 134 h 136"/>
              <a:gd name="T44" fmla="*/ 112 w 124"/>
              <a:gd name="T45" fmla="*/ 134 h 136"/>
              <a:gd name="T46" fmla="*/ 110 w 124"/>
              <a:gd name="T47" fmla="*/ 128 h 136"/>
              <a:gd name="T48" fmla="*/ 104 w 124"/>
              <a:gd name="T49" fmla="*/ 128 h 136"/>
              <a:gd name="T50" fmla="*/ 102 w 124"/>
              <a:gd name="T51" fmla="*/ 136 h 136"/>
              <a:gd name="T52" fmla="*/ 90 w 124"/>
              <a:gd name="T53" fmla="*/ 136 h 136"/>
              <a:gd name="T54" fmla="*/ 90 w 124"/>
              <a:gd name="T55" fmla="*/ 130 h 136"/>
              <a:gd name="T56" fmla="*/ 94 w 124"/>
              <a:gd name="T57" fmla="*/ 118 h 136"/>
              <a:gd name="T58" fmla="*/ 94 w 124"/>
              <a:gd name="T59" fmla="*/ 108 h 136"/>
              <a:gd name="T60" fmla="*/ 84 w 124"/>
              <a:gd name="T61" fmla="*/ 98 h 136"/>
              <a:gd name="T62" fmla="*/ 80 w 124"/>
              <a:gd name="T63" fmla="*/ 82 h 136"/>
              <a:gd name="T64" fmla="*/ 64 w 124"/>
              <a:gd name="T65" fmla="*/ 64 h 136"/>
              <a:gd name="T66" fmla="*/ 52 w 124"/>
              <a:gd name="T67" fmla="*/ 72 h 136"/>
              <a:gd name="T68" fmla="*/ 40 w 124"/>
              <a:gd name="T69" fmla="*/ 68 h 136"/>
              <a:gd name="T70" fmla="*/ 20 w 124"/>
              <a:gd name="T71" fmla="*/ 80 h 136"/>
              <a:gd name="T72" fmla="*/ 20 w 124"/>
              <a:gd name="T73" fmla="*/ 66 h 136"/>
              <a:gd name="T74" fmla="*/ 24 w 124"/>
              <a:gd name="T75" fmla="*/ 62 h 136"/>
              <a:gd name="T76" fmla="*/ 20 w 124"/>
              <a:gd name="T77" fmla="*/ 48 h 136"/>
              <a:gd name="T78" fmla="*/ 12 w 124"/>
              <a:gd name="T79" fmla="*/ 46 h 136"/>
              <a:gd name="T80" fmla="*/ 12 w 124"/>
              <a:gd name="T81" fmla="*/ 38 h 136"/>
              <a:gd name="T82" fmla="*/ 0 w 124"/>
              <a:gd name="T83" fmla="*/ 32 h 136"/>
              <a:gd name="T84" fmla="*/ 14 w 124"/>
              <a:gd name="T85" fmla="*/ 24 h 136"/>
              <a:gd name="T86" fmla="*/ 12 w 124"/>
              <a:gd name="T87" fmla="*/ 14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24" h="136">
                <a:moveTo>
                  <a:pt x="12" y="14"/>
                </a:moveTo>
                <a:lnTo>
                  <a:pt x="20" y="14"/>
                </a:lnTo>
                <a:lnTo>
                  <a:pt x="24" y="18"/>
                </a:lnTo>
                <a:lnTo>
                  <a:pt x="32" y="18"/>
                </a:lnTo>
                <a:lnTo>
                  <a:pt x="34" y="10"/>
                </a:lnTo>
                <a:lnTo>
                  <a:pt x="28" y="8"/>
                </a:lnTo>
                <a:lnTo>
                  <a:pt x="28" y="0"/>
                </a:lnTo>
                <a:lnTo>
                  <a:pt x="40" y="0"/>
                </a:lnTo>
                <a:lnTo>
                  <a:pt x="40" y="4"/>
                </a:lnTo>
                <a:lnTo>
                  <a:pt x="50" y="14"/>
                </a:lnTo>
                <a:lnTo>
                  <a:pt x="52" y="24"/>
                </a:lnTo>
                <a:lnTo>
                  <a:pt x="52" y="28"/>
                </a:lnTo>
                <a:lnTo>
                  <a:pt x="74" y="26"/>
                </a:lnTo>
                <a:lnTo>
                  <a:pt x="80" y="36"/>
                </a:lnTo>
                <a:lnTo>
                  <a:pt x="82" y="46"/>
                </a:lnTo>
                <a:lnTo>
                  <a:pt x="68" y="46"/>
                </a:lnTo>
                <a:lnTo>
                  <a:pt x="68" y="56"/>
                </a:lnTo>
                <a:lnTo>
                  <a:pt x="76" y="60"/>
                </a:lnTo>
                <a:lnTo>
                  <a:pt x="100" y="84"/>
                </a:lnTo>
                <a:lnTo>
                  <a:pt x="120" y="106"/>
                </a:lnTo>
                <a:lnTo>
                  <a:pt x="124" y="120"/>
                </a:lnTo>
                <a:lnTo>
                  <a:pt x="122" y="134"/>
                </a:lnTo>
                <a:lnTo>
                  <a:pt x="112" y="134"/>
                </a:lnTo>
                <a:lnTo>
                  <a:pt x="110" y="128"/>
                </a:lnTo>
                <a:lnTo>
                  <a:pt x="104" y="128"/>
                </a:lnTo>
                <a:lnTo>
                  <a:pt x="102" y="136"/>
                </a:lnTo>
                <a:lnTo>
                  <a:pt x="90" y="136"/>
                </a:lnTo>
                <a:lnTo>
                  <a:pt x="90" y="130"/>
                </a:lnTo>
                <a:lnTo>
                  <a:pt x="94" y="118"/>
                </a:lnTo>
                <a:lnTo>
                  <a:pt x="94" y="108"/>
                </a:lnTo>
                <a:lnTo>
                  <a:pt x="84" y="98"/>
                </a:lnTo>
                <a:lnTo>
                  <a:pt x="80" y="82"/>
                </a:lnTo>
                <a:lnTo>
                  <a:pt x="64" y="64"/>
                </a:lnTo>
                <a:lnTo>
                  <a:pt x="52" y="72"/>
                </a:lnTo>
                <a:lnTo>
                  <a:pt x="40" y="68"/>
                </a:lnTo>
                <a:lnTo>
                  <a:pt x="20" y="80"/>
                </a:lnTo>
                <a:lnTo>
                  <a:pt x="20" y="66"/>
                </a:lnTo>
                <a:lnTo>
                  <a:pt x="24" y="62"/>
                </a:lnTo>
                <a:lnTo>
                  <a:pt x="20" y="48"/>
                </a:lnTo>
                <a:lnTo>
                  <a:pt x="12" y="46"/>
                </a:lnTo>
                <a:lnTo>
                  <a:pt x="12" y="38"/>
                </a:lnTo>
                <a:lnTo>
                  <a:pt x="0" y="32"/>
                </a:lnTo>
                <a:lnTo>
                  <a:pt x="14" y="24"/>
                </a:lnTo>
                <a:lnTo>
                  <a:pt x="12" y="14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43" name="Freeform 280">
            <a:extLst>
              <a:ext uri="{FF2B5EF4-FFF2-40B4-BE49-F238E27FC236}">
                <a16:creationId xmlns:a16="http://schemas.microsoft.com/office/drawing/2014/main" id="{94BFF0A4-0259-421E-A508-EFB9BF93B683}"/>
              </a:ext>
            </a:extLst>
          </p:cNvPr>
          <p:cNvSpPr>
            <a:spLocks/>
          </p:cNvSpPr>
          <p:nvPr/>
        </p:nvSpPr>
        <p:spPr bwMode="gray">
          <a:xfrm>
            <a:off x="3626140" y="1793932"/>
            <a:ext cx="368930" cy="138863"/>
          </a:xfrm>
          <a:custGeom>
            <a:avLst/>
            <a:gdLst>
              <a:gd name="T0" fmla="*/ 8 w 508"/>
              <a:gd name="T1" fmla="*/ 54 h 208"/>
              <a:gd name="T2" fmla="*/ 30 w 508"/>
              <a:gd name="T3" fmla="*/ 44 h 208"/>
              <a:gd name="T4" fmla="*/ 80 w 508"/>
              <a:gd name="T5" fmla="*/ 28 h 208"/>
              <a:gd name="T6" fmla="*/ 112 w 508"/>
              <a:gd name="T7" fmla="*/ 44 h 208"/>
              <a:gd name="T8" fmla="*/ 152 w 508"/>
              <a:gd name="T9" fmla="*/ 50 h 208"/>
              <a:gd name="T10" fmla="*/ 166 w 508"/>
              <a:gd name="T11" fmla="*/ 32 h 208"/>
              <a:gd name="T12" fmla="*/ 168 w 508"/>
              <a:gd name="T13" fmla="*/ 4 h 208"/>
              <a:gd name="T14" fmla="*/ 186 w 508"/>
              <a:gd name="T15" fmla="*/ 2 h 208"/>
              <a:gd name="T16" fmla="*/ 224 w 508"/>
              <a:gd name="T17" fmla="*/ 14 h 208"/>
              <a:gd name="T18" fmla="*/ 236 w 508"/>
              <a:gd name="T19" fmla="*/ 36 h 208"/>
              <a:gd name="T20" fmla="*/ 276 w 508"/>
              <a:gd name="T21" fmla="*/ 32 h 208"/>
              <a:gd name="T22" fmla="*/ 306 w 508"/>
              <a:gd name="T23" fmla="*/ 42 h 208"/>
              <a:gd name="T24" fmla="*/ 322 w 508"/>
              <a:gd name="T25" fmla="*/ 52 h 208"/>
              <a:gd name="T26" fmla="*/ 350 w 508"/>
              <a:gd name="T27" fmla="*/ 60 h 208"/>
              <a:gd name="T28" fmla="*/ 398 w 508"/>
              <a:gd name="T29" fmla="*/ 52 h 208"/>
              <a:gd name="T30" fmla="*/ 416 w 508"/>
              <a:gd name="T31" fmla="*/ 38 h 208"/>
              <a:gd name="T32" fmla="*/ 434 w 508"/>
              <a:gd name="T33" fmla="*/ 42 h 208"/>
              <a:gd name="T34" fmla="*/ 458 w 508"/>
              <a:gd name="T35" fmla="*/ 44 h 208"/>
              <a:gd name="T36" fmla="*/ 448 w 508"/>
              <a:gd name="T37" fmla="*/ 60 h 208"/>
              <a:gd name="T38" fmla="*/ 468 w 508"/>
              <a:gd name="T39" fmla="*/ 86 h 208"/>
              <a:gd name="T40" fmla="*/ 486 w 508"/>
              <a:gd name="T41" fmla="*/ 82 h 208"/>
              <a:gd name="T42" fmla="*/ 508 w 508"/>
              <a:gd name="T43" fmla="*/ 112 h 208"/>
              <a:gd name="T44" fmla="*/ 480 w 508"/>
              <a:gd name="T45" fmla="*/ 110 h 208"/>
              <a:gd name="T46" fmla="*/ 442 w 508"/>
              <a:gd name="T47" fmla="*/ 132 h 208"/>
              <a:gd name="T48" fmla="*/ 412 w 508"/>
              <a:gd name="T49" fmla="*/ 146 h 208"/>
              <a:gd name="T50" fmla="*/ 380 w 508"/>
              <a:gd name="T51" fmla="*/ 144 h 208"/>
              <a:gd name="T52" fmla="*/ 380 w 508"/>
              <a:gd name="T53" fmla="*/ 168 h 208"/>
              <a:gd name="T54" fmla="*/ 362 w 508"/>
              <a:gd name="T55" fmla="*/ 184 h 208"/>
              <a:gd name="T56" fmla="*/ 300 w 508"/>
              <a:gd name="T57" fmla="*/ 194 h 208"/>
              <a:gd name="T58" fmla="*/ 242 w 508"/>
              <a:gd name="T59" fmla="*/ 204 h 208"/>
              <a:gd name="T60" fmla="*/ 190 w 508"/>
              <a:gd name="T61" fmla="*/ 190 h 208"/>
              <a:gd name="T62" fmla="*/ 130 w 508"/>
              <a:gd name="T63" fmla="*/ 178 h 208"/>
              <a:gd name="T64" fmla="*/ 102 w 508"/>
              <a:gd name="T65" fmla="*/ 154 h 208"/>
              <a:gd name="T66" fmla="*/ 58 w 508"/>
              <a:gd name="T67" fmla="*/ 142 h 208"/>
              <a:gd name="T68" fmla="*/ 46 w 508"/>
              <a:gd name="T69" fmla="*/ 126 h 208"/>
              <a:gd name="T70" fmla="*/ 52 w 508"/>
              <a:gd name="T71" fmla="*/ 110 h 208"/>
              <a:gd name="T72" fmla="*/ 30 w 508"/>
              <a:gd name="T73" fmla="*/ 84 h 208"/>
              <a:gd name="T74" fmla="*/ 4 w 508"/>
              <a:gd name="T75" fmla="*/ 72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508" h="208">
                <a:moveTo>
                  <a:pt x="0" y="62"/>
                </a:moveTo>
                <a:lnTo>
                  <a:pt x="8" y="54"/>
                </a:lnTo>
                <a:lnTo>
                  <a:pt x="22" y="52"/>
                </a:lnTo>
                <a:lnTo>
                  <a:pt x="30" y="44"/>
                </a:lnTo>
                <a:lnTo>
                  <a:pt x="64" y="26"/>
                </a:lnTo>
                <a:lnTo>
                  <a:pt x="80" y="28"/>
                </a:lnTo>
                <a:lnTo>
                  <a:pt x="102" y="32"/>
                </a:lnTo>
                <a:lnTo>
                  <a:pt x="112" y="44"/>
                </a:lnTo>
                <a:lnTo>
                  <a:pt x="144" y="44"/>
                </a:lnTo>
                <a:lnTo>
                  <a:pt x="152" y="50"/>
                </a:lnTo>
                <a:lnTo>
                  <a:pt x="164" y="40"/>
                </a:lnTo>
                <a:lnTo>
                  <a:pt x="166" y="32"/>
                </a:lnTo>
                <a:lnTo>
                  <a:pt x="154" y="18"/>
                </a:lnTo>
                <a:lnTo>
                  <a:pt x="168" y="4"/>
                </a:lnTo>
                <a:lnTo>
                  <a:pt x="172" y="0"/>
                </a:lnTo>
                <a:lnTo>
                  <a:pt x="186" y="2"/>
                </a:lnTo>
                <a:lnTo>
                  <a:pt x="200" y="6"/>
                </a:lnTo>
                <a:lnTo>
                  <a:pt x="224" y="14"/>
                </a:lnTo>
                <a:lnTo>
                  <a:pt x="226" y="24"/>
                </a:lnTo>
                <a:lnTo>
                  <a:pt x="236" y="36"/>
                </a:lnTo>
                <a:lnTo>
                  <a:pt x="262" y="40"/>
                </a:lnTo>
                <a:lnTo>
                  <a:pt x="276" y="32"/>
                </a:lnTo>
                <a:lnTo>
                  <a:pt x="300" y="36"/>
                </a:lnTo>
                <a:lnTo>
                  <a:pt x="306" y="42"/>
                </a:lnTo>
                <a:lnTo>
                  <a:pt x="316" y="44"/>
                </a:lnTo>
                <a:lnTo>
                  <a:pt x="322" y="52"/>
                </a:lnTo>
                <a:lnTo>
                  <a:pt x="328" y="58"/>
                </a:lnTo>
                <a:lnTo>
                  <a:pt x="350" y="60"/>
                </a:lnTo>
                <a:lnTo>
                  <a:pt x="368" y="58"/>
                </a:lnTo>
                <a:lnTo>
                  <a:pt x="398" y="52"/>
                </a:lnTo>
                <a:lnTo>
                  <a:pt x="408" y="44"/>
                </a:lnTo>
                <a:lnTo>
                  <a:pt x="416" y="38"/>
                </a:lnTo>
                <a:lnTo>
                  <a:pt x="426" y="36"/>
                </a:lnTo>
                <a:lnTo>
                  <a:pt x="434" y="42"/>
                </a:lnTo>
                <a:lnTo>
                  <a:pt x="442" y="42"/>
                </a:lnTo>
                <a:lnTo>
                  <a:pt x="458" y="44"/>
                </a:lnTo>
                <a:lnTo>
                  <a:pt x="452" y="52"/>
                </a:lnTo>
                <a:lnTo>
                  <a:pt x="448" y="60"/>
                </a:lnTo>
                <a:lnTo>
                  <a:pt x="440" y="84"/>
                </a:lnTo>
                <a:lnTo>
                  <a:pt x="468" y="86"/>
                </a:lnTo>
                <a:lnTo>
                  <a:pt x="476" y="80"/>
                </a:lnTo>
                <a:lnTo>
                  <a:pt x="486" y="82"/>
                </a:lnTo>
                <a:lnTo>
                  <a:pt x="506" y="102"/>
                </a:lnTo>
                <a:lnTo>
                  <a:pt x="508" y="112"/>
                </a:lnTo>
                <a:lnTo>
                  <a:pt x="494" y="110"/>
                </a:lnTo>
                <a:lnTo>
                  <a:pt x="480" y="110"/>
                </a:lnTo>
                <a:lnTo>
                  <a:pt x="460" y="118"/>
                </a:lnTo>
                <a:lnTo>
                  <a:pt x="442" y="132"/>
                </a:lnTo>
                <a:lnTo>
                  <a:pt x="426" y="132"/>
                </a:lnTo>
                <a:lnTo>
                  <a:pt x="412" y="146"/>
                </a:lnTo>
                <a:lnTo>
                  <a:pt x="394" y="144"/>
                </a:lnTo>
                <a:lnTo>
                  <a:pt x="380" y="144"/>
                </a:lnTo>
                <a:lnTo>
                  <a:pt x="374" y="156"/>
                </a:lnTo>
                <a:lnTo>
                  <a:pt x="380" y="168"/>
                </a:lnTo>
                <a:lnTo>
                  <a:pt x="362" y="178"/>
                </a:lnTo>
                <a:lnTo>
                  <a:pt x="362" y="184"/>
                </a:lnTo>
                <a:lnTo>
                  <a:pt x="344" y="194"/>
                </a:lnTo>
                <a:lnTo>
                  <a:pt x="300" y="194"/>
                </a:lnTo>
                <a:lnTo>
                  <a:pt x="278" y="208"/>
                </a:lnTo>
                <a:lnTo>
                  <a:pt x="242" y="204"/>
                </a:lnTo>
                <a:lnTo>
                  <a:pt x="218" y="192"/>
                </a:lnTo>
                <a:lnTo>
                  <a:pt x="190" y="190"/>
                </a:lnTo>
                <a:lnTo>
                  <a:pt x="136" y="188"/>
                </a:lnTo>
                <a:lnTo>
                  <a:pt x="130" y="178"/>
                </a:lnTo>
                <a:lnTo>
                  <a:pt x="124" y="166"/>
                </a:lnTo>
                <a:lnTo>
                  <a:pt x="102" y="154"/>
                </a:lnTo>
                <a:lnTo>
                  <a:pt x="92" y="144"/>
                </a:lnTo>
                <a:lnTo>
                  <a:pt x="58" y="142"/>
                </a:lnTo>
                <a:lnTo>
                  <a:pt x="50" y="138"/>
                </a:lnTo>
                <a:lnTo>
                  <a:pt x="46" y="126"/>
                </a:lnTo>
                <a:lnTo>
                  <a:pt x="52" y="118"/>
                </a:lnTo>
                <a:lnTo>
                  <a:pt x="52" y="110"/>
                </a:lnTo>
                <a:lnTo>
                  <a:pt x="44" y="98"/>
                </a:lnTo>
                <a:lnTo>
                  <a:pt x="30" y="84"/>
                </a:lnTo>
                <a:lnTo>
                  <a:pt x="14" y="82"/>
                </a:lnTo>
                <a:lnTo>
                  <a:pt x="4" y="72"/>
                </a:lnTo>
                <a:lnTo>
                  <a:pt x="0" y="62"/>
                </a:ln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GB" sz="1013" dirty="0"/>
          </a:p>
        </p:txBody>
      </p:sp>
      <p:sp>
        <p:nvSpPr>
          <p:cNvPr id="344" name="Freeform 281">
            <a:extLst>
              <a:ext uri="{FF2B5EF4-FFF2-40B4-BE49-F238E27FC236}">
                <a16:creationId xmlns:a16="http://schemas.microsoft.com/office/drawing/2014/main" id="{C0090AA8-C50A-4C57-A6D3-97C68F68404E}"/>
              </a:ext>
            </a:extLst>
          </p:cNvPr>
          <p:cNvSpPr>
            <a:spLocks/>
          </p:cNvSpPr>
          <p:nvPr/>
        </p:nvSpPr>
        <p:spPr bwMode="gray">
          <a:xfrm>
            <a:off x="3919541" y="2356728"/>
            <a:ext cx="18882" cy="14020"/>
          </a:xfrm>
          <a:custGeom>
            <a:avLst/>
            <a:gdLst>
              <a:gd name="T0" fmla="*/ 1 w 26"/>
              <a:gd name="T1" fmla="*/ 10 h 21"/>
              <a:gd name="T2" fmla="*/ 11 w 26"/>
              <a:gd name="T3" fmla="*/ 0 h 21"/>
              <a:gd name="T4" fmla="*/ 1 w 26"/>
              <a:gd name="T5" fmla="*/ 1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6" h="21">
                <a:moveTo>
                  <a:pt x="1" y="10"/>
                </a:moveTo>
                <a:cubicBezTo>
                  <a:pt x="13" y="18"/>
                  <a:pt x="26" y="10"/>
                  <a:pt x="11" y="0"/>
                </a:cubicBezTo>
                <a:cubicBezTo>
                  <a:pt x="0" y="3"/>
                  <a:pt x="1" y="21"/>
                  <a:pt x="1" y="10"/>
                </a:cubicBezTo>
                <a:close/>
              </a:path>
            </a:pathLst>
          </a:custGeom>
          <a:solidFill>
            <a:schemeClr val="accent3"/>
          </a:solidFill>
          <a:ln w="1270" cmpd="sng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013" dirty="0"/>
          </a:p>
        </p:txBody>
      </p:sp>
      <p:sp>
        <p:nvSpPr>
          <p:cNvPr id="345" name="Freeform 282">
            <a:extLst>
              <a:ext uri="{FF2B5EF4-FFF2-40B4-BE49-F238E27FC236}">
                <a16:creationId xmlns:a16="http://schemas.microsoft.com/office/drawing/2014/main" id="{B7BD3312-0B29-4260-8436-6E11CC2B481C}"/>
              </a:ext>
            </a:extLst>
          </p:cNvPr>
          <p:cNvSpPr>
            <a:spLocks/>
          </p:cNvSpPr>
          <p:nvPr/>
        </p:nvSpPr>
        <p:spPr bwMode="gray">
          <a:xfrm>
            <a:off x="3801164" y="2375421"/>
            <a:ext cx="13072" cy="10682"/>
          </a:xfrm>
          <a:custGeom>
            <a:avLst/>
            <a:gdLst>
              <a:gd name="T0" fmla="*/ 18 w 18"/>
              <a:gd name="T1" fmla="*/ 16 h 16"/>
              <a:gd name="T2" fmla="*/ 10 w 18"/>
              <a:gd name="T3" fmla="*/ 2 h 16"/>
              <a:gd name="T4" fmla="*/ 4 w 18"/>
              <a:gd name="T5" fmla="*/ 14 h 16"/>
              <a:gd name="T6" fmla="*/ 12 w 18"/>
              <a:gd name="T7" fmla="*/ 12 h 16"/>
              <a:gd name="T8" fmla="*/ 18 w 18"/>
              <a:gd name="T9" fmla="*/ 16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8" h="16">
                <a:moveTo>
                  <a:pt x="18" y="16"/>
                </a:moveTo>
                <a:cubicBezTo>
                  <a:pt x="17" y="14"/>
                  <a:pt x="17" y="0"/>
                  <a:pt x="10" y="2"/>
                </a:cubicBezTo>
                <a:cubicBezTo>
                  <a:pt x="5" y="2"/>
                  <a:pt x="0" y="11"/>
                  <a:pt x="4" y="14"/>
                </a:cubicBezTo>
                <a:cubicBezTo>
                  <a:pt x="6" y="15"/>
                  <a:pt x="9" y="11"/>
                  <a:pt x="12" y="12"/>
                </a:cubicBezTo>
                <a:cubicBezTo>
                  <a:pt x="14" y="12"/>
                  <a:pt x="16" y="14"/>
                  <a:pt x="18" y="16"/>
                </a:cubicBezTo>
                <a:close/>
              </a:path>
            </a:pathLst>
          </a:custGeom>
          <a:solidFill>
            <a:schemeClr val="accent1"/>
          </a:solidFill>
          <a:ln w="1270" cmpd="sng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 sz="1013" dirty="0"/>
          </a:p>
        </p:txBody>
      </p:sp>
      <p:sp>
        <p:nvSpPr>
          <p:cNvPr id="364" name="Content Placeholder 5">
            <a:extLst>
              <a:ext uri="{FF2B5EF4-FFF2-40B4-BE49-F238E27FC236}">
                <a16:creationId xmlns:a16="http://schemas.microsoft.com/office/drawing/2014/main" id="{AB407BA6-9206-47E4-AB62-95DDE96A3574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557666" y="3128137"/>
            <a:ext cx="4244983" cy="1519318"/>
          </a:xfrm>
        </p:spPr>
        <p:txBody>
          <a:bodyPr lIns="0" tIns="0" rIns="0" bIns="0" anchor="t"/>
          <a:lstStyle/>
          <a:p>
            <a:pPr marL="171450" indent="-171450" algn="l">
              <a:lnSpc>
                <a:spcPct val="9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lombia: </a:t>
            </a:r>
            <a:r>
              <a:rPr lang="pt-BR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ircular Externa 007 de 2018 </a:t>
            </a:r>
          </a:p>
          <a:p>
            <a:pPr marL="171450" indent="-171450" algn="l">
              <a:lnSpc>
                <a:spcPct val="9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razil</a:t>
            </a:r>
            <a:r>
              <a:rPr lang="pt-BR" sz="1400" b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: </a:t>
            </a: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ybersecurity regulation, </a:t>
            </a:r>
            <a:r>
              <a:rPr lang="pt-BR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DPR</a:t>
            </a:r>
            <a:endParaRPr lang="en-US" sz="1400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171450" indent="-171450" algn="l">
              <a:lnSpc>
                <a:spcPct val="9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uropean Union: </a:t>
            </a: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DPR</a:t>
            </a:r>
          </a:p>
          <a:p>
            <a:pPr marL="171450" indent="-171450" algn="l">
              <a:lnSpc>
                <a:spcPct val="9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ited Kingdom: </a:t>
            </a: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perational resilience*</a:t>
            </a:r>
          </a:p>
          <a:p>
            <a:pPr marL="171450" indent="-171450" algn="l">
              <a:lnSpc>
                <a:spcPct val="9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ited States: </a:t>
            </a: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YDFS Cybersecurity regulation, SEC Cybersecurity Disclosures, California GDPR </a:t>
            </a:r>
          </a:p>
          <a:p>
            <a:pPr marL="171450" indent="-171450" algn="l">
              <a:lnSpc>
                <a:spcPct val="9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ngapore: </a:t>
            </a: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ybersecurity Act 2018</a:t>
            </a:r>
            <a:endParaRPr lang="en-US" sz="1400" b="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66" name="Oval 124">
            <a:extLst>
              <a:ext uri="{FF2B5EF4-FFF2-40B4-BE49-F238E27FC236}">
                <a16:creationId xmlns:a16="http://schemas.microsoft.com/office/drawing/2014/main" id="{D2AD7955-FF3C-4BED-A644-B597A03C72AF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72835" y="2137535"/>
            <a:ext cx="502920" cy="499220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</a:ln>
          <a:effectLst>
            <a:outerShdw blurRad="63500"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96" name="Oval 124">
            <a:extLst>
              <a:ext uri="{FF2B5EF4-FFF2-40B4-BE49-F238E27FC236}">
                <a16:creationId xmlns:a16="http://schemas.microsoft.com/office/drawing/2014/main" id="{25D089DF-26E0-4C5C-9407-EFD7635681E0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72835" y="2873761"/>
            <a:ext cx="502920" cy="499220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</a:ln>
          <a:effectLst>
            <a:outerShdw blurRad="63500"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46" name="Oval 124">
            <a:extLst>
              <a:ext uri="{FF2B5EF4-FFF2-40B4-BE49-F238E27FC236}">
                <a16:creationId xmlns:a16="http://schemas.microsoft.com/office/drawing/2014/main" id="{9CBD9D49-542E-438E-AAE5-5E48F327A3EA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72835" y="3591504"/>
            <a:ext cx="502920" cy="499220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</a:ln>
          <a:effectLst>
            <a:outerShdw blurRad="63500"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71" name="Oval 124">
            <a:extLst>
              <a:ext uri="{FF2B5EF4-FFF2-40B4-BE49-F238E27FC236}">
                <a16:creationId xmlns:a16="http://schemas.microsoft.com/office/drawing/2014/main" id="{5010BBCA-6F7C-46B6-8512-B1C79DC4517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72835" y="4343580"/>
            <a:ext cx="502920" cy="499220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</a:ln>
          <a:effectLst>
            <a:outerShdw blurRad="63500"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0F2F97B-9760-4771-969F-3F73F7CBBD35}"/>
              </a:ext>
            </a:extLst>
          </p:cNvPr>
          <p:cNvSpPr/>
          <p:nvPr/>
        </p:nvSpPr>
        <p:spPr>
          <a:xfrm>
            <a:off x="5196003" y="2874013"/>
            <a:ext cx="284164" cy="539751"/>
          </a:xfrm>
          <a:custGeom>
            <a:avLst/>
            <a:gdLst/>
            <a:ahLst/>
            <a:cxnLst/>
            <a:rect l="0" t="0" r="0" b="0"/>
            <a:pathLst>
              <a:path w="284164" h="539751">
                <a:moveTo>
                  <a:pt x="0" y="0"/>
                </a:moveTo>
                <a:lnTo>
                  <a:pt x="0" y="133350"/>
                </a:lnTo>
                <a:lnTo>
                  <a:pt x="138113" y="269875"/>
                </a:lnTo>
                <a:lnTo>
                  <a:pt x="0" y="412750"/>
                </a:lnTo>
                <a:lnTo>
                  <a:pt x="0" y="539750"/>
                </a:lnTo>
                <a:lnTo>
                  <a:pt x="284163" y="269875"/>
                </a:lnTo>
                <a:close/>
              </a:path>
            </a:pathLst>
          </a:cu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Footnote">
            <a:extLst>
              <a:ext uri="{FF2B5EF4-FFF2-40B4-BE49-F238E27FC236}">
                <a16:creationId xmlns:a16="http://schemas.microsoft.com/office/drawing/2014/main" id="{7ADF9013-58AB-4832-B12C-F1A6D62B41AC}"/>
              </a:ext>
            </a:extLst>
          </p:cNvPr>
          <p:cNvSpPr/>
          <p:nvPr/>
        </p:nvSpPr>
        <p:spPr>
          <a:xfrm>
            <a:off x="330666" y="4909063"/>
            <a:ext cx="7886700" cy="21544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spAutoFit/>
          </a:bodyPr>
          <a:lstStyle/>
          <a:p>
            <a:pPr marL="118872" indent="-118872"/>
            <a:r>
              <a:rPr lang="en-GB" sz="800" dirty="0"/>
              <a:t>* Discussion paper</a:t>
            </a:r>
            <a:endParaRPr lang="en-GB" sz="800" dirty="0">
              <a:solidFill>
                <a:schemeClr val="tx1"/>
              </a:solidFill>
            </a:endParaRPr>
          </a:p>
        </p:txBody>
      </p:sp>
      <p:grpSp>
        <p:nvGrpSpPr>
          <p:cNvPr id="597" name="Group 596">
            <a:extLst>
              <a:ext uri="{FF2B5EF4-FFF2-40B4-BE49-F238E27FC236}">
                <a16:creationId xmlns:a16="http://schemas.microsoft.com/office/drawing/2014/main" id="{B5240D46-0B00-48D7-AB83-AFDC2E2DBA0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004920" y="2962906"/>
            <a:ext cx="249027" cy="320040"/>
            <a:chOff x="6389765" y="2005019"/>
            <a:chExt cx="550865" cy="707955"/>
          </a:xfrm>
        </p:grpSpPr>
        <p:sp>
          <p:nvSpPr>
            <p:cNvPr id="598" name="Freeform 325">
              <a:extLst>
                <a:ext uri="{FF2B5EF4-FFF2-40B4-BE49-F238E27FC236}">
                  <a16:creationId xmlns:a16="http://schemas.microsoft.com/office/drawing/2014/main" id="{E0D88ACC-A594-453C-8D2A-FD41E5BF68B9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6389765" y="2005019"/>
              <a:ext cx="550865" cy="707955"/>
            </a:xfrm>
            <a:custGeom>
              <a:avLst/>
              <a:gdLst>
                <a:gd name="T0" fmla="*/ 372 w 411"/>
                <a:gd name="T1" fmla="*/ 0 h 477"/>
                <a:gd name="T2" fmla="*/ 38 w 411"/>
                <a:gd name="T3" fmla="*/ 0 h 477"/>
                <a:gd name="T4" fmla="*/ 0 w 411"/>
                <a:gd name="T5" fmla="*/ 39 h 477"/>
                <a:gd name="T6" fmla="*/ 0 w 411"/>
                <a:gd name="T7" fmla="*/ 438 h 477"/>
                <a:gd name="T8" fmla="*/ 38 w 411"/>
                <a:gd name="T9" fmla="*/ 477 h 477"/>
                <a:gd name="T10" fmla="*/ 372 w 411"/>
                <a:gd name="T11" fmla="*/ 477 h 477"/>
                <a:gd name="T12" fmla="*/ 411 w 411"/>
                <a:gd name="T13" fmla="*/ 452 h 477"/>
                <a:gd name="T14" fmla="*/ 411 w 411"/>
                <a:gd name="T15" fmla="*/ 39 h 477"/>
                <a:gd name="T16" fmla="*/ 372 w 411"/>
                <a:gd name="T17" fmla="*/ 0 h 477"/>
                <a:gd name="T18" fmla="*/ 221 w 411"/>
                <a:gd name="T19" fmla="*/ 467 h 477"/>
                <a:gd name="T20" fmla="*/ 190 w 411"/>
                <a:gd name="T21" fmla="*/ 467 h 477"/>
                <a:gd name="T22" fmla="*/ 175 w 411"/>
                <a:gd name="T23" fmla="*/ 452 h 477"/>
                <a:gd name="T24" fmla="*/ 190 w 411"/>
                <a:gd name="T25" fmla="*/ 437 h 477"/>
                <a:gd name="T26" fmla="*/ 221 w 411"/>
                <a:gd name="T27" fmla="*/ 437 h 477"/>
                <a:gd name="T28" fmla="*/ 236 w 411"/>
                <a:gd name="T29" fmla="*/ 452 h 477"/>
                <a:gd name="T30" fmla="*/ 221 w 411"/>
                <a:gd name="T31" fmla="*/ 467 h 477"/>
                <a:gd name="T32" fmla="*/ 391 w 411"/>
                <a:gd name="T33" fmla="*/ 418 h 477"/>
                <a:gd name="T34" fmla="*/ 381 w 411"/>
                <a:gd name="T35" fmla="*/ 427 h 477"/>
                <a:gd name="T36" fmla="*/ 29 w 411"/>
                <a:gd name="T37" fmla="*/ 427 h 477"/>
                <a:gd name="T38" fmla="*/ 20 w 411"/>
                <a:gd name="T39" fmla="*/ 418 h 477"/>
                <a:gd name="T40" fmla="*/ 20 w 411"/>
                <a:gd name="T41" fmla="*/ 32 h 477"/>
                <a:gd name="T42" fmla="*/ 29 w 411"/>
                <a:gd name="T43" fmla="*/ 22 h 477"/>
                <a:gd name="T44" fmla="*/ 381 w 411"/>
                <a:gd name="T45" fmla="*/ 22 h 477"/>
                <a:gd name="T46" fmla="*/ 391 w 411"/>
                <a:gd name="T47" fmla="*/ 32 h 477"/>
                <a:gd name="T48" fmla="*/ 391 w 411"/>
                <a:gd name="T49" fmla="*/ 418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11" h="477">
                  <a:moveTo>
                    <a:pt x="372" y="0"/>
                  </a:moveTo>
                  <a:cubicBezTo>
                    <a:pt x="38" y="0"/>
                    <a:pt x="38" y="0"/>
                    <a:pt x="38" y="0"/>
                  </a:cubicBezTo>
                  <a:cubicBezTo>
                    <a:pt x="17" y="0"/>
                    <a:pt x="0" y="17"/>
                    <a:pt x="0" y="39"/>
                  </a:cubicBezTo>
                  <a:cubicBezTo>
                    <a:pt x="0" y="438"/>
                    <a:pt x="0" y="438"/>
                    <a:pt x="0" y="438"/>
                  </a:cubicBezTo>
                  <a:cubicBezTo>
                    <a:pt x="0" y="460"/>
                    <a:pt x="17" y="477"/>
                    <a:pt x="38" y="477"/>
                  </a:cubicBezTo>
                  <a:cubicBezTo>
                    <a:pt x="372" y="477"/>
                    <a:pt x="372" y="477"/>
                    <a:pt x="372" y="477"/>
                  </a:cubicBezTo>
                  <a:cubicBezTo>
                    <a:pt x="394" y="477"/>
                    <a:pt x="411" y="473"/>
                    <a:pt x="411" y="452"/>
                  </a:cubicBezTo>
                  <a:cubicBezTo>
                    <a:pt x="411" y="39"/>
                    <a:pt x="411" y="39"/>
                    <a:pt x="411" y="39"/>
                  </a:cubicBezTo>
                  <a:cubicBezTo>
                    <a:pt x="411" y="17"/>
                    <a:pt x="394" y="0"/>
                    <a:pt x="372" y="0"/>
                  </a:cubicBezTo>
                  <a:close/>
                  <a:moveTo>
                    <a:pt x="221" y="467"/>
                  </a:moveTo>
                  <a:cubicBezTo>
                    <a:pt x="190" y="467"/>
                    <a:pt x="190" y="467"/>
                    <a:pt x="190" y="467"/>
                  </a:cubicBezTo>
                  <a:cubicBezTo>
                    <a:pt x="181" y="467"/>
                    <a:pt x="175" y="460"/>
                    <a:pt x="175" y="452"/>
                  </a:cubicBezTo>
                  <a:cubicBezTo>
                    <a:pt x="175" y="444"/>
                    <a:pt x="181" y="437"/>
                    <a:pt x="190" y="437"/>
                  </a:cubicBezTo>
                  <a:cubicBezTo>
                    <a:pt x="221" y="437"/>
                    <a:pt x="221" y="437"/>
                    <a:pt x="221" y="437"/>
                  </a:cubicBezTo>
                  <a:cubicBezTo>
                    <a:pt x="229" y="437"/>
                    <a:pt x="236" y="444"/>
                    <a:pt x="236" y="452"/>
                  </a:cubicBezTo>
                  <a:cubicBezTo>
                    <a:pt x="236" y="460"/>
                    <a:pt x="229" y="467"/>
                    <a:pt x="221" y="467"/>
                  </a:cubicBezTo>
                  <a:close/>
                  <a:moveTo>
                    <a:pt x="391" y="418"/>
                  </a:moveTo>
                  <a:cubicBezTo>
                    <a:pt x="391" y="423"/>
                    <a:pt x="387" y="427"/>
                    <a:pt x="381" y="427"/>
                  </a:cubicBezTo>
                  <a:cubicBezTo>
                    <a:pt x="29" y="427"/>
                    <a:pt x="29" y="427"/>
                    <a:pt x="29" y="427"/>
                  </a:cubicBezTo>
                  <a:cubicBezTo>
                    <a:pt x="24" y="427"/>
                    <a:pt x="20" y="423"/>
                    <a:pt x="20" y="418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20" y="26"/>
                    <a:pt x="24" y="22"/>
                    <a:pt x="29" y="22"/>
                  </a:cubicBezTo>
                  <a:cubicBezTo>
                    <a:pt x="381" y="22"/>
                    <a:pt x="381" y="22"/>
                    <a:pt x="381" y="22"/>
                  </a:cubicBezTo>
                  <a:cubicBezTo>
                    <a:pt x="387" y="22"/>
                    <a:pt x="391" y="26"/>
                    <a:pt x="391" y="32"/>
                  </a:cubicBezTo>
                  <a:lnTo>
                    <a:pt x="391" y="4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599" name="Group 598">
              <a:extLst>
                <a:ext uri="{FF2B5EF4-FFF2-40B4-BE49-F238E27FC236}">
                  <a16:creationId xmlns:a16="http://schemas.microsoft.com/office/drawing/2014/main" id="{59AA6B84-0CCD-4460-8A21-1B530E7C6A72}"/>
                </a:ext>
              </a:extLst>
            </p:cNvPr>
            <p:cNvGrpSpPr/>
            <p:nvPr>
              <p:custDataLst>
                <p:custData r:id="rId3"/>
              </p:custDataLst>
            </p:nvPr>
          </p:nvGrpSpPr>
          <p:grpSpPr bwMode="gray">
            <a:xfrm>
              <a:off x="6440617" y="2131219"/>
              <a:ext cx="194532" cy="189181"/>
              <a:chOff x="5541928" y="2754446"/>
              <a:chExt cx="534841" cy="520128"/>
            </a:xfrm>
            <a:solidFill>
              <a:schemeClr val="bg1"/>
            </a:solidFill>
          </p:grpSpPr>
          <p:sp>
            <p:nvSpPr>
              <p:cNvPr id="619" name="Freeform 31">
                <a:extLst>
                  <a:ext uri="{FF2B5EF4-FFF2-40B4-BE49-F238E27FC236}">
                    <a16:creationId xmlns:a16="http://schemas.microsoft.com/office/drawing/2014/main" id="{D161A395-562E-40F2-9F2B-808EE760121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41928" y="2754446"/>
                <a:ext cx="495088" cy="520128"/>
              </a:xfrm>
              <a:custGeom>
                <a:avLst/>
                <a:gdLst>
                  <a:gd name="T0" fmla="*/ 164 w 4823"/>
                  <a:gd name="T1" fmla="*/ 0 h 5070"/>
                  <a:gd name="T2" fmla="*/ 195 w 4823"/>
                  <a:gd name="T3" fmla="*/ 0 h 5070"/>
                  <a:gd name="T4" fmla="*/ 226 w 4823"/>
                  <a:gd name="T5" fmla="*/ 5 h 5070"/>
                  <a:gd name="T6" fmla="*/ 255 w 4823"/>
                  <a:gd name="T7" fmla="*/ 12 h 5070"/>
                  <a:gd name="T8" fmla="*/ 283 w 4823"/>
                  <a:gd name="T9" fmla="*/ 23 h 5070"/>
                  <a:gd name="T10" fmla="*/ 307 w 4823"/>
                  <a:gd name="T11" fmla="*/ 39 h 5070"/>
                  <a:gd name="T12" fmla="*/ 327 w 4823"/>
                  <a:gd name="T13" fmla="*/ 57 h 5070"/>
                  <a:gd name="T14" fmla="*/ 344 w 4823"/>
                  <a:gd name="T15" fmla="*/ 79 h 5070"/>
                  <a:gd name="T16" fmla="*/ 354 w 4823"/>
                  <a:gd name="T17" fmla="*/ 107 h 5070"/>
                  <a:gd name="T18" fmla="*/ 357 w 4823"/>
                  <a:gd name="T19" fmla="*/ 136 h 5070"/>
                  <a:gd name="T20" fmla="*/ 357 w 4823"/>
                  <a:gd name="T21" fmla="*/ 4712 h 5070"/>
                  <a:gd name="T22" fmla="*/ 4695 w 4823"/>
                  <a:gd name="T23" fmla="*/ 4712 h 5070"/>
                  <a:gd name="T24" fmla="*/ 4723 w 4823"/>
                  <a:gd name="T25" fmla="*/ 4716 h 5070"/>
                  <a:gd name="T26" fmla="*/ 4748 w 4823"/>
                  <a:gd name="T27" fmla="*/ 4726 h 5070"/>
                  <a:gd name="T28" fmla="*/ 4769 w 4823"/>
                  <a:gd name="T29" fmla="*/ 4741 h 5070"/>
                  <a:gd name="T30" fmla="*/ 4788 w 4823"/>
                  <a:gd name="T31" fmla="*/ 4763 h 5070"/>
                  <a:gd name="T32" fmla="*/ 4802 w 4823"/>
                  <a:gd name="T33" fmla="*/ 4787 h 5070"/>
                  <a:gd name="T34" fmla="*/ 4812 w 4823"/>
                  <a:gd name="T35" fmla="*/ 4814 h 5070"/>
                  <a:gd name="T36" fmla="*/ 4820 w 4823"/>
                  <a:gd name="T37" fmla="*/ 4844 h 5070"/>
                  <a:gd name="T38" fmla="*/ 4823 w 4823"/>
                  <a:gd name="T39" fmla="*/ 4875 h 5070"/>
                  <a:gd name="T40" fmla="*/ 4823 w 4823"/>
                  <a:gd name="T41" fmla="*/ 4906 h 5070"/>
                  <a:gd name="T42" fmla="*/ 4820 w 4823"/>
                  <a:gd name="T43" fmla="*/ 4937 h 5070"/>
                  <a:gd name="T44" fmla="*/ 4812 w 4823"/>
                  <a:gd name="T45" fmla="*/ 4968 h 5070"/>
                  <a:gd name="T46" fmla="*/ 4802 w 4823"/>
                  <a:gd name="T47" fmla="*/ 4994 h 5070"/>
                  <a:gd name="T48" fmla="*/ 4788 w 4823"/>
                  <a:gd name="T49" fmla="*/ 5019 h 5070"/>
                  <a:gd name="T50" fmla="*/ 4769 w 4823"/>
                  <a:gd name="T51" fmla="*/ 5040 h 5070"/>
                  <a:gd name="T52" fmla="*/ 4748 w 4823"/>
                  <a:gd name="T53" fmla="*/ 5056 h 5070"/>
                  <a:gd name="T54" fmla="*/ 4723 w 4823"/>
                  <a:gd name="T55" fmla="*/ 5065 h 5070"/>
                  <a:gd name="T56" fmla="*/ 4695 w 4823"/>
                  <a:gd name="T57" fmla="*/ 5070 h 5070"/>
                  <a:gd name="T58" fmla="*/ 298 w 4823"/>
                  <a:gd name="T59" fmla="*/ 5070 h 5070"/>
                  <a:gd name="T60" fmla="*/ 244 w 4823"/>
                  <a:gd name="T61" fmla="*/ 5065 h 5070"/>
                  <a:gd name="T62" fmla="*/ 195 w 4823"/>
                  <a:gd name="T63" fmla="*/ 5051 h 5070"/>
                  <a:gd name="T64" fmla="*/ 149 w 4823"/>
                  <a:gd name="T65" fmla="*/ 5028 h 5070"/>
                  <a:gd name="T66" fmla="*/ 107 w 4823"/>
                  <a:gd name="T67" fmla="*/ 4999 h 5070"/>
                  <a:gd name="T68" fmla="*/ 70 w 4823"/>
                  <a:gd name="T69" fmla="*/ 4963 h 5070"/>
                  <a:gd name="T70" fmla="*/ 41 w 4823"/>
                  <a:gd name="T71" fmla="*/ 4922 h 5070"/>
                  <a:gd name="T72" fmla="*/ 19 w 4823"/>
                  <a:gd name="T73" fmla="*/ 4875 h 5070"/>
                  <a:gd name="T74" fmla="*/ 5 w 4823"/>
                  <a:gd name="T75" fmla="*/ 4824 h 5070"/>
                  <a:gd name="T76" fmla="*/ 0 w 4823"/>
                  <a:gd name="T77" fmla="*/ 4772 h 5070"/>
                  <a:gd name="T78" fmla="*/ 0 w 4823"/>
                  <a:gd name="T79" fmla="*/ 136 h 5070"/>
                  <a:gd name="T80" fmla="*/ 4 w 4823"/>
                  <a:gd name="T81" fmla="*/ 107 h 5070"/>
                  <a:gd name="T82" fmla="*/ 14 w 4823"/>
                  <a:gd name="T83" fmla="*/ 79 h 5070"/>
                  <a:gd name="T84" fmla="*/ 30 w 4823"/>
                  <a:gd name="T85" fmla="*/ 57 h 5070"/>
                  <a:gd name="T86" fmla="*/ 50 w 4823"/>
                  <a:gd name="T87" fmla="*/ 39 h 5070"/>
                  <a:gd name="T88" fmla="*/ 74 w 4823"/>
                  <a:gd name="T89" fmla="*/ 23 h 5070"/>
                  <a:gd name="T90" fmla="*/ 102 w 4823"/>
                  <a:gd name="T91" fmla="*/ 12 h 5070"/>
                  <a:gd name="T92" fmla="*/ 132 w 4823"/>
                  <a:gd name="T93" fmla="*/ 5 h 5070"/>
                  <a:gd name="T94" fmla="*/ 164 w 4823"/>
                  <a:gd name="T95" fmla="*/ 0 h 5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23" h="5070">
                    <a:moveTo>
                      <a:pt x="164" y="0"/>
                    </a:moveTo>
                    <a:lnTo>
                      <a:pt x="195" y="0"/>
                    </a:lnTo>
                    <a:lnTo>
                      <a:pt x="226" y="5"/>
                    </a:lnTo>
                    <a:lnTo>
                      <a:pt x="255" y="12"/>
                    </a:lnTo>
                    <a:lnTo>
                      <a:pt x="283" y="23"/>
                    </a:lnTo>
                    <a:lnTo>
                      <a:pt x="307" y="39"/>
                    </a:lnTo>
                    <a:lnTo>
                      <a:pt x="327" y="57"/>
                    </a:lnTo>
                    <a:lnTo>
                      <a:pt x="344" y="79"/>
                    </a:lnTo>
                    <a:lnTo>
                      <a:pt x="354" y="107"/>
                    </a:lnTo>
                    <a:lnTo>
                      <a:pt x="357" y="136"/>
                    </a:lnTo>
                    <a:lnTo>
                      <a:pt x="357" y="4712"/>
                    </a:lnTo>
                    <a:lnTo>
                      <a:pt x="4695" y="4712"/>
                    </a:lnTo>
                    <a:lnTo>
                      <a:pt x="4723" y="4716"/>
                    </a:lnTo>
                    <a:lnTo>
                      <a:pt x="4748" y="4726"/>
                    </a:lnTo>
                    <a:lnTo>
                      <a:pt x="4769" y="4741"/>
                    </a:lnTo>
                    <a:lnTo>
                      <a:pt x="4788" y="4763"/>
                    </a:lnTo>
                    <a:lnTo>
                      <a:pt x="4802" y="4787"/>
                    </a:lnTo>
                    <a:lnTo>
                      <a:pt x="4812" y="4814"/>
                    </a:lnTo>
                    <a:lnTo>
                      <a:pt x="4820" y="4844"/>
                    </a:lnTo>
                    <a:lnTo>
                      <a:pt x="4823" y="4875"/>
                    </a:lnTo>
                    <a:lnTo>
                      <a:pt x="4823" y="4906"/>
                    </a:lnTo>
                    <a:lnTo>
                      <a:pt x="4820" y="4937"/>
                    </a:lnTo>
                    <a:lnTo>
                      <a:pt x="4812" y="4968"/>
                    </a:lnTo>
                    <a:lnTo>
                      <a:pt x="4802" y="4994"/>
                    </a:lnTo>
                    <a:lnTo>
                      <a:pt x="4788" y="5019"/>
                    </a:lnTo>
                    <a:lnTo>
                      <a:pt x="4769" y="5040"/>
                    </a:lnTo>
                    <a:lnTo>
                      <a:pt x="4748" y="5056"/>
                    </a:lnTo>
                    <a:lnTo>
                      <a:pt x="4723" y="5065"/>
                    </a:lnTo>
                    <a:lnTo>
                      <a:pt x="4695" y="5070"/>
                    </a:lnTo>
                    <a:lnTo>
                      <a:pt x="298" y="5070"/>
                    </a:lnTo>
                    <a:lnTo>
                      <a:pt x="244" y="5065"/>
                    </a:lnTo>
                    <a:lnTo>
                      <a:pt x="195" y="5051"/>
                    </a:lnTo>
                    <a:lnTo>
                      <a:pt x="149" y="5028"/>
                    </a:lnTo>
                    <a:lnTo>
                      <a:pt x="107" y="4999"/>
                    </a:lnTo>
                    <a:lnTo>
                      <a:pt x="70" y="4963"/>
                    </a:lnTo>
                    <a:lnTo>
                      <a:pt x="41" y="4922"/>
                    </a:lnTo>
                    <a:lnTo>
                      <a:pt x="19" y="4875"/>
                    </a:lnTo>
                    <a:lnTo>
                      <a:pt x="5" y="4824"/>
                    </a:lnTo>
                    <a:lnTo>
                      <a:pt x="0" y="4772"/>
                    </a:lnTo>
                    <a:lnTo>
                      <a:pt x="0" y="136"/>
                    </a:lnTo>
                    <a:lnTo>
                      <a:pt x="4" y="107"/>
                    </a:lnTo>
                    <a:lnTo>
                      <a:pt x="14" y="79"/>
                    </a:lnTo>
                    <a:lnTo>
                      <a:pt x="30" y="57"/>
                    </a:lnTo>
                    <a:lnTo>
                      <a:pt x="50" y="39"/>
                    </a:lnTo>
                    <a:lnTo>
                      <a:pt x="74" y="23"/>
                    </a:lnTo>
                    <a:lnTo>
                      <a:pt x="102" y="12"/>
                    </a:lnTo>
                    <a:lnTo>
                      <a:pt x="132" y="5"/>
                    </a:lnTo>
                    <a:lnTo>
                      <a:pt x="164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20" name="Freeform 264">
                <a:extLst>
                  <a:ext uri="{FF2B5EF4-FFF2-40B4-BE49-F238E27FC236}">
                    <a16:creationId xmlns:a16="http://schemas.microsoft.com/office/drawing/2014/main" id="{399DA482-3B70-46E0-86D7-1E36CD3CCF92}"/>
                  </a:ext>
                </a:extLst>
              </p:cNvPr>
              <p:cNvSpPr>
                <a:spLocks/>
              </p:cNvSpPr>
              <p:nvPr/>
            </p:nvSpPr>
            <p:spPr bwMode="gray">
              <a:xfrm rot="2130634">
                <a:off x="5556368" y="2891247"/>
                <a:ext cx="520401" cy="174199"/>
              </a:xfrm>
              <a:custGeom>
                <a:avLst/>
                <a:gdLst>
                  <a:gd name="T0" fmla="*/ 1878 w 3556"/>
                  <a:gd name="T1" fmla="*/ 0 h 1192"/>
                  <a:gd name="T2" fmla="*/ 1900 w 3556"/>
                  <a:gd name="T3" fmla="*/ 3 h 1192"/>
                  <a:gd name="T4" fmla="*/ 1921 w 3556"/>
                  <a:gd name="T5" fmla="*/ 12 h 1192"/>
                  <a:gd name="T6" fmla="*/ 3201 w 3556"/>
                  <a:gd name="T7" fmla="*/ 716 h 1192"/>
                  <a:gd name="T8" fmla="*/ 3358 w 3556"/>
                  <a:gd name="T9" fmla="*/ 461 h 1192"/>
                  <a:gd name="T10" fmla="*/ 3368 w 3556"/>
                  <a:gd name="T11" fmla="*/ 450 h 1192"/>
                  <a:gd name="T12" fmla="*/ 3380 w 3556"/>
                  <a:gd name="T13" fmla="*/ 443 h 1192"/>
                  <a:gd name="T14" fmla="*/ 3395 w 3556"/>
                  <a:gd name="T15" fmla="*/ 443 h 1192"/>
                  <a:gd name="T16" fmla="*/ 3408 w 3556"/>
                  <a:gd name="T17" fmla="*/ 448 h 1192"/>
                  <a:gd name="T18" fmla="*/ 3419 w 3556"/>
                  <a:gd name="T19" fmla="*/ 457 h 1192"/>
                  <a:gd name="T20" fmla="*/ 3424 w 3556"/>
                  <a:gd name="T21" fmla="*/ 470 h 1192"/>
                  <a:gd name="T22" fmla="*/ 3556 w 3556"/>
                  <a:gd name="T23" fmla="*/ 1017 h 1192"/>
                  <a:gd name="T24" fmla="*/ 3556 w 3556"/>
                  <a:gd name="T25" fmla="*/ 1031 h 1192"/>
                  <a:gd name="T26" fmla="*/ 3551 w 3556"/>
                  <a:gd name="T27" fmla="*/ 1044 h 1192"/>
                  <a:gd name="T28" fmla="*/ 3542 w 3556"/>
                  <a:gd name="T29" fmla="*/ 1055 h 1192"/>
                  <a:gd name="T30" fmla="*/ 3529 w 3556"/>
                  <a:gd name="T31" fmla="*/ 1061 h 1192"/>
                  <a:gd name="T32" fmla="*/ 2982 w 3556"/>
                  <a:gd name="T33" fmla="*/ 1192 h 1192"/>
                  <a:gd name="T34" fmla="*/ 2968 w 3556"/>
                  <a:gd name="T35" fmla="*/ 1192 h 1192"/>
                  <a:gd name="T36" fmla="*/ 2955 w 3556"/>
                  <a:gd name="T37" fmla="*/ 1188 h 1192"/>
                  <a:gd name="T38" fmla="*/ 2944 w 3556"/>
                  <a:gd name="T39" fmla="*/ 1178 h 1192"/>
                  <a:gd name="T40" fmla="*/ 2941 w 3556"/>
                  <a:gd name="T41" fmla="*/ 1172 h 1192"/>
                  <a:gd name="T42" fmla="*/ 2938 w 3556"/>
                  <a:gd name="T43" fmla="*/ 1165 h 1192"/>
                  <a:gd name="T44" fmla="*/ 2937 w 3556"/>
                  <a:gd name="T45" fmla="*/ 1151 h 1192"/>
                  <a:gd name="T46" fmla="*/ 2943 w 3556"/>
                  <a:gd name="T47" fmla="*/ 1138 h 1192"/>
                  <a:gd name="T48" fmla="*/ 3100 w 3556"/>
                  <a:gd name="T49" fmla="*/ 880 h 1192"/>
                  <a:gd name="T50" fmla="*/ 1885 w 3556"/>
                  <a:gd name="T51" fmla="*/ 210 h 1192"/>
                  <a:gd name="T52" fmla="*/ 996 w 3556"/>
                  <a:gd name="T53" fmla="*/ 926 h 1192"/>
                  <a:gd name="T54" fmla="*/ 977 w 3556"/>
                  <a:gd name="T55" fmla="*/ 937 h 1192"/>
                  <a:gd name="T56" fmla="*/ 956 w 3556"/>
                  <a:gd name="T57" fmla="*/ 945 h 1192"/>
                  <a:gd name="T58" fmla="*/ 935 w 3556"/>
                  <a:gd name="T59" fmla="*/ 947 h 1192"/>
                  <a:gd name="T60" fmla="*/ 913 w 3556"/>
                  <a:gd name="T61" fmla="*/ 944 h 1192"/>
                  <a:gd name="T62" fmla="*/ 891 w 3556"/>
                  <a:gd name="T63" fmla="*/ 935 h 1192"/>
                  <a:gd name="T64" fmla="*/ 52 w 3556"/>
                  <a:gd name="T65" fmla="*/ 498 h 1192"/>
                  <a:gd name="T66" fmla="*/ 33 w 3556"/>
                  <a:gd name="T67" fmla="*/ 485 h 1192"/>
                  <a:gd name="T68" fmla="*/ 18 w 3556"/>
                  <a:gd name="T69" fmla="*/ 470 h 1192"/>
                  <a:gd name="T70" fmla="*/ 9 w 3556"/>
                  <a:gd name="T71" fmla="*/ 452 h 1192"/>
                  <a:gd name="T72" fmla="*/ 2 w 3556"/>
                  <a:gd name="T73" fmla="*/ 431 h 1192"/>
                  <a:gd name="T74" fmla="*/ 0 w 3556"/>
                  <a:gd name="T75" fmla="*/ 411 h 1192"/>
                  <a:gd name="T76" fmla="*/ 3 w 3556"/>
                  <a:gd name="T77" fmla="*/ 389 h 1192"/>
                  <a:gd name="T78" fmla="*/ 11 w 3556"/>
                  <a:gd name="T79" fmla="*/ 369 h 1192"/>
                  <a:gd name="T80" fmla="*/ 24 w 3556"/>
                  <a:gd name="T81" fmla="*/ 350 h 1192"/>
                  <a:gd name="T82" fmla="*/ 39 w 3556"/>
                  <a:gd name="T83" fmla="*/ 335 h 1192"/>
                  <a:gd name="T84" fmla="*/ 57 w 3556"/>
                  <a:gd name="T85" fmla="*/ 325 h 1192"/>
                  <a:gd name="T86" fmla="*/ 78 w 3556"/>
                  <a:gd name="T87" fmla="*/ 319 h 1192"/>
                  <a:gd name="T88" fmla="*/ 98 w 3556"/>
                  <a:gd name="T89" fmla="*/ 317 h 1192"/>
                  <a:gd name="T90" fmla="*/ 120 w 3556"/>
                  <a:gd name="T91" fmla="*/ 320 h 1192"/>
                  <a:gd name="T92" fmla="*/ 140 w 3556"/>
                  <a:gd name="T93" fmla="*/ 328 h 1192"/>
                  <a:gd name="T94" fmla="*/ 925 w 3556"/>
                  <a:gd name="T95" fmla="*/ 737 h 1192"/>
                  <a:gd name="T96" fmla="*/ 1815 w 3556"/>
                  <a:gd name="T97" fmla="*/ 20 h 1192"/>
                  <a:gd name="T98" fmla="*/ 1834 w 3556"/>
                  <a:gd name="T99" fmla="*/ 8 h 1192"/>
                  <a:gd name="T100" fmla="*/ 1855 w 3556"/>
                  <a:gd name="T101" fmla="*/ 1 h 1192"/>
                  <a:gd name="T102" fmla="*/ 1878 w 3556"/>
                  <a:gd name="T103" fmla="*/ 0 h 1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56" h="1192">
                    <a:moveTo>
                      <a:pt x="1878" y="0"/>
                    </a:moveTo>
                    <a:lnTo>
                      <a:pt x="1900" y="3"/>
                    </a:lnTo>
                    <a:lnTo>
                      <a:pt x="1921" y="12"/>
                    </a:lnTo>
                    <a:lnTo>
                      <a:pt x="3201" y="716"/>
                    </a:lnTo>
                    <a:lnTo>
                      <a:pt x="3358" y="461"/>
                    </a:lnTo>
                    <a:lnTo>
                      <a:pt x="3368" y="450"/>
                    </a:lnTo>
                    <a:lnTo>
                      <a:pt x="3380" y="443"/>
                    </a:lnTo>
                    <a:lnTo>
                      <a:pt x="3395" y="443"/>
                    </a:lnTo>
                    <a:lnTo>
                      <a:pt x="3408" y="448"/>
                    </a:lnTo>
                    <a:lnTo>
                      <a:pt x="3419" y="457"/>
                    </a:lnTo>
                    <a:lnTo>
                      <a:pt x="3424" y="470"/>
                    </a:lnTo>
                    <a:lnTo>
                      <a:pt x="3556" y="1017"/>
                    </a:lnTo>
                    <a:lnTo>
                      <a:pt x="3556" y="1031"/>
                    </a:lnTo>
                    <a:lnTo>
                      <a:pt x="3551" y="1044"/>
                    </a:lnTo>
                    <a:lnTo>
                      <a:pt x="3542" y="1055"/>
                    </a:lnTo>
                    <a:lnTo>
                      <a:pt x="3529" y="1061"/>
                    </a:lnTo>
                    <a:lnTo>
                      <a:pt x="2982" y="1192"/>
                    </a:lnTo>
                    <a:lnTo>
                      <a:pt x="2968" y="1192"/>
                    </a:lnTo>
                    <a:lnTo>
                      <a:pt x="2955" y="1188"/>
                    </a:lnTo>
                    <a:lnTo>
                      <a:pt x="2944" y="1178"/>
                    </a:lnTo>
                    <a:lnTo>
                      <a:pt x="2941" y="1172"/>
                    </a:lnTo>
                    <a:lnTo>
                      <a:pt x="2938" y="1165"/>
                    </a:lnTo>
                    <a:lnTo>
                      <a:pt x="2937" y="1151"/>
                    </a:lnTo>
                    <a:lnTo>
                      <a:pt x="2943" y="1138"/>
                    </a:lnTo>
                    <a:lnTo>
                      <a:pt x="3100" y="880"/>
                    </a:lnTo>
                    <a:lnTo>
                      <a:pt x="1885" y="210"/>
                    </a:lnTo>
                    <a:lnTo>
                      <a:pt x="996" y="926"/>
                    </a:lnTo>
                    <a:lnTo>
                      <a:pt x="977" y="937"/>
                    </a:lnTo>
                    <a:lnTo>
                      <a:pt x="956" y="945"/>
                    </a:lnTo>
                    <a:lnTo>
                      <a:pt x="935" y="947"/>
                    </a:lnTo>
                    <a:lnTo>
                      <a:pt x="913" y="944"/>
                    </a:lnTo>
                    <a:lnTo>
                      <a:pt x="891" y="935"/>
                    </a:lnTo>
                    <a:lnTo>
                      <a:pt x="52" y="498"/>
                    </a:lnTo>
                    <a:lnTo>
                      <a:pt x="33" y="485"/>
                    </a:lnTo>
                    <a:lnTo>
                      <a:pt x="18" y="470"/>
                    </a:lnTo>
                    <a:lnTo>
                      <a:pt x="9" y="452"/>
                    </a:lnTo>
                    <a:lnTo>
                      <a:pt x="2" y="431"/>
                    </a:lnTo>
                    <a:lnTo>
                      <a:pt x="0" y="411"/>
                    </a:lnTo>
                    <a:lnTo>
                      <a:pt x="3" y="389"/>
                    </a:lnTo>
                    <a:lnTo>
                      <a:pt x="11" y="369"/>
                    </a:lnTo>
                    <a:lnTo>
                      <a:pt x="24" y="350"/>
                    </a:lnTo>
                    <a:lnTo>
                      <a:pt x="39" y="335"/>
                    </a:lnTo>
                    <a:lnTo>
                      <a:pt x="57" y="325"/>
                    </a:lnTo>
                    <a:lnTo>
                      <a:pt x="78" y="319"/>
                    </a:lnTo>
                    <a:lnTo>
                      <a:pt x="98" y="317"/>
                    </a:lnTo>
                    <a:lnTo>
                      <a:pt x="120" y="320"/>
                    </a:lnTo>
                    <a:lnTo>
                      <a:pt x="140" y="328"/>
                    </a:lnTo>
                    <a:lnTo>
                      <a:pt x="925" y="737"/>
                    </a:lnTo>
                    <a:lnTo>
                      <a:pt x="1815" y="20"/>
                    </a:lnTo>
                    <a:lnTo>
                      <a:pt x="1834" y="8"/>
                    </a:lnTo>
                    <a:lnTo>
                      <a:pt x="1855" y="1"/>
                    </a:lnTo>
                    <a:lnTo>
                      <a:pt x="187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600" name="Group 599">
              <a:extLst>
                <a:ext uri="{FF2B5EF4-FFF2-40B4-BE49-F238E27FC236}">
                  <a16:creationId xmlns:a16="http://schemas.microsoft.com/office/drawing/2014/main" id="{BB7229C1-B0F2-4C89-8D38-1BD61F22206D}"/>
                </a:ext>
              </a:extLst>
            </p:cNvPr>
            <p:cNvGrpSpPr/>
            <p:nvPr>
              <p:custDataLst>
                <p:custData r:id="rId4"/>
              </p:custDataLst>
            </p:nvPr>
          </p:nvGrpSpPr>
          <p:grpSpPr bwMode="gray">
            <a:xfrm>
              <a:off x="6703526" y="2139613"/>
              <a:ext cx="165006" cy="112623"/>
              <a:chOff x="3321050" y="1592263"/>
              <a:chExt cx="100012" cy="68262"/>
            </a:xfrm>
            <a:solidFill>
              <a:schemeClr val="bg1"/>
            </a:solidFill>
          </p:grpSpPr>
          <p:sp>
            <p:nvSpPr>
              <p:cNvPr id="616" name="Rectangle 36">
                <a:extLst>
                  <a:ext uri="{FF2B5EF4-FFF2-40B4-BE49-F238E27FC236}">
                    <a16:creationId xmlns:a16="http://schemas.microsoft.com/office/drawing/2014/main" id="{E6A5CF92-0D47-43F0-BAFC-E5E55403354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321050" y="1644650"/>
                <a:ext cx="68262" cy="158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17" name="Rectangle 37">
                <a:extLst>
                  <a:ext uri="{FF2B5EF4-FFF2-40B4-BE49-F238E27FC236}">
                    <a16:creationId xmlns:a16="http://schemas.microsoft.com/office/drawing/2014/main" id="{A1161770-B05E-4D70-88A7-7BC5193B81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321050" y="1617663"/>
                <a:ext cx="100012" cy="158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18" name="Rectangle 38">
                <a:extLst>
                  <a:ext uri="{FF2B5EF4-FFF2-40B4-BE49-F238E27FC236}">
                    <a16:creationId xmlns:a16="http://schemas.microsoft.com/office/drawing/2014/main" id="{0048433E-693E-48C3-8937-01FF8070BBA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321050" y="1592263"/>
                <a:ext cx="100012" cy="158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601" name="Group 600">
              <a:extLst>
                <a:ext uri="{FF2B5EF4-FFF2-40B4-BE49-F238E27FC236}">
                  <a16:creationId xmlns:a16="http://schemas.microsoft.com/office/drawing/2014/main" id="{4B2F6AB0-8D7B-49C2-A607-D18C0D29D42E}"/>
                </a:ext>
              </a:extLst>
            </p:cNvPr>
            <p:cNvGrpSpPr/>
            <p:nvPr>
              <p:custDataLst>
                <p:custData r:id="rId5"/>
              </p:custDataLst>
            </p:nvPr>
          </p:nvGrpSpPr>
          <p:grpSpPr bwMode="gray">
            <a:xfrm>
              <a:off x="6703525" y="2353986"/>
              <a:ext cx="192858" cy="190715"/>
              <a:chOff x="8547100" y="3248025"/>
              <a:chExt cx="428625" cy="423863"/>
            </a:xfrm>
            <a:solidFill>
              <a:schemeClr val="bg1"/>
            </a:solidFill>
          </p:grpSpPr>
          <p:sp>
            <p:nvSpPr>
              <p:cNvPr id="613" name="Freeform 150">
                <a:extLst>
                  <a:ext uri="{FF2B5EF4-FFF2-40B4-BE49-F238E27FC236}">
                    <a16:creationId xmlns:a16="http://schemas.microsoft.com/office/drawing/2014/main" id="{5DB2B753-5812-4FB8-B2C6-0705258650E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604250" y="3306763"/>
                <a:ext cx="212725" cy="317500"/>
              </a:xfrm>
              <a:custGeom>
                <a:avLst/>
                <a:gdLst>
                  <a:gd name="T0" fmla="*/ 89 w 161"/>
                  <a:gd name="T1" fmla="*/ 53 h 240"/>
                  <a:gd name="T2" fmla="*/ 89 w 161"/>
                  <a:gd name="T3" fmla="*/ 52 h 240"/>
                  <a:gd name="T4" fmla="*/ 117 w 161"/>
                  <a:gd name="T5" fmla="*/ 16 h 240"/>
                  <a:gd name="T6" fmla="*/ 118 w 161"/>
                  <a:gd name="T7" fmla="*/ 16 h 240"/>
                  <a:gd name="T8" fmla="*/ 145 w 161"/>
                  <a:gd name="T9" fmla="*/ 43 h 240"/>
                  <a:gd name="T10" fmla="*/ 156 w 161"/>
                  <a:gd name="T11" fmla="*/ 40 h 240"/>
                  <a:gd name="T12" fmla="*/ 161 w 161"/>
                  <a:gd name="T13" fmla="*/ 40 h 240"/>
                  <a:gd name="T14" fmla="*/ 121 w 161"/>
                  <a:gd name="T15" fmla="*/ 0 h 240"/>
                  <a:gd name="T16" fmla="*/ 121 w 161"/>
                  <a:gd name="T17" fmla="*/ 0 h 240"/>
                  <a:gd name="T18" fmla="*/ 121 w 161"/>
                  <a:gd name="T19" fmla="*/ 0 h 240"/>
                  <a:gd name="T20" fmla="*/ 120 w 161"/>
                  <a:gd name="T21" fmla="*/ 0 h 240"/>
                  <a:gd name="T22" fmla="*/ 120 w 161"/>
                  <a:gd name="T23" fmla="*/ 0 h 240"/>
                  <a:gd name="T24" fmla="*/ 115 w 161"/>
                  <a:gd name="T25" fmla="*/ 0 h 240"/>
                  <a:gd name="T26" fmla="*/ 115 w 161"/>
                  <a:gd name="T27" fmla="*/ 0 h 240"/>
                  <a:gd name="T28" fmla="*/ 115 w 161"/>
                  <a:gd name="T29" fmla="*/ 0 h 240"/>
                  <a:gd name="T30" fmla="*/ 114 w 161"/>
                  <a:gd name="T31" fmla="*/ 0 h 240"/>
                  <a:gd name="T32" fmla="*/ 114 w 161"/>
                  <a:gd name="T33" fmla="*/ 0 h 240"/>
                  <a:gd name="T34" fmla="*/ 73 w 161"/>
                  <a:gd name="T35" fmla="*/ 51 h 240"/>
                  <a:gd name="T36" fmla="*/ 1 w 161"/>
                  <a:gd name="T37" fmla="*/ 224 h 240"/>
                  <a:gd name="T38" fmla="*/ 1 w 161"/>
                  <a:gd name="T39" fmla="*/ 224 h 240"/>
                  <a:gd name="T40" fmla="*/ 1 w 161"/>
                  <a:gd name="T41" fmla="*/ 232 h 240"/>
                  <a:gd name="T42" fmla="*/ 0 w 161"/>
                  <a:gd name="T43" fmla="*/ 240 h 240"/>
                  <a:gd name="T44" fmla="*/ 2 w 161"/>
                  <a:gd name="T45" fmla="*/ 240 h 240"/>
                  <a:gd name="T46" fmla="*/ 89 w 161"/>
                  <a:gd name="T47" fmla="*/ 53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1" h="240">
                    <a:moveTo>
                      <a:pt x="89" y="53"/>
                    </a:moveTo>
                    <a:cubicBezTo>
                      <a:pt x="89" y="52"/>
                      <a:pt x="89" y="52"/>
                      <a:pt x="89" y="52"/>
                    </a:cubicBezTo>
                    <a:cubicBezTo>
                      <a:pt x="89" y="50"/>
                      <a:pt x="90" y="20"/>
                      <a:pt x="117" y="16"/>
                    </a:cubicBezTo>
                    <a:cubicBezTo>
                      <a:pt x="117" y="16"/>
                      <a:pt x="118" y="16"/>
                      <a:pt x="118" y="16"/>
                    </a:cubicBezTo>
                    <a:cubicBezTo>
                      <a:pt x="137" y="19"/>
                      <a:pt x="143" y="34"/>
                      <a:pt x="145" y="43"/>
                    </a:cubicBezTo>
                    <a:cubicBezTo>
                      <a:pt x="148" y="42"/>
                      <a:pt x="152" y="40"/>
                      <a:pt x="156" y="40"/>
                    </a:cubicBezTo>
                    <a:cubicBezTo>
                      <a:pt x="157" y="40"/>
                      <a:pt x="159" y="40"/>
                      <a:pt x="161" y="40"/>
                    </a:cubicBezTo>
                    <a:cubicBezTo>
                      <a:pt x="157" y="24"/>
                      <a:pt x="146" y="4"/>
                      <a:pt x="121" y="0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121" y="0"/>
                      <a:pt x="121" y="0"/>
                      <a:pt x="121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18" y="0"/>
                      <a:pt x="117" y="0"/>
                      <a:pt x="115" y="0"/>
                    </a:cubicBezTo>
                    <a:cubicBezTo>
                      <a:pt x="115" y="0"/>
                      <a:pt x="115" y="0"/>
                      <a:pt x="115" y="0"/>
                    </a:cubicBezTo>
                    <a:cubicBezTo>
                      <a:pt x="115" y="0"/>
                      <a:pt x="115" y="0"/>
                      <a:pt x="115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114" y="0"/>
                      <a:pt x="114" y="0"/>
                      <a:pt x="114" y="0"/>
                    </a:cubicBezTo>
                    <a:cubicBezTo>
                      <a:pt x="82" y="5"/>
                      <a:pt x="73" y="35"/>
                      <a:pt x="73" y="51"/>
                    </a:cubicBezTo>
                    <a:cubicBezTo>
                      <a:pt x="51" y="223"/>
                      <a:pt x="2" y="224"/>
                      <a:pt x="1" y="224"/>
                    </a:cubicBezTo>
                    <a:cubicBezTo>
                      <a:pt x="1" y="224"/>
                      <a:pt x="1" y="224"/>
                      <a:pt x="1" y="224"/>
                    </a:cubicBezTo>
                    <a:cubicBezTo>
                      <a:pt x="1" y="232"/>
                      <a:pt x="1" y="232"/>
                      <a:pt x="1" y="232"/>
                    </a:cubicBezTo>
                    <a:cubicBezTo>
                      <a:pt x="0" y="240"/>
                      <a:pt x="0" y="240"/>
                      <a:pt x="0" y="240"/>
                    </a:cubicBezTo>
                    <a:cubicBezTo>
                      <a:pt x="1" y="240"/>
                      <a:pt x="1" y="240"/>
                      <a:pt x="2" y="240"/>
                    </a:cubicBezTo>
                    <a:cubicBezTo>
                      <a:pt x="13" y="240"/>
                      <a:pt x="66" y="231"/>
                      <a:pt x="89" y="5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14" name="Freeform 151">
                <a:extLst>
                  <a:ext uri="{FF2B5EF4-FFF2-40B4-BE49-F238E27FC236}">
                    <a16:creationId xmlns:a16="http://schemas.microsoft.com/office/drawing/2014/main" id="{833EAD49-06D8-4D86-B531-10B7DAC48F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547100" y="3248025"/>
                <a:ext cx="428625" cy="423863"/>
              </a:xfrm>
              <a:custGeom>
                <a:avLst/>
                <a:gdLst>
                  <a:gd name="T0" fmla="*/ 20 w 324"/>
                  <a:gd name="T1" fmla="*/ 304 h 320"/>
                  <a:gd name="T2" fmla="*/ 20 w 324"/>
                  <a:gd name="T3" fmla="*/ 0 h 320"/>
                  <a:gd name="T4" fmla="*/ 0 w 324"/>
                  <a:gd name="T5" fmla="*/ 0 h 320"/>
                  <a:gd name="T6" fmla="*/ 0 w 324"/>
                  <a:gd name="T7" fmla="*/ 300 h 320"/>
                  <a:gd name="T8" fmla="*/ 19 w 324"/>
                  <a:gd name="T9" fmla="*/ 320 h 320"/>
                  <a:gd name="T10" fmla="*/ 324 w 324"/>
                  <a:gd name="T11" fmla="*/ 320 h 320"/>
                  <a:gd name="T12" fmla="*/ 324 w 324"/>
                  <a:gd name="T13" fmla="*/ 304 h 320"/>
                  <a:gd name="T14" fmla="*/ 20 w 324"/>
                  <a:gd name="T15" fmla="*/ 304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4" h="320">
                    <a:moveTo>
                      <a:pt x="20" y="304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00"/>
                      <a:pt x="0" y="300"/>
                      <a:pt x="0" y="300"/>
                    </a:cubicBezTo>
                    <a:cubicBezTo>
                      <a:pt x="0" y="311"/>
                      <a:pt x="8" y="320"/>
                      <a:pt x="19" y="320"/>
                    </a:cubicBezTo>
                    <a:cubicBezTo>
                      <a:pt x="324" y="320"/>
                      <a:pt x="324" y="320"/>
                      <a:pt x="324" y="320"/>
                    </a:cubicBezTo>
                    <a:cubicBezTo>
                      <a:pt x="324" y="304"/>
                      <a:pt x="324" y="304"/>
                      <a:pt x="324" y="304"/>
                    </a:cubicBezTo>
                    <a:lnTo>
                      <a:pt x="20" y="30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15" name="Freeform 152">
                <a:extLst>
                  <a:ext uri="{FF2B5EF4-FFF2-40B4-BE49-F238E27FC236}">
                    <a16:creationId xmlns:a16="http://schemas.microsoft.com/office/drawing/2014/main" id="{27D61AFA-7EFB-4343-A4D7-FDD0005D70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704263" y="3375025"/>
                <a:ext cx="239713" cy="250825"/>
              </a:xfrm>
              <a:custGeom>
                <a:avLst/>
                <a:gdLst>
                  <a:gd name="T0" fmla="*/ 54 w 181"/>
                  <a:gd name="T1" fmla="*/ 41 h 189"/>
                  <a:gd name="T2" fmla="*/ 1 w 181"/>
                  <a:gd name="T3" fmla="*/ 173 h 189"/>
                  <a:gd name="T4" fmla="*/ 1 w 181"/>
                  <a:gd name="T5" fmla="*/ 173 h 189"/>
                  <a:gd name="T6" fmla="*/ 0 w 181"/>
                  <a:gd name="T7" fmla="*/ 189 h 189"/>
                  <a:gd name="T8" fmla="*/ 1 w 181"/>
                  <a:gd name="T9" fmla="*/ 189 h 189"/>
                  <a:gd name="T10" fmla="*/ 70 w 181"/>
                  <a:gd name="T11" fmla="*/ 42 h 189"/>
                  <a:gd name="T12" fmla="*/ 70 w 181"/>
                  <a:gd name="T13" fmla="*/ 41 h 189"/>
                  <a:gd name="T14" fmla="*/ 90 w 181"/>
                  <a:gd name="T15" fmla="*/ 16 h 189"/>
                  <a:gd name="T16" fmla="*/ 91 w 181"/>
                  <a:gd name="T17" fmla="*/ 16 h 189"/>
                  <a:gd name="T18" fmla="*/ 110 w 181"/>
                  <a:gd name="T19" fmla="*/ 41 h 189"/>
                  <a:gd name="T20" fmla="*/ 110 w 181"/>
                  <a:gd name="T21" fmla="*/ 42 h 189"/>
                  <a:gd name="T22" fmla="*/ 180 w 181"/>
                  <a:gd name="T23" fmla="*/ 188 h 189"/>
                  <a:gd name="T24" fmla="*/ 181 w 181"/>
                  <a:gd name="T25" fmla="*/ 188 h 189"/>
                  <a:gd name="T26" fmla="*/ 180 w 181"/>
                  <a:gd name="T27" fmla="*/ 180 h 189"/>
                  <a:gd name="T28" fmla="*/ 180 w 181"/>
                  <a:gd name="T29" fmla="*/ 172 h 189"/>
                  <a:gd name="T30" fmla="*/ 126 w 181"/>
                  <a:gd name="T31" fmla="*/ 41 h 189"/>
                  <a:gd name="T32" fmla="*/ 93 w 181"/>
                  <a:gd name="T33" fmla="*/ 0 h 189"/>
                  <a:gd name="T34" fmla="*/ 88 w 181"/>
                  <a:gd name="T35" fmla="*/ 0 h 189"/>
                  <a:gd name="T36" fmla="*/ 54 w 181"/>
                  <a:gd name="T37" fmla="*/ 41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81" h="189">
                    <a:moveTo>
                      <a:pt x="54" y="41"/>
                    </a:moveTo>
                    <a:cubicBezTo>
                      <a:pt x="38" y="171"/>
                      <a:pt x="1" y="173"/>
                      <a:pt x="1" y="173"/>
                    </a:cubicBezTo>
                    <a:cubicBezTo>
                      <a:pt x="1" y="173"/>
                      <a:pt x="1" y="173"/>
                      <a:pt x="1" y="173"/>
                    </a:cubicBezTo>
                    <a:cubicBezTo>
                      <a:pt x="0" y="189"/>
                      <a:pt x="0" y="189"/>
                      <a:pt x="0" y="189"/>
                    </a:cubicBezTo>
                    <a:cubicBezTo>
                      <a:pt x="0" y="189"/>
                      <a:pt x="1" y="189"/>
                      <a:pt x="1" y="189"/>
                    </a:cubicBezTo>
                    <a:cubicBezTo>
                      <a:pt x="10" y="189"/>
                      <a:pt x="52" y="181"/>
                      <a:pt x="70" y="42"/>
                    </a:cubicBezTo>
                    <a:cubicBezTo>
                      <a:pt x="70" y="41"/>
                      <a:pt x="70" y="41"/>
                      <a:pt x="70" y="41"/>
                    </a:cubicBezTo>
                    <a:cubicBezTo>
                      <a:pt x="70" y="40"/>
                      <a:pt x="71" y="19"/>
                      <a:pt x="90" y="16"/>
                    </a:cubicBezTo>
                    <a:cubicBezTo>
                      <a:pt x="90" y="16"/>
                      <a:pt x="91" y="16"/>
                      <a:pt x="91" y="16"/>
                    </a:cubicBezTo>
                    <a:cubicBezTo>
                      <a:pt x="110" y="19"/>
                      <a:pt x="110" y="39"/>
                      <a:pt x="110" y="41"/>
                    </a:cubicBezTo>
                    <a:cubicBezTo>
                      <a:pt x="110" y="42"/>
                      <a:pt x="110" y="42"/>
                      <a:pt x="110" y="42"/>
                    </a:cubicBezTo>
                    <a:cubicBezTo>
                      <a:pt x="128" y="181"/>
                      <a:pt x="171" y="188"/>
                      <a:pt x="180" y="188"/>
                    </a:cubicBezTo>
                    <a:cubicBezTo>
                      <a:pt x="180" y="188"/>
                      <a:pt x="181" y="188"/>
                      <a:pt x="181" y="188"/>
                    </a:cubicBezTo>
                    <a:cubicBezTo>
                      <a:pt x="180" y="180"/>
                      <a:pt x="180" y="180"/>
                      <a:pt x="180" y="180"/>
                    </a:cubicBezTo>
                    <a:cubicBezTo>
                      <a:pt x="180" y="172"/>
                      <a:pt x="180" y="172"/>
                      <a:pt x="180" y="172"/>
                    </a:cubicBezTo>
                    <a:cubicBezTo>
                      <a:pt x="180" y="172"/>
                      <a:pt x="143" y="170"/>
                      <a:pt x="126" y="41"/>
                    </a:cubicBezTo>
                    <a:cubicBezTo>
                      <a:pt x="126" y="28"/>
                      <a:pt x="119" y="4"/>
                      <a:pt x="93" y="0"/>
                    </a:cubicBezTo>
                    <a:cubicBezTo>
                      <a:pt x="91" y="0"/>
                      <a:pt x="89" y="0"/>
                      <a:pt x="88" y="0"/>
                    </a:cubicBezTo>
                    <a:cubicBezTo>
                      <a:pt x="62" y="4"/>
                      <a:pt x="55" y="28"/>
                      <a:pt x="54" y="4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602" name="Group 601">
              <a:extLst>
                <a:ext uri="{FF2B5EF4-FFF2-40B4-BE49-F238E27FC236}">
                  <a16:creationId xmlns:a16="http://schemas.microsoft.com/office/drawing/2014/main" id="{6690E0B6-D2DD-40F9-93EC-1E343C3DCB72}"/>
                </a:ext>
              </a:extLst>
            </p:cNvPr>
            <p:cNvGrpSpPr/>
            <p:nvPr>
              <p:custDataLst>
                <p:custData r:id="rId6"/>
              </p:custDataLst>
            </p:nvPr>
          </p:nvGrpSpPr>
          <p:grpSpPr bwMode="gray">
            <a:xfrm>
              <a:off x="6440617" y="2353986"/>
              <a:ext cx="191619" cy="190909"/>
              <a:chOff x="7667626" y="3246438"/>
              <a:chExt cx="428625" cy="427038"/>
            </a:xfrm>
            <a:solidFill>
              <a:schemeClr val="bg1"/>
            </a:solidFill>
          </p:grpSpPr>
          <p:sp>
            <p:nvSpPr>
              <p:cNvPr id="603" name="Freeform 261">
                <a:extLst>
                  <a:ext uri="{FF2B5EF4-FFF2-40B4-BE49-F238E27FC236}">
                    <a16:creationId xmlns:a16="http://schemas.microsoft.com/office/drawing/2014/main" id="{F94CABF3-C31D-4B35-9EDD-8E5B4D0981B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667626" y="3246438"/>
                <a:ext cx="428625" cy="427038"/>
              </a:xfrm>
              <a:custGeom>
                <a:avLst/>
                <a:gdLst>
                  <a:gd name="T0" fmla="*/ 20 w 324"/>
                  <a:gd name="T1" fmla="*/ 304 h 322"/>
                  <a:gd name="T2" fmla="*/ 20 w 324"/>
                  <a:gd name="T3" fmla="*/ 0 h 322"/>
                  <a:gd name="T4" fmla="*/ 0 w 324"/>
                  <a:gd name="T5" fmla="*/ 0 h 322"/>
                  <a:gd name="T6" fmla="*/ 0 w 324"/>
                  <a:gd name="T7" fmla="*/ 302 h 322"/>
                  <a:gd name="T8" fmla="*/ 20 w 324"/>
                  <a:gd name="T9" fmla="*/ 322 h 322"/>
                  <a:gd name="T10" fmla="*/ 324 w 324"/>
                  <a:gd name="T11" fmla="*/ 322 h 322"/>
                  <a:gd name="T12" fmla="*/ 324 w 324"/>
                  <a:gd name="T13" fmla="*/ 304 h 322"/>
                  <a:gd name="T14" fmla="*/ 20 w 324"/>
                  <a:gd name="T15" fmla="*/ 304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4" h="322">
                    <a:moveTo>
                      <a:pt x="20" y="304"/>
                    </a:moveTo>
                    <a:cubicBezTo>
                      <a:pt x="20" y="0"/>
                      <a:pt x="20" y="0"/>
                      <a:pt x="2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02"/>
                      <a:pt x="0" y="302"/>
                      <a:pt x="0" y="302"/>
                    </a:cubicBezTo>
                    <a:cubicBezTo>
                      <a:pt x="0" y="313"/>
                      <a:pt x="9" y="322"/>
                      <a:pt x="20" y="322"/>
                    </a:cubicBezTo>
                    <a:cubicBezTo>
                      <a:pt x="324" y="322"/>
                      <a:pt x="324" y="322"/>
                      <a:pt x="324" y="322"/>
                    </a:cubicBezTo>
                    <a:cubicBezTo>
                      <a:pt x="324" y="304"/>
                      <a:pt x="324" y="304"/>
                      <a:pt x="324" y="304"/>
                    </a:cubicBezTo>
                    <a:lnTo>
                      <a:pt x="20" y="30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04" name="Oval 262">
                <a:extLst>
                  <a:ext uri="{FF2B5EF4-FFF2-40B4-BE49-F238E27FC236}">
                    <a16:creationId xmlns:a16="http://schemas.microsoft.com/office/drawing/2014/main" id="{5138CBB5-1EB7-4B80-8766-2839C1A6ABF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008938" y="3271838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05" name="Oval 263">
                <a:extLst>
                  <a:ext uri="{FF2B5EF4-FFF2-40B4-BE49-F238E27FC236}">
                    <a16:creationId xmlns:a16="http://schemas.microsoft.com/office/drawing/2014/main" id="{8DF9480C-8BFE-49E4-87FF-CD48EA3758D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974013" y="3348038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06" name="Freeform 264">
                <a:extLst>
                  <a:ext uri="{FF2B5EF4-FFF2-40B4-BE49-F238E27FC236}">
                    <a16:creationId xmlns:a16="http://schemas.microsoft.com/office/drawing/2014/main" id="{03A46AAC-3756-4B9D-8B10-BF870D73E02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94638" y="3389313"/>
                <a:ext cx="84138" cy="84138"/>
              </a:xfrm>
              <a:custGeom>
                <a:avLst/>
                <a:gdLst>
                  <a:gd name="T0" fmla="*/ 31 w 63"/>
                  <a:gd name="T1" fmla="*/ 63 h 63"/>
                  <a:gd name="T2" fmla="*/ 63 w 63"/>
                  <a:gd name="T3" fmla="*/ 32 h 63"/>
                  <a:gd name="T4" fmla="*/ 31 w 63"/>
                  <a:gd name="T5" fmla="*/ 0 h 63"/>
                  <a:gd name="T6" fmla="*/ 0 w 63"/>
                  <a:gd name="T7" fmla="*/ 32 h 63"/>
                  <a:gd name="T8" fmla="*/ 31 w 63"/>
                  <a:gd name="T9" fmla="*/ 63 h 63"/>
                  <a:gd name="T10" fmla="*/ 31 w 63"/>
                  <a:gd name="T11" fmla="*/ 12 h 63"/>
                  <a:gd name="T12" fmla="*/ 51 w 63"/>
                  <a:gd name="T13" fmla="*/ 32 h 63"/>
                  <a:gd name="T14" fmla="*/ 31 w 63"/>
                  <a:gd name="T15" fmla="*/ 51 h 63"/>
                  <a:gd name="T16" fmla="*/ 12 w 63"/>
                  <a:gd name="T17" fmla="*/ 32 h 63"/>
                  <a:gd name="T18" fmla="*/ 31 w 63"/>
                  <a:gd name="T19" fmla="*/ 1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3" h="63">
                    <a:moveTo>
                      <a:pt x="31" y="63"/>
                    </a:moveTo>
                    <a:cubicBezTo>
                      <a:pt x="49" y="63"/>
                      <a:pt x="63" y="49"/>
                      <a:pt x="63" y="32"/>
                    </a:cubicBezTo>
                    <a:cubicBezTo>
                      <a:pt x="63" y="14"/>
                      <a:pt x="49" y="0"/>
                      <a:pt x="31" y="0"/>
                    </a:cubicBezTo>
                    <a:cubicBezTo>
                      <a:pt x="14" y="0"/>
                      <a:pt x="0" y="14"/>
                      <a:pt x="0" y="32"/>
                    </a:cubicBezTo>
                    <a:cubicBezTo>
                      <a:pt x="0" y="49"/>
                      <a:pt x="14" y="63"/>
                      <a:pt x="31" y="63"/>
                    </a:cubicBezTo>
                    <a:close/>
                    <a:moveTo>
                      <a:pt x="31" y="12"/>
                    </a:moveTo>
                    <a:cubicBezTo>
                      <a:pt x="42" y="12"/>
                      <a:pt x="51" y="21"/>
                      <a:pt x="51" y="32"/>
                    </a:cubicBezTo>
                    <a:cubicBezTo>
                      <a:pt x="51" y="42"/>
                      <a:pt x="42" y="51"/>
                      <a:pt x="31" y="51"/>
                    </a:cubicBezTo>
                    <a:cubicBezTo>
                      <a:pt x="21" y="51"/>
                      <a:pt x="12" y="42"/>
                      <a:pt x="12" y="32"/>
                    </a:cubicBezTo>
                    <a:cubicBezTo>
                      <a:pt x="12" y="21"/>
                      <a:pt x="21" y="12"/>
                      <a:pt x="31" y="1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07" name="Oval 265">
                <a:extLst>
                  <a:ext uri="{FF2B5EF4-FFF2-40B4-BE49-F238E27FC236}">
                    <a16:creationId xmlns:a16="http://schemas.microsoft.com/office/drawing/2014/main" id="{C552CDB8-78A9-447B-8BEC-6CD6AB116A0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867651" y="3471863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08" name="Oval 266">
                <a:extLst>
                  <a:ext uri="{FF2B5EF4-FFF2-40B4-BE49-F238E27FC236}">
                    <a16:creationId xmlns:a16="http://schemas.microsoft.com/office/drawing/2014/main" id="{BD347F67-A808-441D-9136-48474C1E7DD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813676" y="3516313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09" name="Oval 267">
                <a:extLst>
                  <a:ext uri="{FF2B5EF4-FFF2-40B4-BE49-F238E27FC236}">
                    <a16:creationId xmlns:a16="http://schemas.microsoft.com/office/drawing/2014/main" id="{3E322F1C-6B8E-4BA8-A298-7758CE9E410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742238" y="3552825"/>
                <a:ext cx="31750" cy="31750"/>
              </a:xfrm>
              <a:prstGeom prst="ellipse">
                <a:avLst/>
              </a:pr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10" name="Rectangle 268">
                <a:extLst>
                  <a:ext uri="{FF2B5EF4-FFF2-40B4-BE49-F238E27FC236}">
                    <a16:creationId xmlns:a16="http://schemas.microsoft.com/office/drawing/2014/main" id="{6120776C-3C6E-4D7F-9E5C-E147F2D9C6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734301" y="3319463"/>
                <a:ext cx="69850" cy="158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11" name="Rectangle 269">
                <a:extLst>
                  <a:ext uri="{FF2B5EF4-FFF2-40B4-BE49-F238E27FC236}">
                    <a16:creationId xmlns:a16="http://schemas.microsoft.com/office/drawing/2014/main" id="{8C5F0C18-1ADE-4DCF-9425-1D25C02E723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734301" y="3292475"/>
                <a:ext cx="100013" cy="158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12" name="Rectangle 270">
                <a:extLst>
                  <a:ext uri="{FF2B5EF4-FFF2-40B4-BE49-F238E27FC236}">
                    <a16:creationId xmlns:a16="http://schemas.microsoft.com/office/drawing/2014/main" id="{273FA1EE-F1CF-43CF-BC5F-017C073459E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7734301" y="3267075"/>
                <a:ext cx="100013" cy="1587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624" name="Group 623">
            <a:extLst>
              <a:ext uri="{FF2B5EF4-FFF2-40B4-BE49-F238E27FC236}">
                <a16:creationId xmlns:a16="http://schemas.microsoft.com/office/drawing/2014/main" id="{4330C3C3-9592-4DB2-9003-2EF45F2CD5AA}"/>
              </a:ext>
            </a:extLst>
          </p:cNvPr>
          <p:cNvGrpSpPr>
            <a:grpSpLocks noChangeAspect="1"/>
          </p:cNvGrpSpPr>
          <p:nvPr/>
        </p:nvGrpSpPr>
        <p:grpSpPr>
          <a:xfrm>
            <a:off x="5967950" y="2215456"/>
            <a:ext cx="330767" cy="339507"/>
            <a:chOff x="1299627" y="1050591"/>
            <a:chExt cx="3429479" cy="3520097"/>
          </a:xfrm>
          <a:solidFill>
            <a:schemeClr val="bg1"/>
          </a:solidFill>
        </p:grpSpPr>
        <p:sp>
          <p:nvSpPr>
            <p:cNvPr id="625" name="Freeform 52">
              <a:extLst>
                <a:ext uri="{FF2B5EF4-FFF2-40B4-BE49-F238E27FC236}">
                  <a16:creationId xmlns:a16="http://schemas.microsoft.com/office/drawing/2014/main" id="{7DA01602-91CC-4464-A5C5-AE675F3E3EF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62037" y="1050591"/>
              <a:ext cx="1190428" cy="1181100"/>
            </a:xfrm>
            <a:custGeom>
              <a:avLst/>
              <a:gdLst>
                <a:gd name="T0" fmla="*/ 137 w 636"/>
                <a:gd name="T1" fmla="*/ 344 h 633"/>
                <a:gd name="T2" fmla="*/ 146 w 636"/>
                <a:gd name="T3" fmla="*/ 379 h 633"/>
                <a:gd name="T4" fmla="*/ 157 w 636"/>
                <a:gd name="T5" fmla="*/ 404 h 633"/>
                <a:gd name="T6" fmla="*/ 177 w 636"/>
                <a:gd name="T7" fmla="*/ 432 h 633"/>
                <a:gd name="T8" fmla="*/ 202 w 636"/>
                <a:gd name="T9" fmla="*/ 457 h 633"/>
                <a:gd name="T10" fmla="*/ 231 w 636"/>
                <a:gd name="T11" fmla="*/ 477 h 633"/>
                <a:gd name="T12" fmla="*/ 272 w 636"/>
                <a:gd name="T13" fmla="*/ 493 h 633"/>
                <a:gd name="T14" fmla="*/ 308 w 636"/>
                <a:gd name="T15" fmla="*/ 498 h 633"/>
                <a:gd name="T16" fmla="*/ 346 w 636"/>
                <a:gd name="T17" fmla="*/ 496 h 633"/>
                <a:gd name="T18" fmla="*/ 381 w 636"/>
                <a:gd name="T19" fmla="*/ 487 h 633"/>
                <a:gd name="T20" fmla="*/ 405 w 636"/>
                <a:gd name="T21" fmla="*/ 477 h 633"/>
                <a:gd name="T22" fmla="*/ 434 w 636"/>
                <a:gd name="T23" fmla="*/ 457 h 633"/>
                <a:gd name="T24" fmla="*/ 460 w 636"/>
                <a:gd name="T25" fmla="*/ 432 h 633"/>
                <a:gd name="T26" fmla="*/ 479 w 636"/>
                <a:gd name="T27" fmla="*/ 404 h 633"/>
                <a:gd name="T28" fmla="*/ 495 w 636"/>
                <a:gd name="T29" fmla="*/ 362 h 633"/>
                <a:gd name="T30" fmla="*/ 501 w 636"/>
                <a:gd name="T31" fmla="*/ 325 h 633"/>
                <a:gd name="T32" fmla="*/ 499 w 636"/>
                <a:gd name="T33" fmla="*/ 288 h 633"/>
                <a:gd name="T34" fmla="*/ 490 w 636"/>
                <a:gd name="T35" fmla="*/ 254 h 633"/>
                <a:gd name="T36" fmla="*/ 479 w 636"/>
                <a:gd name="T37" fmla="*/ 230 h 633"/>
                <a:gd name="T38" fmla="*/ 460 w 636"/>
                <a:gd name="T39" fmla="*/ 201 h 633"/>
                <a:gd name="T40" fmla="*/ 434 w 636"/>
                <a:gd name="T41" fmla="*/ 176 h 633"/>
                <a:gd name="T42" fmla="*/ 405 w 636"/>
                <a:gd name="T43" fmla="*/ 157 h 633"/>
                <a:gd name="T44" fmla="*/ 364 w 636"/>
                <a:gd name="T45" fmla="*/ 139 h 633"/>
                <a:gd name="T46" fmla="*/ 328 w 636"/>
                <a:gd name="T47" fmla="*/ 134 h 633"/>
                <a:gd name="T48" fmla="*/ 290 w 636"/>
                <a:gd name="T49" fmla="*/ 136 h 633"/>
                <a:gd name="T50" fmla="*/ 255 w 636"/>
                <a:gd name="T51" fmla="*/ 145 h 633"/>
                <a:gd name="T52" fmla="*/ 231 w 636"/>
                <a:gd name="T53" fmla="*/ 157 h 633"/>
                <a:gd name="T54" fmla="*/ 202 w 636"/>
                <a:gd name="T55" fmla="*/ 176 h 633"/>
                <a:gd name="T56" fmla="*/ 177 w 636"/>
                <a:gd name="T57" fmla="*/ 201 h 633"/>
                <a:gd name="T58" fmla="*/ 157 w 636"/>
                <a:gd name="T59" fmla="*/ 230 h 633"/>
                <a:gd name="T60" fmla="*/ 141 w 636"/>
                <a:gd name="T61" fmla="*/ 271 h 633"/>
                <a:gd name="T62" fmla="*/ 135 w 636"/>
                <a:gd name="T63" fmla="*/ 307 h 633"/>
                <a:gd name="T64" fmla="*/ 429 w 636"/>
                <a:gd name="T65" fmla="*/ 551 h 633"/>
                <a:gd name="T66" fmla="*/ 382 w 636"/>
                <a:gd name="T67" fmla="*/ 628 h 633"/>
                <a:gd name="T68" fmla="*/ 299 w 636"/>
                <a:gd name="T69" fmla="*/ 575 h 633"/>
                <a:gd name="T70" fmla="*/ 219 w 636"/>
                <a:gd name="T71" fmla="*/ 618 h 633"/>
                <a:gd name="T72" fmla="*/ 184 w 636"/>
                <a:gd name="T73" fmla="*/ 536 h 633"/>
                <a:gd name="T74" fmla="*/ 146 w 636"/>
                <a:gd name="T75" fmla="*/ 507 h 633"/>
                <a:gd name="T76" fmla="*/ 94 w 636"/>
                <a:gd name="T77" fmla="*/ 440 h 633"/>
                <a:gd name="T78" fmla="*/ 75 w 636"/>
                <a:gd name="T79" fmla="*/ 395 h 633"/>
                <a:gd name="T80" fmla="*/ 64 w 636"/>
                <a:gd name="T81" fmla="*/ 311 h 633"/>
                <a:gd name="T82" fmla="*/ 70 w 636"/>
                <a:gd name="T83" fmla="*/ 262 h 633"/>
                <a:gd name="T84" fmla="*/ 102 w 636"/>
                <a:gd name="T85" fmla="*/ 184 h 633"/>
                <a:gd name="T86" fmla="*/ 132 w 636"/>
                <a:gd name="T87" fmla="*/ 144 h 633"/>
                <a:gd name="T88" fmla="*/ 200 w 636"/>
                <a:gd name="T89" fmla="*/ 93 h 633"/>
                <a:gd name="T90" fmla="*/ 246 w 636"/>
                <a:gd name="T91" fmla="*/ 74 h 633"/>
                <a:gd name="T92" fmla="*/ 296 w 636"/>
                <a:gd name="T93" fmla="*/ 0 h 633"/>
                <a:gd name="T94" fmla="*/ 367 w 636"/>
                <a:gd name="T95" fmla="*/ 67 h 633"/>
                <a:gd name="T96" fmla="*/ 444 w 636"/>
                <a:gd name="T97" fmla="*/ 25 h 633"/>
                <a:gd name="T98" fmla="*/ 478 w 636"/>
                <a:gd name="T99" fmla="*/ 116 h 633"/>
                <a:gd name="T100" fmla="*/ 574 w 636"/>
                <a:gd name="T101" fmla="*/ 126 h 633"/>
                <a:gd name="T102" fmla="*/ 550 w 636"/>
                <a:gd name="T103" fmla="*/ 205 h 633"/>
                <a:gd name="T104" fmla="*/ 567 w 636"/>
                <a:gd name="T105" fmla="*/ 245 h 633"/>
                <a:gd name="T106" fmla="*/ 577 w 636"/>
                <a:gd name="T107" fmla="*/ 329 h 633"/>
                <a:gd name="T108" fmla="*/ 571 w 636"/>
                <a:gd name="T109" fmla="*/ 377 h 633"/>
                <a:gd name="T110" fmla="*/ 537 w 636"/>
                <a:gd name="T111" fmla="*/ 456 h 633"/>
                <a:gd name="T112" fmla="*/ 509 w 636"/>
                <a:gd name="T113" fmla="*/ 493 h 633"/>
                <a:gd name="T114" fmla="*/ 495 w 636"/>
                <a:gd name="T115" fmla="*/ 581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6" h="633">
                  <a:moveTo>
                    <a:pt x="135" y="316"/>
                  </a:moveTo>
                  <a:lnTo>
                    <a:pt x="135" y="325"/>
                  </a:lnTo>
                  <a:lnTo>
                    <a:pt x="136" y="335"/>
                  </a:lnTo>
                  <a:lnTo>
                    <a:pt x="137" y="344"/>
                  </a:lnTo>
                  <a:lnTo>
                    <a:pt x="139" y="354"/>
                  </a:lnTo>
                  <a:lnTo>
                    <a:pt x="141" y="362"/>
                  </a:lnTo>
                  <a:lnTo>
                    <a:pt x="143" y="371"/>
                  </a:lnTo>
                  <a:lnTo>
                    <a:pt x="146" y="379"/>
                  </a:lnTo>
                  <a:lnTo>
                    <a:pt x="149" y="388"/>
                  </a:lnTo>
                  <a:lnTo>
                    <a:pt x="151" y="392"/>
                  </a:lnTo>
                  <a:lnTo>
                    <a:pt x="153" y="396"/>
                  </a:lnTo>
                  <a:lnTo>
                    <a:pt x="157" y="404"/>
                  </a:lnTo>
                  <a:lnTo>
                    <a:pt x="161" y="411"/>
                  </a:lnTo>
                  <a:lnTo>
                    <a:pt x="166" y="419"/>
                  </a:lnTo>
                  <a:lnTo>
                    <a:pt x="171" y="426"/>
                  </a:lnTo>
                  <a:lnTo>
                    <a:pt x="177" y="432"/>
                  </a:lnTo>
                  <a:lnTo>
                    <a:pt x="182" y="439"/>
                  </a:lnTo>
                  <a:lnTo>
                    <a:pt x="189" y="445"/>
                  </a:lnTo>
                  <a:lnTo>
                    <a:pt x="196" y="451"/>
                  </a:lnTo>
                  <a:lnTo>
                    <a:pt x="202" y="457"/>
                  </a:lnTo>
                  <a:lnTo>
                    <a:pt x="209" y="462"/>
                  </a:lnTo>
                  <a:lnTo>
                    <a:pt x="216" y="468"/>
                  </a:lnTo>
                  <a:lnTo>
                    <a:pt x="223" y="472"/>
                  </a:lnTo>
                  <a:lnTo>
                    <a:pt x="231" y="477"/>
                  </a:lnTo>
                  <a:lnTo>
                    <a:pt x="247" y="484"/>
                  </a:lnTo>
                  <a:lnTo>
                    <a:pt x="255" y="487"/>
                  </a:lnTo>
                  <a:lnTo>
                    <a:pt x="264" y="490"/>
                  </a:lnTo>
                  <a:lnTo>
                    <a:pt x="272" y="493"/>
                  </a:lnTo>
                  <a:lnTo>
                    <a:pt x="281" y="495"/>
                  </a:lnTo>
                  <a:lnTo>
                    <a:pt x="290" y="496"/>
                  </a:lnTo>
                  <a:lnTo>
                    <a:pt x="299" y="498"/>
                  </a:lnTo>
                  <a:lnTo>
                    <a:pt x="308" y="498"/>
                  </a:lnTo>
                  <a:lnTo>
                    <a:pt x="319" y="499"/>
                  </a:lnTo>
                  <a:lnTo>
                    <a:pt x="328" y="498"/>
                  </a:lnTo>
                  <a:lnTo>
                    <a:pt x="337" y="498"/>
                  </a:lnTo>
                  <a:lnTo>
                    <a:pt x="346" y="496"/>
                  </a:lnTo>
                  <a:lnTo>
                    <a:pt x="355" y="495"/>
                  </a:lnTo>
                  <a:lnTo>
                    <a:pt x="364" y="493"/>
                  </a:lnTo>
                  <a:lnTo>
                    <a:pt x="372" y="490"/>
                  </a:lnTo>
                  <a:lnTo>
                    <a:pt x="381" y="487"/>
                  </a:lnTo>
                  <a:lnTo>
                    <a:pt x="389" y="484"/>
                  </a:lnTo>
                  <a:lnTo>
                    <a:pt x="393" y="482"/>
                  </a:lnTo>
                  <a:lnTo>
                    <a:pt x="397" y="481"/>
                  </a:lnTo>
                  <a:lnTo>
                    <a:pt x="405" y="477"/>
                  </a:lnTo>
                  <a:lnTo>
                    <a:pt x="413" y="472"/>
                  </a:lnTo>
                  <a:lnTo>
                    <a:pt x="420" y="468"/>
                  </a:lnTo>
                  <a:lnTo>
                    <a:pt x="427" y="462"/>
                  </a:lnTo>
                  <a:lnTo>
                    <a:pt x="434" y="457"/>
                  </a:lnTo>
                  <a:lnTo>
                    <a:pt x="442" y="451"/>
                  </a:lnTo>
                  <a:lnTo>
                    <a:pt x="448" y="445"/>
                  </a:lnTo>
                  <a:lnTo>
                    <a:pt x="454" y="439"/>
                  </a:lnTo>
                  <a:lnTo>
                    <a:pt x="460" y="432"/>
                  </a:lnTo>
                  <a:lnTo>
                    <a:pt x="465" y="426"/>
                  </a:lnTo>
                  <a:lnTo>
                    <a:pt x="470" y="419"/>
                  </a:lnTo>
                  <a:lnTo>
                    <a:pt x="475" y="411"/>
                  </a:lnTo>
                  <a:lnTo>
                    <a:pt x="479" y="404"/>
                  </a:lnTo>
                  <a:lnTo>
                    <a:pt x="487" y="388"/>
                  </a:lnTo>
                  <a:lnTo>
                    <a:pt x="490" y="379"/>
                  </a:lnTo>
                  <a:lnTo>
                    <a:pt x="493" y="371"/>
                  </a:lnTo>
                  <a:lnTo>
                    <a:pt x="495" y="362"/>
                  </a:lnTo>
                  <a:lnTo>
                    <a:pt x="497" y="354"/>
                  </a:lnTo>
                  <a:lnTo>
                    <a:pt x="499" y="344"/>
                  </a:lnTo>
                  <a:lnTo>
                    <a:pt x="500" y="335"/>
                  </a:lnTo>
                  <a:lnTo>
                    <a:pt x="501" y="325"/>
                  </a:lnTo>
                  <a:lnTo>
                    <a:pt x="501" y="316"/>
                  </a:lnTo>
                  <a:lnTo>
                    <a:pt x="501" y="307"/>
                  </a:lnTo>
                  <a:lnTo>
                    <a:pt x="500" y="298"/>
                  </a:lnTo>
                  <a:lnTo>
                    <a:pt x="499" y="288"/>
                  </a:lnTo>
                  <a:lnTo>
                    <a:pt x="497" y="279"/>
                  </a:lnTo>
                  <a:lnTo>
                    <a:pt x="495" y="271"/>
                  </a:lnTo>
                  <a:lnTo>
                    <a:pt x="493" y="262"/>
                  </a:lnTo>
                  <a:lnTo>
                    <a:pt x="490" y="254"/>
                  </a:lnTo>
                  <a:lnTo>
                    <a:pt x="487" y="245"/>
                  </a:lnTo>
                  <a:lnTo>
                    <a:pt x="485" y="241"/>
                  </a:lnTo>
                  <a:lnTo>
                    <a:pt x="483" y="237"/>
                  </a:lnTo>
                  <a:lnTo>
                    <a:pt x="479" y="230"/>
                  </a:lnTo>
                  <a:lnTo>
                    <a:pt x="475" y="222"/>
                  </a:lnTo>
                  <a:lnTo>
                    <a:pt x="470" y="215"/>
                  </a:lnTo>
                  <a:lnTo>
                    <a:pt x="465" y="207"/>
                  </a:lnTo>
                  <a:lnTo>
                    <a:pt x="460" y="201"/>
                  </a:lnTo>
                  <a:lnTo>
                    <a:pt x="454" y="194"/>
                  </a:lnTo>
                  <a:lnTo>
                    <a:pt x="448" y="188"/>
                  </a:lnTo>
                  <a:lnTo>
                    <a:pt x="442" y="182"/>
                  </a:lnTo>
                  <a:lnTo>
                    <a:pt x="434" y="176"/>
                  </a:lnTo>
                  <a:lnTo>
                    <a:pt x="427" y="171"/>
                  </a:lnTo>
                  <a:lnTo>
                    <a:pt x="420" y="166"/>
                  </a:lnTo>
                  <a:lnTo>
                    <a:pt x="413" y="161"/>
                  </a:lnTo>
                  <a:lnTo>
                    <a:pt x="405" y="157"/>
                  </a:lnTo>
                  <a:lnTo>
                    <a:pt x="389" y="148"/>
                  </a:lnTo>
                  <a:lnTo>
                    <a:pt x="381" y="145"/>
                  </a:lnTo>
                  <a:lnTo>
                    <a:pt x="372" y="142"/>
                  </a:lnTo>
                  <a:lnTo>
                    <a:pt x="364" y="139"/>
                  </a:lnTo>
                  <a:lnTo>
                    <a:pt x="355" y="137"/>
                  </a:lnTo>
                  <a:lnTo>
                    <a:pt x="346" y="136"/>
                  </a:lnTo>
                  <a:lnTo>
                    <a:pt x="337" y="135"/>
                  </a:lnTo>
                  <a:lnTo>
                    <a:pt x="328" y="134"/>
                  </a:lnTo>
                  <a:lnTo>
                    <a:pt x="319" y="134"/>
                  </a:lnTo>
                  <a:lnTo>
                    <a:pt x="308" y="134"/>
                  </a:lnTo>
                  <a:lnTo>
                    <a:pt x="299" y="135"/>
                  </a:lnTo>
                  <a:lnTo>
                    <a:pt x="290" y="136"/>
                  </a:lnTo>
                  <a:lnTo>
                    <a:pt x="281" y="137"/>
                  </a:lnTo>
                  <a:lnTo>
                    <a:pt x="272" y="139"/>
                  </a:lnTo>
                  <a:lnTo>
                    <a:pt x="264" y="142"/>
                  </a:lnTo>
                  <a:lnTo>
                    <a:pt x="255" y="145"/>
                  </a:lnTo>
                  <a:lnTo>
                    <a:pt x="247" y="148"/>
                  </a:lnTo>
                  <a:lnTo>
                    <a:pt x="243" y="150"/>
                  </a:lnTo>
                  <a:lnTo>
                    <a:pt x="239" y="153"/>
                  </a:lnTo>
                  <a:lnTo>
                    <a:pt x="231" y="157"/>
                  </a:lnTo>
                  <a:lnTo>
                    <a:pt x="223" y="161"/>
                  </a:lnTo>
                  <a:lnTo>
                    <a:pt x="216" y="166"/>
                  </a:lnTo>
                  <a:lnTo>
                    <a:pt x="209" y="171"/>
                  </a:lnTo>
                  <a:lnTo>
                    <a:pt x="202" y="176"/>
                  </a:lnTo>
                  <a:lnTo>
                    <a:pt x="196" y="182"/>
                  </a:lnTo>
                  <a:lnTo>
                    <a:pt x="189" y="188"/>
                  </a:lnTo>
                  <a:lnTo>
                    <a:pt x="182" y="194"/>
                  </a:lnTo>
                  <a:lnTo>
                    <a:pt x="177" y="201"/>
                  </a:lnTo>
                  <a:lnTo>
                    <a:pt x="171" y="207"/>
                  </a:lnTo>
                  <a:lnTo>
                    <a:pt x="166" y="215"/>
                  </a:lnTo>
                  <a:lnTo>
                    <a:pt x="161" y="222"/>
                  </a:lnTo>
                  <a:lnTo>
                    <a:pt x="157" y="230"/>
                  </a:lnTo>
                  <a:lnTo>
                    <a:pt x="149" y="245"/>
                  </a:lnTo>
                  <a:lnTo>
                    <a:pt x="146" y="254"/>
                  </a:lnTo>
                  <a:lnTo>
                    <a:pt x="143" y="262"/>
                  </a:lnTo>
                  <a:lnTo>
                    <a:pt x="141" y="271"/>
                  </a:lnTo>
                  <a:lnTo>
                    <a:pt x="139" y="279"/>
                  </a:lnTo>
                  <a:lnTo>
                    <a:pt x="137" y="288"/>
                  </a:lnTo>
                  <a:lnTo>
                    <a:pt x="136" y="298"/>
                  </a:lnTo>
                  <a:lnTo>
                    <a:pt x="135" y="307"/>
                  </a:lnTo>
                  <a:lnTo>
                    <a:pt x="135" y="316"/>
                  </a:lnTo>
                  <a:close/>
                  <a:moveTo>
                    <a:pt x="495" y="581"/>
                  </a:moveTo>
                  <a:lnTo>
                    <a:pt x="441" y="545"/>
                  </a:lnTo>
                  <a:lnTo>
                    <a:pt x="429" y="551"/>
                  </a:lnTo>
                  <a:lnTo>
                    <a:pt x="419" y="556"/>
                  </a:lnTo>
                  <a:lnTo>
                    <a:pt x="408" y="560"/>
                  </a:lnTo>
                  <a:lnTo>
                    <a:pt x="396" y="564"/>
                  </a:lnTo>
                  <a:lnTo>
                    <a:pt x="382" y="628"/>
                  </a:lnTo>
                  <a:lnTo>
                    <a:pt x="362" y="631"/>
                  </a:lnTo>
                  <a:lnTo>
                    <a:pt x="342" y="633"/>
                  </a:lnTo>
                  <a:lnTo>
                    <a:pt x="311" y="575"/>
                  </a:lnTo>
                  <a:lnTo>
                    <a:pt x="299" y="575"/>
                  </a:lnTo>
                  <a:lnTo>
                    <a:pt x="287" y="573"/>
                  </a:lnTo>
                  <a:lnTo>
                    <a:pt x="275" y="572"/>
                  </a:lnTo>
                  <a:lnTo>
                    <a:pt x="263" y="569"/>
                  </a:lnTo>
                  <a:lnTo>
                    <a:pt x="219" y="618"/>
                  </a:lnTo>
                  <a:lnTo>
                    <a:pt x="209" y="615"/>
                  </a:lnTo>
                  <a:lnTo>
                    <a:pt x="200" y="612"/>
                  </a:lnTo>
                  <a:lnTo>
                    <a:pt x="181" y="604"/>
                  </a:lnTo>
                  <a:lnTo>
                    <a:pt x="184" y="536"/>
                  </a:lnTo>
                  <a:lnTo>
                    <a:pt x="174" y="530"/>
                  </a:lnTo>
                  <a:lnTo>
                    <a:pt x="164" y="522"/>
                  </a:lnTo>
                  <a:lnTo>
                    <a:pt x="155" y="515"/>
                  </a:lnTo>
                  <a:lnTo>
                    <a:pt x="146" y="507"/>
                  </a:lnTo>
                  <a:lnTo>
                    <a:pt x="80" y="527"/>
                  </a:lnTo>
                  <a:lnTo>
                    <a:pt x="68" y="513"/>
                  </a:lnTo>
                  <a:lnTo>
                    <a:pt x="56" y="498"/>
                  </a:lnTo>
                  <a:lnTo>
                    <a:pt x="94" y="440"/>
                  </a:lnTo>
                  <a:lnTo>
                    <a:pt x="89" y="429"/>
                  </a:lnTo>
                  <a:lnTo>
                    <a:pt x="84" y="418"/>
                  </a:lnTo>
                  <a:lnTo>
                    <a:pt x="79" y="407"/>
                  </a:lnTo>
                  <a:lnTo>
                    <a:pt x="75" y="395"/>
                  </a:lnTo>
                  <a:lnTo>
                    <a:pt x="5" y="380"/>
                  </a:lnTo>
                  <a:lnTo>
                    <a:pt x="2" y="362"/>
                  </a:lnTo>
                  <a:lnTo>
                    <a:pt x="0" y="343"/>
                  </a:lnTo>
                  <a:lnTo>
                    <a:pt x="64" y="311"/>
                  </a:lnTo>
                  <a:lnTo>
                    <a:pt x="65" y="298"/>
                  </a:lnTo>
                  <a:lnTo>
                    <a:pt x="66" y="286"/>
                  </a:lnTo>
                  <a:lnTo>
                    <a:pt x="68" y="274"/>
                  </a:lnTo>
                  <a:lnTo>
                    <a:pt x="70" y="262"/>
                  </a:lnTo>
                  <a:lnTo>
                    <a:pt x="16" y="213"/>
                  </a:lnTo>
                  <a:lnTo>
                    <a:pt x="23" y="197"/>
                  </a:lnTo>
                  <a:lnTo>
                    <a:pt x="30" y="181"/>
                  </a:lnTo>
                  <a:lnTo>
                    <a:pt x="102" y="184"/>
                  </a:lnTo>
                  <a:lnTo>
                    <a:pt x="109" y="174"/>
                  </a:lnTo>
                  <a:lnTo>
                    <a:pt x="116" y="164"/>
                  </a:lnTo>
                  <a:lnTo>
                    <a:pt x="124" y="154"/>
                  </a:lnTo>
                  <a:lnTo>
                    <a:pt x="132" y="144"/>
                  </a:lnTo>
                  <a:lnTo>
                    <a:pt x="111" y="75"/>
                  </a:lnTo>
                  <a:lnTo>
                    <a:pt x="124" y="64"/>
                  </a:lnTo>
                  <a:lnTo>
                    <a:pt x="138" y="54"/>
                  </a:lnTo>
                  <a:lnTo>
                    <a:pt x="200" y="93"/>
                  </a:lnTo>
                  <a:lnTo>
                    <a:pt x="211" y="87"/>
                  </a:lnTo>
                  <a:lnTo>
                    <a:pt x="222" y="82"/>
                  </a:lnTo>
                  <a:lnTo>
                    <a:pt x="234" y="78"/>
                  </a:lnTo>
                  <a:lnTo>
                    <a:pt x="246" y="74"/>
                  </a:lnTo>
                  <a:lnTo>
                    <a:pt x="261" y="4"/>
                  </a:lnTo>
                  <a:lnTo>
                    <a:pt x="270" y="3"/>
                  </a:lnTo>
                  <a:lnTo>
                    <a:pt x="279" y="1"/>
                  </a:lnTo>
                  <a:lnTo>
                    <a:pt x="296" y="0"/>
                  </a:lnTo>
                  <a:lnTo>
                    <a:pt x="330" y="63"/>
                  </a:lnTo>
                  <a:lnTo>
                    <a:pt x="343" y="64"/>
                  </a:lnTo>
                  <a:lnTo>
                    <a:pt x="355" y="65"/>
                  </a:lnTo>
                  <a:lnTo>
                    <a:pt x="367" y="67"/>
                  </a:lnTo>
                  <a:lnTo>
                    <a:pt x="379" y="69"/>
                  </a:lnTo>
                  <a:lnTo>
                    <a:pt x="426" y="18"/>
                  </a:lnTo>
                  <a:lnTo>
                    <a:pt x="435" y="21"/>
                  </a:lnTo>
                  <a:lnTo>
                    <a:pt x="444" y="25"/>
                  </a:lnTo>
                  <a:lnTo>
                    <a:pt x="461" y="32"/>
                  </a:lnTo>
                  <a:lnTo>
                    <a:pt x="458" y="102"/>
                  </a:lnTo>
                  <a:lnTo>
                    <a:pt x="468" y="109"/>
                  </a:lnTo>
                  <a:lnTo>
                    <a:pt x="478" y="116"/>
                  </a:lnTo>
                  <a:lnTo>
                    <a:pt x="487" y="124"/>
                  </a:lnTo>
                  <a:lnTo>
                    <a:pt x="496" y="132"/>
                  </a:lnTo>
                  <a:lnTo>
                    <a:pt x="561" y="111"/>
                  </a:lnTo>
                  <a:lnTo>
                    <a:pt x="574" y="126"/>
                  </a:lnTo>
                  <a:lnTo>
                    <a:pt x="579" y="134"/>
                  </a:lnTo>
                  <a:lnTo>
                    <a:pt x="585" y="142"/>
                  </a:lnTo>
                  <a:lnTo>
                    <a:pt x="547" y="200"/>
                  </a:lnTo>
                  <a:lnTo>
                    <a:pt x="550" y="205"/>
                  </a:lnTo>
                  <a:lnTo>
                    <a:pt x="553" y="211"/>
                  </a:lnTo>
                  <a:lnTo>
                    <a:pt x="558" y="222"/>
                  </a:lnTo>
                  <a:lnTo>
                    <a:pt x="562" y="233"/>
                  </a:lnTo>
                  <a:lnTo>
                    <a:pt x="567" y="245"/>
                  </a:lnTo>
                  <a:lnTo>
                    <a:pt x="631" y="259"/>
                  </a:lnTo>
                  <a:lnTo>
                    <a:pt x="634" y="278"/>
                  </a:lnTo>
                  <a:lnTo>
                    <a:pt x="636" y="298"/>
                  </a:lnTo>
                  <a:lnTo>
                    <a:pt x="577" y="329"/>
                  </a:lnTo>
                  <a:lnTo>
                    <a:pt x="577" y="341"/>
                  </a:lnTo>
                  <a:lnTo>
                    <a:pt x="575" y="354"/>
                  </a:lnTo>
                  <a:lnTo>
                    <a:pt x="574" y="365"/>
                  </a:lnTo>
                  <a:lnTo>
                    <a:pt x="571" y="377"/>
                  </a:lnTo>
                  <a:lnTo>
                    <a:pt x="619" y="421"/>
                  </a:lnTo>
                  <a:lnTo>
                    <a:pt x="612" y="440"/>
                  </a:lnTo>
                  <a:lnTo>
                    <a:pt x="603" y="458"/>
                  </a:lnTo>
                  <a:lnTo>
                    <a:pt x="537" y="456"/>
                  </a:lnTo>
                  <a:lnTo>
                    <a:pt x="531" y="465"/>
                  </a:lnTo>
                  <a:lnTo>
                    <a:pt x="524" y="475"/>
                  </a:lnTo>
                  <a:lnTo>
                    <a:pt x="516" y="484"/>
                  </a:lnTo>
                  <a:lnTo>
                    <a:pt x="509" y="493"/>
                  </a:lnTo>
                  <a:lnTo>
                    <a:pt x="528" y="555"/>
                  </a:lnTo>
                  <a:lnTo>
                    <a:pt x="512" y="569"/>
                  </a:lnTo>
                  <a:lnTo>
                    <a:pt x="504" y="575"/>
                  </a:lnTo>
                  <a:lnTo>
                    <a:pt x="495" y="581"/>
                  </a:lnTo>
                  <a:close/>
                </a:path>
              </a:pathLst>
            </a:custGeom>
            <a:grpFill/>
            <a:ln w="9525" cmpd="sng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13" dirty="0"/>
            </a:p>
          </p:txBody>
        </p:sp>
        <p:sp>
          <p:nvSpPr>
            <p:cNvPr id="626" name="Freeform 53">
              <a:extLst>
                <a:ext uri="{FF2B5EF4-FFF2-40B4-BE49-F238E27FC236}">
                  <a16:creationId xmlns:a16="http://schemas.microsoft.com/office/drawing/2014/main" id="{CDF6AEF9-DE93-49D9-B099-DD0BDEB9FA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42744" y="1864198"/>
              <a:ext cx="1647553" cy="1638300"/>
            </a:xfrm>
            <a:custGeom>
              <a:avLst/>
              <a:gdLst>
                <a:gd name="T0" fmla="*/ 191 w 1052"/>
                <a:gd name="T1" fmla="*/ 580 h 1057"/>
                <a:gd name="T2" fmla="*/ 208 w 1052"/>
                <a:gd name="T3" fmla="*/ 646 h 1057"/>
                <a:gd name="T4" fmla="*/ 228 w 1052"/>
                <a:gd name="T5" fmla="*/ 690 h 1057"/>
                <a:gd name="T6" fmla="*/ 274 w 1052"/>
                <a:gd name="T7" fmla="*/ 757 h 1057"/>
                <a:gd name="T8" fmla="*/ 323 w 1052"/>
                <a:gd name="T9" fmla="*/ 800 h 1057"/>
                <a:gd name="T10" fmla="*/ 393 w 1052"/>
                <a:gd name="T11" fmla="*/ 841 h 1057"/>
                <a:gd name="T12" fmla="*/ 440 w 1052"/>
                <a:gd name="T13" fmla="*/ 857 h 1057"/>
                <a:gd name="T14" fmla="*/ 508 w 1052"/>
                <a:gd name="T15" fmla="*/ 867 h 1057"/>
                <a:gd name="T16" fmla="*/ 576 w 1052"/>
                <a:gd name="T17" fmla="*/ 864 h 1057"/>
                <a:gd name="T18" fmla="*/ 641 w 1052"/>
                <a:gd name="T19" fmla="*/ 847 h 1057"/>
                <a:gd name="T20" fmla="*/ 686 w 1052"/>
                <a:gd name="T21" fmla="*/ 827 h 1057"/>
                <a:gd name="T22" fmla="*/ 753 w 1052"/>
                <a:gd name="T23" fmla="*/ 780 h 1057"/>
                <a:gd name="T24" fmla="*/ 796 w 1052"/>
                <a:gd name="T25" fmla="*/ 732 h 1057"/>
                <a:gd name="T26" fmla="*/ 836 w 1052"/>
                <a:gd name="T27" fmla="*/ 661 h 1057"/>
                <a:gd name="T28" fmla="*/ 852 w 1052"/>
                <a:gd name="T29" fmla="*/ 613 h 1057"/>
                <a:gd name="T30" fmla="*/ 862 w 1052"/>
                <a:gd name="T31" fmla="*/ 545 h 1057"/>
                <a:gd name="T32" fmla="*/ 859 w 1052"/>
                <a:gd name="T33" fmla="*/ 477 h 1057"/>
                <a:gd name="T34" fmla="*/ 842 w 1052"/>
                <a:gd name="T35" fmla="*/ 412 h 1057"/>
                <a:gd name="T36" fmla="*/ 822 w 1052"/>
                <a:gd name="T37" fmla="*/ 366 h 1057"/>
                <a:gd name="T38" fmla="*/ 776 w 1052"/>
                <a:gd name="T39" fmla="*/ 300 h 1057"/>
                <a:gd name="T40" fmla="*/ 727 w 1052"/>
                <a:gd name="T41" fmla="*/ 256 h 1057"/>
                <a:gd name="T42" fmla="*/ 657 w 1052"/>
                <a:gd name="T43" fmla="*/ 216 h 1057"/>
                <a:gd name="T44" fmla="*/ 610 w 1052"/>
                <a:gd name="T45" fmla="*/ 199 h 1057"/>
                <a:gd name="T46" fmla="*/ 542 w 1052"/>
                <a:gd name="T47" fmla="*/ 189 h 1057"/>
                <a:gd name="T48" fmla="*/ 474 w 1052"/>
                <a:gd name="T49" fmla="*/ 192 h 1057"/>
                <a:gd name="T50" fmla="*/ 409 w 1052"/>
                <a:gd name="T51" fmla="*/ 209 h 1057"/>
                <a:gd name="T52" fmla="*/ 364 w 1052"/>
                <a:gd name="T53" fmla="*/ 230 h 1057"/>
                <a:gd name="T54" fmla="*/ 298 w 1052"/>
                <a:gd name="T55" fmla="*/ 276 h 1057"/>
                <a:gd name="T56" fmla="*/ 254 w 1052"/>
                <a:gd name="T57" fmla="*/ 325 h 1057"/>
                <a:gd name="T58" fmla="*/ 214 w 1052"/>
                <a:gd name="T59" fmla="*/ 396 h 1057"/>
                <a:gd name="T60" fmla="*/ 198 w 1052"/>
                <a:gd name="T61" fmla="*/ 443 h 1057"/>
                <a:gd name="T62" fmla="*/ 188 w 1052"/>
                <a:gd name="T63" fmla="*/ 511 h 1057"/>
                <a:gd name="T64" fmla="*/ 780 w 1052"/>
                <a:gd name="T65" fmla="*/ 923 h 1057"/>
                <a:gd name="T66" fmla="*/ 670 w 1052"/>
                <a:gd name="T67" fmla="*/ 975 h 1057"/>
                <a:gd name="T68" fmla="*/ 550 w 1052"/>
                <a:gd name="T69" fmla="*/ 998 h 1057"/>
                <a:gd name="T70" fmla="*/ 425 w 1052"/>
                <a:gd name="T71" fmla="*/ 1051 h 1057"/>
                <a:gd name="T72" fmla="*/ 300 w 1052"/>
                <a:gd name="T73" fmla="*/ 1011 h 1057"/>
                <a:gd name="T74" fmla="*/ 240 w 1052"/>
                <a:gd name="T75" fmla="*/ 902 h 1057"/>
                <a:gd name="T76" fmla="*/ 162 w 1052"/>
                <a:gd name="T77" fmla="*/ 825 h 1057"/>
                <a:gd name="T78" fmla="*/ 45 w 1052"/>
                <a:gd name="T79" fmla="*/ 755 h 1057"/>
                <a:gd name="T80" fmla="*/ 5 w 1052"/>
                <a:gd name="T81" fmla="*/ 628 h 1057"/>
                <a:gd name="T82" fmla="*/ 0 w 1052"/>
                <a:gd name="T83" fmla="*/ 461 h 1057"/>
                <a:gd name="T84" fmla="*/ 84 w 1052"/>
                <a:gd name="T85" fmla="*/ 371 h 1057"/>
                <a:gd name="T86" fmla="*/ 132 w 1052"/>
                <a:gd name="T87" fmla="*/ 272 h 1057"/>
                <a:gd name="T88" fmla="*/ 151 w 1052"/>
                <a:gd name="T89" fmla="*/ 152 h 1057"/>
                <a:gd name="T90" fmla="*/ 269 w 1052"/>
                <a:gd name="T91" fmla="*/ 62 h 1057"/>
                <a:gd name="T92" fmla="*/ 392 w 1052"/>
                <a:gd name="T93" fmla="*/ 77 h 1057"/>
                <a:gd name="T94" fmla="*/ 525 w 1052"/>
                <a:gd name="T95" fmla="*/ 58 h 1057"/>
                <a:gd name="T96" fmla="*/ 646 w 1052"/>
                <a:gd name="T97" fmla="*/ 74 h 1057"/>
                <a:gd name="T98" fmla="*/ 766 w 1052"/>
                <a:gd name="T99" fmla="*/ 54 h 1057"/>
                <a:gd name="T100" fmla="*/ 820 w 1052"/>
                <a:gd name="T101" fmla="*/ 163 h 1057"/>
                <a:gd name="T102" fmla="*/ 904 w 1052"/>
                <a:gd name="T103" fmla="*/ 252 h 1057"/>
                <a:gd name="T104" fmla="*/ 962 w 1052"/>
                <a:gd name="T105" fmla="*/ 359 h 1057"/>
                <a:gd name="T106" fmla="*/ 1052 w 1052"/>
                <a:gd name="T107" fmla="*/ 461 h 1057"/>
                <a:gd name="T108" fmla="*/ 1049 w 1052"/>
                <a:gd name="T109" fmla="*/ 611 h 1057"/>
                <a:gd name="T110" fmla="*/ 962 w 1052"/>
                <a:gd name="T111" fmla="*/ 697 h 1057"/>
                <a:gd name="T112" fmla="*/ 904 w 1052"/>
                <a:gd name="T113" fmla="*/ 804 h 1057"/>
                <a:gd name="T114" fmla="*/ 887 w 1052"/>
                <a:gd name="T115" fmla="*/ 917 h 10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52" h="1057">
                  <a:moveTo>
                    <a:pt x="187" y="528"/>
                  </a:moveTo>
                  <a:lnTo>
                    <a:pt x="188" y="545"/>
                  </a:lnTo>
                  <a:lnTo>
                    <a:pt x="189" y="563"/>
                  </a:lnTo>
                  <a:lnTo>
                    <a:pt x="190" y="572"/>
                  </a:lnTo>
                  <a:lnTo>
                    <a:pt x="191" y="580"/>
                  </a:lnTo>
                  <a:lnTo>
                    <a:pt x="194" y="597"/>
                  </a:lnTo>
                  <a:lnTo>
                    <a:pt x="196" y="605"/>
                  </a:lnTo>
                  <a:lnTo>
                    <a:pt x="198" y="613"/>
                  </a:lnTo>
                  <a:lnTo>
                    <a:pt x="202" y="629"/>
                  </a:lnTo>
                  <a:lnTo>
                    <a:pt x="208" y="646"/>
                  </a:lnTo>
                  <a:lnTo>
                    <a:pt x="214" y="661"/>
                  </a:lnTo>
                  <a:lnTo>
                    <a:pt x="217" y="668"/>
                  </a:lnTo>
                  <a:lnTo>
                    <a:pt x="220" y="676"/>
                  </a:lnTo>
                  <a:lnTo>
                    <a:pt x="224" y="683"/>
                  </a:lnTo>
                  <a:lnTo>
                    <a:pt x="228" y="690"/>
                  </a:lnTo>
                  <a:lnTo>
                    <a:pt x="236" y="704"/>
                  </a:lnTo>
                  <a:lnTo>
                    <a:pt x="245" y="718"/>
                  </a:lnTo>
                  <a:lnTo>
                    <a:pt x="254" y="732"/>
                  </a:lnTo>
                  <a:lnTo>
                    <a:pt x="264" y="745"/>
                  </a:lnTo>
                  <a:lnTo>
                    <a:pt x="274" y="757"/>
                  </a:lnTo>
                  <a:lnTo>
                    <a:pt x="286" y="768"/>
                  </a:lnTo>
                  <a:lnTo>
                    <a:pt x="298" y="780"/>
                  </a:lnTo>
                  <a:lnTo>
                    <a:pt x="304" y="785"/>
                  </a:lnTo>
                  <a:lnTo>
                    <a:pt x="310" y="790"/>
                  </a:lnTo>
                  <a:lnTo>
                    <a:pt x="323" y="800"/>
                  </a:lnTo>
                  <a:lnTo>
                    <a:pt x="336" y="809"/>
                  </a:lnTo>
                  <a:lnTo>
                    <a:pt x="350" y="819"/>
                  </a:lnTo>
                  <a:lnTo>
                    <a:pt x="364" y="827"/>
                  </a:lnTo>
                  <a:lnTo>
                    <a:pt x="378" y="835"/>
                  </a:lnTo>
                  <a:lnTo>
                    <a:pt x="393" y="841"/>
                  </a:lnTo>
                  <a:lnTo>
                    <a:pt x="401" y="845"/>
                  </a:lnTo>
                  <a:lnTo>
                    <a:pt x="409" y="847"/>
                  </a:lnTo>
                  <a:lnTo>
                    <a:pt x="424" y="853"/>
                  </a:lnTo>
                  <a:lnTo>
                    <a:pt x="432" y="855"/>
                  </a:lnTo>
                  <a:lnTo>
                    <a:pt x="440" y="857"/>
                  </a:lnTo>
                  <a:lnTo>
                    <a:pt x="449" y="859"/>
                  </a:lnTo>
                  <a:lnTo>
                    <a:pt x="457" y="861"/>
                  </a:lnTo>
                  <a:lnTo>
                    <a:pt x="474" y="864"/>
                  </a:lnTo>
                  <a:lnTo>
                    <a:pt x="491" y="866"/>
                  </a:lnTo>
                  <a:lnTo>
                    <a:pt x="508" y="867"/>
                  </a:lnTo>
                  <a:lnTo>
                    <a:pt x="525" y="868"/>
                  </a:lnTo>
                  <a:lnTo>
                    <a:pt x="542" y="867"/>
                  </a:lnTo>
                  <a:lnTo>
                    <a:pt x="559" y="866"/>
                  </a:lnTo>
                  <a:lnTo>
                    <a:pt x="568" y="865"/>
                  </a:lnTo>
                  <a:lnTo>
                    <a:pt x="576" y="864"/>
                  </a:lnTo>
                  <a:lnTo>
                    <a:pt x="593" y="861"/>
                  </a:lnTo>
                  <a:lnTo>
                    <a:pt x="602" y="859"/>
                  </a:lnTo>
                  <a:lnTo>
                    <a:pt x="610" y="857"/>
                  </a:lnTo>
                  <a:lnTo>
                    <a:pt x="626" y="853"/>
                  </a:lnTo>
                  <a:lnTo>
                    <a:pt x="641" y="847"/>
                  </a:lnTo>
                  <a:lnTo>
                    <a:pt x="657" y="841"/>
                  </a:lnTo>
                  <a:lnTo>
                    <a:pt x="664" y="838"/>
                  </a:lnTo>
                  <a:lnTo>
                    <a:pt x="672" y="835"/>
                  </a:lnTo>
                  <a:lnTo>
                    <a:pt x="679" y="831"/>
                  </a:lnTo>
                  <a:lnTo>
                    <a:pt x="686" y="827"/>
                  </a:lnTo>
                  <a:lnTo>
                    <a:pt x="700" y="819"/>
                  </a:lnTo>
                  <a:lnTo>
                    <a:pt x="714" y="809"/>
                  </a:lnTo>
                  <a:lnTo>
                    <a:pt x="727" y="800"/>
                  </a:lnTo>
                  <a:lnTo>
                    <a:pt x="740" y="790"/>
                  </a:lnTo>
                  <a:lnTo>
                    <a:pt x="753" y="780"/>
                  </a:lnTo>
                  <a:lnTo>
                    <a:pt x="764" y="768"/>
                  </a:lnTo>
                  <a:lnTo>
                    <a:pt x="776" y="757"/>
                  </a:lnTo>
                  <a:lnTo>
                    <a:pt x="781" y="751"/>
                  </a:lnTo>
                  <a:lnTo>
                    <a:pt x="786" y="745"/>
                  </a:lnTo>
                  <a:lnTo>
                    <a:pt x="796" y="732"/>
                  </a:lnTo>
                  <a:lnTo>
                    <a:pt x="805" y="718"/>
                  </a:lnTo>
                  <a:lnTo>
                    <a:pt x="814" y="704"/>
                  </a:lnTo>
                  <a:lnTo>
                    <a:pt x="822" y="690"/>
                  </a:lnTo>
                  <a:lnTo>
                    <a:pt x="830" y="676"/>
                  </a:lnTo>
                  <a:lnTo>
                    <a:pt x="836" y="661"/>
                  </a:lnTo>
                  <a:lnTo>
                    <a:pt x="840" y="653"/>
                  </a:lnTo>
                  <a:lnTo>
                    <a:pt x="842" y="646"/>
                  </a:lnTo>
                  <a:lnTo>
                    <a:pt x="848" y="629"/>
                  </a:lnTo>
                  <a:lnTo>
                    <a:pt x="850" y="621"/>
                  </a:lnTo>
                  <a:lnTo>
                    <a:pt x="852" y="613"/>
                  </a:lnTo>
                  <a:lnTo>
                    <a:pt x="854" y="605"/>
                  </a:lnTo>
                  <a:lnTo>
                    <a:pt x="856" y="597"/>
                  </a:lnTo>
                  <a:lnTo>
                    <a:pt x="859" y="580"/>
                  </a:lnTo>
                  <a:lnTo>
                    <a:pt x="861" y="563"/>
                  </a:lnTo>
                  <a:lnTo>
                    <a:pt x="862" y="545"/>
                  </a:lnTo>
                  <a:lnTo>
                    <a:pt x="863" y="528"/>
                  </a:lnTo>
                  <a:lnTo>
                    <a:pt x="862" y="511"/>
                  </a:lnTo>
                  <a:lnTo>
                    <a:pt x="861" y="494"/>
                  </a:lnTo>
                  <a:lnTo>
                    <a:pt x="860" y="485"/>
                  </a:lnTo>
                  <a:lnTo>
                    <a:pt x="859" y="477"/>
                  </a:lnTo>
                  <a:lnTo>
                    <a:pt x="856" y="459"/>
                  </a:lnTo>
                  <a:lnTo>
                    <a:pt x="854" y="451"/>
                  </a:lnTo>
                  <a:lnTo>
                    <a:pt x="852" y="443"/>
                  </a:lnTo>
                  <a:lnTo>
                    <a:pt x="848" y="427"/>
                  </a:lnTo>
                  <a:lnTo>
                    <a:pt x="842" y="412"/>
                  </a:lnTo>
                  <a:lnTo>
                    <a:pt x="836" y="396"/>
                  </a:lnTo>
                  <a:lnTo>
                    <a:pt x="833" y="389"/>
                  </a:lnTo>
                  <a:lnTo>
                    <a:pt x="830" y="380"/>
                  </a:lnTo>
                  <a:lnTo>
                    <a:pt x="826" y="373"/>
                  </a:lnTo>
                  <a:lnTo>
                    <a:pt x="822" y="366"/>
                  </a:lnTo>
                  <a:lnTo>
                    <a:pt x="814" y="352"/>
                  </a:lnTo>
                  <a:lnTo>
                    <a:pt x="805" y="338"/>
                  </a:lnTo>
                  <a:lnTo>
                    <a:pt x="796" y="325"/>
                  </a:lnTo>
                  <a:lnTo>
                    <a:pt x="786" y="312"/>
                  </a:lnTo>
                  <a:lnTo>
                    <a:pt x="776" y="300"/>
                  </a:lnTo>
                  <a:lnTo>
                    <a:pt x="764" y="288"/>
                  </a:lnTo>
                  <a:lnTo>
                    <a:pt x="753" y="276"/>
                  </a:lnTo>
                  <a:lnTo>
                    <a:pt x="747" y="271"/>
                  </a:lnTo>
                  <a:lnTo>
                    <a:pt x="740" y="266"/>
                  </a:lnTo>
                  <a:lnTo>
                    <a:pt x="727" y="256"/>
                  </a:lnTo>
                  <a:lnTo>
                    <a:pt x="714" y="247"/>
                  </a:lnTo>
                  <a:lnTo>
                    <a:pt x="700" y="238"/>
                  </a:lnTo>
                  <a:lnTo>
                    <a:pt x="686" y="230"/>
                  </a:lnTo>
                  <a:lnTo>
                    <a:pt x="672" y="222"/>
                  </a:lnTo>
                  <a:lnTo>
                    <a:pt x="657" y="216"/>
                  </a:lnTo>
                  <a:lnTo>
                    <a:pt x="649" y="212"/>
                  </a:lnTo>
                  <a:lnTo>
                    <a:pt x="641" y="209"/>
                  </a:lnTo>
                  <a:lnTo>
                    <a:pt x="626" y="203"/>
                  </a:lnTo>
                  <a:lnTo>
                    <a:pt x="618" y="201"/>
                  </a:lnTo>
                  <a:lnTo>
                    <a:pt x="610" y="199"/>
                  </a:lnTo>
                  <a:lnTo>
                    <a:pt x="602" y="197"/>
                  </a:lnTo>
                  <a:lnTo>
                    <a:pt x="593" y="195"/>
                  </a:lnTo>
                  <a:lnTo>
                    <a:pt x="576" y="192"/>
                  </a:lnTo>
                  <a:lnTo>
                    <a:pt x="559" y="190"/>
                  </a:lnTo>
                  <a:lnTo>
                    <a:pt x="542" y="189"/>
                  </a:lnTo>
                  <a:lnTo>
                    <a:pt x="525" y="188"/>
                  </a:lnTo>
                  <a:lnTo>
                    <a:pt x="508" y="189"/>
                  </a:lnTo>
                  <a:lnTo>
                    <a:pt x="491" y="190"/>
                  </a:lnTo>
                  <a:lnTo>
                    <a:pt x="482" y="191"/>
                  </a:lnTo>
                  <a:lnTo>
                    <a:pt x="474" y="192"/>
                  </a:lnTo>
                  <a:lnTo>
                    <a:pt x="457" y="195"/>
                  </a:lnTo>
                  <a:lnTo>
                    <a:pt x="449" y="197"/>
                  </a:lnTo>
                  <a:lnTo>
                    <a:pt x="440" y="199"/>
                  </a:lnTo>
                  <a:lnTo>
                    <a:pt x="424" y="203"/>
                  </a:lnTo>
                  <a:lnTo>
                    <a:pt x="409" y="209"/>
                  </a:lnTo>
                  <a:lnTo>
                    <a:pt x="393" y="216"/>
                  </a:lnTo>
                  <a:lnTo>
                    <a:pt x="386" y="219"/>
                  </a:lnTo>
                  <a:lnTo>
                    <a:pt x="378" y="222"/>
                  </a:lnTo>
                  <a:lnTo>
                    <a:pt x="371" y="226"/>
                  </a:lnTo>
                  <a:lnTo>
                    <a:pt x="364" y="230"/>
                  </a:lnTo>
                  <a:lnTo>
                    <a:pt x="350" y="238"/>
                  </a:lnTo>
                  <a:lnTo>
                    <a:pt x="336" y="247"/>
                  </a:lnTo>
                  <a:lnTo>
                    <a:pt x="323" y="256"/>
                  </a:lnTo>
                  <a:lnTo>
                    <a:pt x="310" y="266"/>
                  </a:lnTo>
                  <a:lnTo>
                    <a:pt x="298" y="276"/>
                  </a:lnTo>
                  <a:lnTo>
                    <a:pt x="286" y="288"/>
                  </a:lnTo>
                  <a:lnTo>
                    <a:pt x="274" y="300"/>
                  </a:lnTo>
                  <a:lnTo>
                    <a:pt x="269" y="306"/>
                  </a:lnTo>
                  <a:lnTo>
                    <a:pt x="264" y="312"/>
                  </a:lnTo>
                  <a:lnTo>
                    <a:pt x="254" y="325"/>
                  </a:lnTo>
                  <a:lnTo>
                    <a:pt x="245" y="338"/>
                  </a:lnTo>
                  <a:lnTo>
                    <a:pt x="236" y="352"/>
                  </a:lnTo>
                  <a:lnTo>
                    <a:pt x="228" y="366"/>
                  </a:lnTo>
                  <a:lnTo>
                    <a:pt x="220" y="380"/>
                  </a:lnTo>
                  <a:lnTo>
                    <a:pt x="214" y="396"/>
                  </a:lnTo>
                  <a:lnTo>
                    <a:pt x="211" y="404"/>
                  </a:lnTo>
                  <a:lnTo>
                    <a:pt x="208" y="412"/>
                  </a:lnTo>
                  <a:lnTo>
                    <a:pt x="202" y="427"/>
                  </a:lnTo>
                  <a:lnTo>
                    <a:pt x="200" y="435"/>
                  </a:lnTo>
                  <a:lnTo>
                    <a:pt x="198" y="443"/>
                  </a:lnTo>
                  <a:lnTo>
                    <a:pt x="196" y="451"/>
                  </a:lnTo>
                  <a:lnTo>
                    <a:pt x="194" y="459"/>
                  </a:lnTo>
                  <a:lnTo>
                    <a:pt x="191" y="477"/>
                  </a:lnTo>
                  <a:lnTo>
                    <a:pt x="189" y="494"/>
                  </a:lnTo>
                  <a:lnTo>
                    <a:pt x="188" y="511"/>
                  </a:lnTo>
                  <a:lnTo>
                    <a:pt x="187" y="528"/>
                  </a:lnTo>
                  <a:close/>
                  <a:moveTo>
                    <a:pt x="887" y="917"/>
                  </a:moveTo>
                  <a:lnTo>
                    <a:pt x="820" y="893"/>
                  </a:lnTo>
                  <a:lnTo>
                    <a:pt x="800" y="909"/>
                  </a:lnTo>
                  <a:lnTo>
                    <a:pt x="780" y="923"/>
                  </a:lnTo>
                  <a:lnTo>
                    <a:pt x="781" y="996"/>
                  </a:lnTo>
                  <a:lnTo>
                    <a:pt x="766" y="1003"/>
                  </a:lnTo>
                  <a:lnTo>
                    <a:pt x="751" y="1011"/>
                  </a:lnTo>
                  <a:lnTo>
                    <a:pt x="693" y="967"/>
                  </a:lnTo>
                  <a:lnTo>
                    <a:pt x="670" y="975"/>
                  </a:lnTo>
                  <a:lnTo>
                    <a:pt x="658" y="979"/>
                  </a:lnTo>
                  <a:lnTo>
                    <a:pt x="646" y="982"/>
                  </a:lnTo>
                  <a:lnTo>
                    <a:pt x="625" y="1051"/>
                  </a:lnTo>
                  <a:lnTo>
                    <a:pt x="591" y="1057"/>
                  </a:lnTo>
                  <a:lnTo>
                    <a:pt x="550" y="998"/>
                  </a:lnTo>
                  <a:lnTo>
                    <a:pt x="525" y="999"/>
                  </a:lnTo>
                  <a:lnTo>
                    <a:pt x="500" y="998"/>
                  </a:lnTo>
                  <a:lnTo>
                    <a:pt x="459" y="1057"/>
                  </a:lnTo>
                  <a:lnTo>
                    <a:pt x="442" y="1054"/>
                  </a:lnTo>
                  <a:lnTo>
                    <a:pt x="425" y="1051"/>
                  </a:lnTo>
                  <a:lnTo>
                    <a:pt x="404" y="982"/>
                  </a:lnTo>
                  <a:lnTo>
                    <a:pt x="380" y="975"/>
                  </a:lnTo>
                  <a:lnTo>
                    <a:pt x="369" y="971"/>
                  </a:lnTo>
                  <a:lnTo>
                    <a:pt x="357" y="967"/>
                  </a:lnTo>
                  <a:lnTo>
                    <a:pt x="300" y="1011"/>
                  </a:lnTo>
                  <a:lnTo>
                    <a:pt x="284" y="1003"/>
                  </a:lnTo>
                  <a:lnTo>
                    <a:pt x="269" y="996"/>
                  </a:lnTo>
                  <a:lnTo>
                    <a:pt x="270" y="923"/>
                  </a:lnTo>
                  <a:lnTo>
                    <a:pt x="250" y="909"/>
                  </a:lnTo>
                  <a:lnTo>
                    <a:pt x="240" y="902"/>
                  </a:lnTo>
                  <a:lnTo>
                    <a:pt x="230" y="893"/>
                  </a:lnTo>
                  <a:lnTo>
                    <a:pt x="163" y="917"/>
                  </a:lnTo>
                  <a:lnTo>
                    <a:pt x="151" y="905"/>
                  </a:lnTo>
                  <a:lnTo>
                    <a:pt x="138" y="892"/>
                  </a:lnTo>
                  <a:lnTo>
                    <a:pt x="162" y="825"/>
                  </a:lnTo>
                  <a:lnTo>
                    <a:pt x="147" y="804"/>
                  </a:lnTo>
                  <a:lnTo>
                    <a:pt x="132" y="784"/>
                  </a:lnTo>
                  <a:lnTo>
                    <a:pt x="61" y="785"/>
                  </a:lnTo>
                  <a:lnTo>
                    <a:pt x="53" y="770"/>
                  </a:lnTo>
                  <a:lnTo>
                    <a:pt x="45" y="755"/>
                  </a:lnTo>
                  <a:lnTo>
                    <a:pt x="88" y="697"/>
                  </a:lnTo>
                  <a:lnTo>
                    <a:pt x="80" y="674"/>
                  </a:lnTo>
                  <a:lnTo>
                    <a:pt x="76" y="662"/>
                  </a:lnTo>
                  <a:lnTo>
                    <a:pt x="73" y="650"/>
                  </a:lnTo>
                  <a:lnTo>
                    <a:pt x="5" y="628"/>
                  </a:lnTo>
                  <a:lnTo>
                    <a:pt x="0" y="595"/>
                  </a:lnTo>
                  <a:lnTo>
                    <a:pt x="58" y="553"/>
                  </a:lnTo>
                  <a:lnTo>
                    <a:pt x="57" y="528"/>
                  </a:lnTo>
                  <a:lnTo>
                    <a:pt x="58" y="503"/>
                  </a:lnTo>
                  <a:lnTo>
                    <a:pt x="0" y="461"/>
                  </a:lnTo>
                  <a:lnTo>
                    <a:pt x="2" y="445"/>
                  </a:lnTo>
                  <a:lnTo>
                    <a:pt x="5" y="428"/>
                  </a:lnTo>
                  <a:lnTo>
                    <a:pt x="73" y="407"/>
                  </a:lnTo>
                  <a:lnTo>
                    <a:pt x="80" y="382"/>
                  </a:lnTo>
                  <a:lnTo>
                    <a:pt x="84" y="371"/>
                  </a:lnTo>
                  <a:lnTo>
                    <a:pt x="88" y="359"/>
                  </a:lnTo>
                  <a:lnTo>
                    <a:pt x="45" y="302"/>
                  </a:lnTo>
                  <a:lnTo>
                    <a:pt x="53" y="286"/>
                  </a:lnTo>
                  <a:lnTo>
                    <a:pt x="61" y="271"/>
                  </a:lnTo>
                  <a:lnTo>
                    <a:pt x="132" y="272"/>
                  </a:lnTo>
                  <a:lnTo>
                    <a:pt x="147" y="252"/>
                  </a:lnTo>
                  <a:lnTo>
                    <a:pt x="154" y="242"/>
                  </a:lnTo>
                  <a:lnTo>
                    <a:pt x="162" y="232"/>
                  </a:lnTo>
                  <a:lnTo>
                    <a:pt x="138" y="164"/>
                  </a:lnTo>
                  <a:lnTo>
                    <a:pt x="151" y="152"/>
                  </a:lnTo>
                  <a:lnTo>
                    <a:pt x="163" y="140"/>
                  </a:lnTo>
                  <a:lnTo>
                    <a:pt x="230" y="163"/>
                  </a:lnTo>
                  <a:lnTo>
                    <a:pt x="250" y="148"/>
                  </a:lnTo>
                  <a:lnTo>
                    <a:pt x="270" y="134"/>
                  </a:lnTo>
                  <a:lnTo>
                    <a:pt x="269" y="62"/>
                  </a:lnTo>
                  <a:lnTo>
                    <a:pt x="284" y="54"/>
                  </a:lnTo>
                  <a:lnTo>
                    <a:pt x="300" y="46"/>
                  </a:lnTo>
                  <a:lnTo>
                    <a:pt x="357" y="89"/>
                  </a:lnTo>
                  <a:lnTo>
                    <a:pt x="380" y="81"/>
                  </a:lnTo>
                  <a:lnTo>
                    <a:pt x="392" y="77"/>
                  </a:lnTo>
                  <a:lnTo>
                    <a:pt x="404" y="74"/>
                  </a:lnTo>
                  <a:lnTo>
                    <a:pt x="425" y="5"/>
                  </a:lnTo>
                  <a:lnTo>
                    <a:pt x="459" y="0"/>
                  </a:lnTo>
                  <a:lnTo>
                    <a:pt x="500" y="59"/>
                  </a:lnTo>
                  <a:lnTo>
                    <a:pt x="525" y="58"/>
                  </a:lnTo>
                  <a:lnTo>
                    <a:pt x="550" y="59"/>
                  </a:lnTo>
                  <a:lnTo>
                    <a:pt x="591" y="0"/>
                  </a:lnTo>
                  <a:lnTo>
                    <a:pt x="608" y="2"/>
                  </a:lnTo>
                  <a:lnTo>
                    <a:pt x="625" y="5"/>
                  </a:lnTo>
                  <a:lnTo>
                    <a:pt x="646" y="74"/>
                  </a:lnTo>
                  <a:lnTo>
                    <a:pt x="670" y="81"/>
                  </a:lnTo>
                  <a:lnTo>
                    <a:pt x="682" y="85"/>
                  </a:lnTo>
                  <a:lnTo>
                    <a:pt x="693" y="89"/>
                  </a:lnTo>
                  <a:lnTo>
                    <a:pt x="751" y="46"/>
                  </a:lnTo>
                  <a:lnTo>
                    <a:pt x="766" y="54"/>
                  </a:lnTo>
                  <a:lnTo>
                    <a:pt x="781" y="62"/>
                  </a:lnTo>
                  <a:lnTo>
                    <a:pt x="780" y="134"/>
                  </a:lnTo>
                  <a:lnTo>
                    <a:pt x="800" y="148"/>
                  </a:lnTo>
                  <a:lnTo>
                    <a:pt x="810" y="155"/>
                  </a:lnTo>
                  <a:lnTo>
                    <a:pt x="820" y="163"/>
                  </a:lnTo>
                  <a:lnTo>
                    <a:pt x="887" y="140"/>
                  </a:lnTo>
                  <a:lnTo>
                    <a:pt x="900" y="152"/>
                  </a:lnTo>
                  <a:lnTo>
                    <a:pt x="912" y="164"/>
                  </a:lnTo>
                  <a:lnTo>
                    <a:pt x="888" y="232"/>
                  </a:lnTo>
                  <a:lnTo>
                    <a:pt x="904" y="252"/>
                  </a:lnTo>
                  <a:lnTo>
                    <a:pt x="918" y="272"/>
                  </a:lnTo>
                  <a:lnTo>
                    <a:pt x="990" y="271"/>
                  </a:lnTo>
                  <a:lnTo>
                    <a:pt x="997" y="286"/>
                  </a:lnTo>
                  <a:lnTo>
                    <a:pt x="1005" y="302"/>
                  </a:lnTo>
                  <a:lnTo>
                    <a:pt x="962" y="359"/>
                  </a:lnTo>
                  <a:lnTo>
                    <a:pt x="970" y="382"/>
                  </a:lnTo>
                  <a:lnTo>
                    <a:pt x="974" y="395"/>
                  </a:lnTo>
                  <a:lnTo>
                    <a:pt x="977" y="407"/>
                  </a:lnTo>
                  <a:lnTo>
                    <a:pt x="1045" y="428"/>
                  </a:lnTo>
                  <a:lnTo>
                    <a:pt x="1052" y="461"/>
                  </a:lnTo>
                  <a:lnTo>
                    <a:pt x="992" y="503"/>
                  </a:lnTo>
                  <a:lnTo>
                    <a:pt x="993" y="528"/>
                  </a:lnTo>
                  <a:lnTo>
                    <a:pt x="992" y="553"/>
                  </a:lnTo>
                  <a:lnTo>
                    <a:pt x="1052" y="595"/>
                  </a:lnTo>
                  <a:lnTo>
                    <a:pt x="1049" y="611"/>
                  </a:lnTo>
                  <a:lnTo>
                    <a:pt x="1045" y="628"/>
                  </a:lnTo>
                  <a:lnTo>
                    <a:pt x="977" y="650"/>
                  </a:lnTo>
                  <a:lnTo>
                    <a:pt x="970" y="674"/>
                  </a:lnTo>
                  <a:lnTo>
                    <a:pt x="966" y="686"/>
                  </a:lnTo>
                  <a:lnTo>
                    <a:pt x="962" y="697"/>
                  </a:lnTo>
                  <a:lnTo>
                    <a:pt x="1005" y="755"/>
                  </a:lnTo>
                  <a:lnTo>
                    <a:pt x="997" y="770"/>
                  </a:lnTo>
                  <a:lnTo>
                    <a:pt x="990" y="785"/>
                  </a:lnTo>
                  <a:lnTo>
                    <a:pt x="918" y="784"/>
                  </a:lnTo>
                  <a:lnTo>
                    <a:pt x="904" y="804"/>
                  </a:lnTo>
                  <a:lnTo>
                    <a:pt x="897" y="814"/>
                  </a:lnTo>
                  <a:lnTo>
                    <a:pt x="888" y="825"/>
                  </a:lnTo>
                  <a:lnTo>
                    <a:pt x="912" y="892"/>
                  </a:lnTo>
                  <a:lnTo>
                    <a:pt x="900" y="905"/>
                  </a:lnTo>
                  <a:lnTo>
                    <a:pt x="887" y="917"/>
                  </a:lnTo>
                  <a:close/>
                </a:path>
              </a:pathLst>
            </a:custGeom>
            <a:grpFill/>
            <a:ln w="9525" cmpd="sng">
              <a:noFill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en-US" sz="1013" dirty="0"/>
            </a:p>
          </p:txBody>
        </p:sp>
        <p:sp>
          <p:nvSpPr>
            <p:cNvPr id="627" name="Freeform 52">
              <a:extLst>
                <a:ext uri="{FF2B5EF4-FFF2-40B4-BE49-F238E27FC236}">
                  <a16:creationId xmlns:a16="http://schemas.microsoft.com/office/drawing/2014/main" id="{44E4EE61-F505-403B-906E-D560A0BDCC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538678" y="2272799"/>
              <a:ext cx="1190428" cy="1181100"/>
            </a:xfrm>
            <a:custGeom>
              <a:avLst/>
              <a:gdLst>
                <a:gd name="T0" fmla="*/ 137 w 636"/>
                <a:gd name="T1" fmla="*/ 344 h 633"/>
                <a:gd name="T2" fmla="*/ 146 w 636"/>
                <a:gd name="T3" fmla="*/ 379 h 633"/>
                <a:gd name="T4" fmla="*/ 157 w 636"/>
                <a:gd name="T5" fmla="*/ 404 h 633"/>
                <a:gd name="T6" fmla="*/ 177 w 636"/>
                <a:gd name="T7" fmla="*/ 432 h 633"/>
                <a:gd name="T8" fmla="*/ 202 w 636"/>
                <a:gd name="T9" fmla="*/ 457 h 633"/>
                <a:gd name="T10" fmla="*/ 231 w 636"/>
                <a:gd name="T11" fmla="*/ 477 h 633"/>
                <a:gd name="T12" fmla="*/ 272 w 636"/>
                <a:gd name="T13" fmla="*/ 493 h 633"/>
                <a:gd name="T14" fmla="*/ 308 w 636"/>
                <a:gd name="T15" fmla="*/ 498 h 633"/>
                <a:gd name="T16" fmla="*/ 346 w 636"/>
                <a:gd name="T17" fmla="*/ 496 h 633"/>
                <a:gd name="T18" fmla="*/ 381 w 636"/>
                <a:gd name="T19" fmla="*/ 487 h 633"/>
                <a:gd name="T20" fmla="*/ 405 w 636"/>
                <a:gd name="T21" fmla="*/ 477 h 633"/>
                <a:gd name="T22" fmla="*/ 434 w 636"/>
                <a:gd name="T23" fmla="*/ 457 h 633"/>
                <a:gd name="T24" fmla="*/ 460 w 636"/>
                <a:gd name="T25" fmla="*/ 432 h 633"/>
                <a:gd name="T26" fmla="*/ 479 w 636"/>
                <a:gd name="T27" fmla="*/ 404 h 633"/>
                <a:gd name="T28" fmla="*/ 495 w 636"/>
                <a:gd name="T29" fmla="*/ 362 h 633"/>
                <a:gd name="T30" fmla="*/ 501 w 636"/>
                <a:gd name="T31" fmla="*/ 325 h 633"/>
                <a:gd name="T32" fmla="*/ 499 w 636"/>
                <a:gd name="T33" fmla="*/ 288 h 633"/>
                <a:gd name="T34" fmla="*/ 490 w 636"/>
                <a:gd name="T35" fmla="*/ 254 h 633"/>
                <a:gd name="T36" fmla="*/ 479 w 636"/>
                <a:gd name="T37" fmla="*/ 230 h 633"/>
                <a:gd name="T38" fmla="*/ 460 w 636"/>
                <a:gd name="T39" fmla="*/ 201 h 633"/>
                <a:gd name="T40" fmla="*/ 434 w 636"/>
                <a:gd name="T41" fmla="*/ 176 h 633"/>
                <a:gd name="T42" fmla="*/ 405 w 636"/>
                <a:gd name="T43" fmla="*/ 157 h 633"/>
                <a:gd name="T44" fmla="*/ 364 w 636"/>
                <a:gd name="T45" fmla="*/ 139 h 633"/>
                <a:gd name="T46" fmla="*/ 328 w 636"/>
                <a:gd name="T47" fmla="*/ 134 h 633"/>
                <a:gd name="T48" fmla="*/ 290 w 636"/>
                <a:gd name="T49" fmla="*/ 136 h 633"/>
                <a:gd name="T50" fmla="*/ 255 w 636"/>
                <a:gd name="T51" fmla="*/ 145 h 633"/>
                <a:gd name="T52" fmla="*/ 231 w 636"/>
                <a:gd name="T53" fmla="*/ 157 h 633"/>
                <a:gd name="T54" fmla="*/ 202 w 636"/>
                <a:gd name="T55" fmla="*/ 176 h 633"/>
                <a:gd name="T56" fmla="*/ 177 w 636"/>
                <a:gd name="T57" fmla="*/ 201 h 633"/>
                <a:gd name="T58" fmla="*/ 157 w 636"/>
                <a:gd name="T59" fmla="*/ 230 h 633"/>
                <a:gd name="T60" fmla="*/ 141 w 636"/>
                <a:gd name="T61" fmla="*/ 271 h 633"/>
                <a:gd name="T62" fmla="*/ 135 w 636"/>
                <a:gd name="T63" fmla="*/ 307 h 633"/>
                <a:gd name="T64" fmla="*/ 429 w 636"/>
                <a:gd name="T65" fmla="*/ 551 h 633"/>
                <a:gd name="T66" fmla="*/ 382 w 636"/>
                <a:gd name="T67" fmla="*/ 628 h 633"/>
                <a:gd name="T68" fmla="*/ 299 w 636"/>
                <a:gd name="T69" fmla="*/ 575 h 633"/>
                <a:gd name="T70" fmla="*/ 219 w 636"/>
                <a:gd name="T71" fmla="*/ 618 h 633"/>
                <a:gd name="T72" fmla="*/ 184 w 636"/>
                <a:gd name="T73" fmla="*/ 536 h 633"/>
                <a:gd name="T74" fmla="*/ 146 w 636"/>
                <a:gd name="T75" fmla="*/ 507 h 633"/>
                <a:gd name="T76" fmla="*/ 94 w 636"/>
                <a:gd name="T77" fmla="*/ 440 h 633"/>
                <a:gd name="T78" fmla="*/ 75 w 636"/>
                <a:gd name="T79" fmla="*/ 395 h 633"/>
                <a:gd name="T80" fmla="*/ 64 w 636"/>
                <a:gd name="T81" fmla="*/ 311 h 633"/>
                <a:gd name="T82" fmla="*/ 70 w 636"/>
                <a:gd name="T83" fmla="*/ 262 h 633"/>
                <a:gd name="T84" fmla="*/ 102 w 636"/>
                <a:gd name="T85" fmla="*/ 184 h 633"/>
                <a:gd name="T86" fmla="*/ 132 w 636"/>
                <a:gd name="T87" fmla="*/ 144 h 633"/>
                <a:gd name="T88" fmla="*/ 200 w 636"/>
                <a:gd name="T89" fmla="*/ 93 h 633"/>
                <a:gd name="T90" fmla="*/ 246 w 636"/>
                <a:gd name="T91" fmla="*/ 74 h 633"/>
                <a:gd name="T92" fmla="*/ 296 w 636"/>
                <a:gd name="T93" fmla="*/ 0 h 633"/>
                <a:gd name="T94" fmla="*/ 367 w 636"/>
                <a:gd name="T95" fmla="*/ 67 h 633"/>
                <a:gd name="T96" fmla="*/ 444 w 636"/>
                <a:gd name="T97" fmla="*/ 25 h 633"/>
                <a:gd name="T98" fmla="*/ 478 w 636"/>
                <a:gd name="T99" fmla="*/ 116 h 633"/>
                <a:gd name="T100" fmla="*/ 574 w 636"/>
                <a:gd name="T101" fmla="*/ 126 h 633"/>
                <a:gd name="T102" fmla="*/ 550 w 636"/>
                <a:gd name="T103" fmla="*/ 205 h 633"/>
                <a:gd name="T104" fmla="*/ 567 w 636"/>
                <a:gd name="T105" fmla="*/ 245 h 633"/>
                <a:gd name="T106" fmla="*/ 577 w 636"/>
                <a:gd name="T107" fmla="*/ 329 h 633"/>
                <a:gd name="T108" fmla="*/ 571 w 636"/>
                <a:gd name="T109" fmla="*/ 377 h 633"/>
                <a:gd name="T110" fmla="*/ 537 w 636"/>
                <a:gd name="T111" fmla="*/ 456 h 633"/>
                <a:gd name="T112" fmla="*/ 509 w 636"/>
                <a:gd name="T113" fmla="*/ 493 h 633"/>
                <a:gd name="T114" fmla="*/ 495 w 636"/>
                <a:gd name="T115" fmla="*/ 581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6" h="633">
                  <a:moveTo>
                    <a:pt x="135" y="316"/>
                  </a:moveTo>
                  <a:lnTo>
                    <a:pt x="135" y="325"/>
                  </a:lnTo>
                  <a:lnTo>
                    <a:pt x="136" y="335"/>
                  </a:lnTo>
                  <a:lnTo>
                    <a:pt x="137" y="344"/>
                  </a:lnTo>
                  <a:lnTo>
                    <a:pt x="139" y="354"/>
                  </a:lnTo>
                  <a:lnTo>
                    <a:pt x="141" y="362"/>
                  </a:lnTo>
                  <a:lnTo>
                    <a:pt x="143" y="371"/>
                  </a:lnTo>
                  <a:lnTo>
                    <a:pt x="146" y="379"/>
                  </a:lnTo>
                  <a:lnTo>
                    <a:pt x="149" y="388"/>
                  </a:lnTo>
                  <a:lnTo>
                    <a:pt x="151" y="392"/>
                  </a:lnTo>
                  <a:lnTo>
                    <a:pt x="153" y="396"/>
                  </a:lnTo>
                  <a:lnTo>
                    <a:pt x="157" y="404"/>
                  </a:lnTo>
                  <a:lnTo>
                    <a:pt x="161" y="411"/>
                  </a:lnTo>
                  <a:lnTo>
                    <a:pt x="166" y="419"/>
                  </a:lnTo>
                  <a:lnTo>
                    <a:pt x="171" y="426"/>
                  </a:lnTo>
                  <a:lnTo>
                    <a:pt x="177" y="432"/>
                  </a:lnTo>
                  <a:lnTo>
                    <a:pt x="182" y="439"/>
                  </a:lnTo>
                  <a:lnTo>
                    <a:pt x="189" y="445"/>
                  </a:lnTo>
                  <a:lnTo>
                    <a:pt x="196" y="451"/>
                  </a:lnTo>
                  <a:lnTo>
                    <a:pt x="202" y="457"/>
                  </a:lnTo>
                  <a:lnTo>
                    <a:pt x="209" y="462"/>
                  </a:lnTo>
                  <a:lnTo>
                    <a:pt x="216" y="468"/>
                  </a:lnTo>
                  <a:lnTo>
                    <a:pt x="223" y="472"/>
                  </a:lnTo>
                  <a:lnTo>
                    <a:pt x="231" y="477"/>
                  </a:lnTo>
                  <a:lnTo>
                    <a:pt x="247" y="484"/>
                  </a:lnTo>
                  <a:lnTo>
                    <a:pt x="255" y="487"/>
                  </a:lnTo>
                  <a:lnTo>
                    <a:pt x="264" y="490"/>
                  </a:lnTo>
                  <a:lnTo>
                    <a:pt x="272" y="493"/>
                  </a:lnTo>
                  <a:lnTo>
                    <a:pt x="281" y="495"/>
                  </a:lnTo>
                  <a:lnTo>
                    <a:pt x="290" y="496"/>
                  </a:lnTo>
                  <a:lnTo>
                    <a:pt x="299" y="498"/>
                  </a:lnTo>
                  <a:lnTo>
                    <a:pt x="308" y="498"/>
                  </a:lnTo>
                  <a:lnTo>
                    <a:pt x="319" y="499"/>
                  </a:lnTo>
                  <a:lnTo>
                    <a:pt x="328" y="498"/>
                  </a:lnTo>
                  <a:lnTo>
                    <a:pt x="337" y="498"/>
                  </a:lnTo>
                  <a:lnTo>
                    <a:pt x="346" y="496"/>
                  </a:lnTo>
                  <a:lnTo>
                    <a:pt x="355" y="495"/>
                  </a:lnTo>
                  <a:lnTo>
                    <a:pt x="364" y="493"/>
                  </a:lnTo>
                  <a:lnTo>
                    <a:pt x="372" y="490"/>
                  </a:lnTo>
                  <a:lnTo>
                    <a:pt x="381" y="487"/>
                  </a:lnTo>
                  <a:lnTo>
                    <a:pt x="389" y="484"/>
                  </a:lnTo>
                  <a:lnTo>
                    <a:pt x="393" y="482"/>
                  </a:lnTo>
                  <a:lnTo>
                    <a:pt x="397" y="481"/>
                  </a:lnTo>
                  <a:lnTo>
                    <a:pt x="405" y="477"/>
                  </a:lnTo>
                  <a:lnTo>
                    <a:pt x="413" y="472"/>
                  </a:lnTo>
                  <a:lnTo>
                    <a:pt x="420" y="468"/>
                  </a:lnTo>
                  <a:lnTo>
                    <a:pt x="427" y="462"/>
                  </a:lnTo>
                  <a:lnTo>
                    <a:pt x="434" y="457"/>
                  </a:lnTo>
                  <a:lnTo>
                    <a:pt x="442" y="451"/>
                  </a:lnTo>
                  <a:lnTo>
                    <a:pt x="448" y="445"/>
                  </a:lnTo>
                  <a:lnTo>
                    <a:pt x="454" y="439"/>
                  </a:lnTo>
                  <a:lnTo>
                    <a:pt x="460" y="432"/>
                  </a:lnTo>
                  <a:lnTo>
                    <a:pt x="465" y="426"/>
                  </a:lnTo>
                  <a:lnTo>
                    <a:pt x="470" y="419"/>
                  </a:lnTo>
                  <a:lnTo>
                    <a:pt x="475" y="411"/>
                  </a:lnTo>
                  <a:lnTo>
                    <a:pt x="479" y="404"/>
                  </a:lnTo>
                  <a:lnTo>
                    <a:pt x="487" y="388"/>
                  </a:lnTo>
                  <a:lnTo>
                    <a:pt x="490" y="379"/>
                  </a:lnTo>
                  <a:lnTo>
                    <a:pt x="493" y="371"/>
                  </a:lnTo>
                  <a:lnTo>
                    <a:pt x="495" y="362"/>
                  </a:lnTo>
                  <a:lnTo>
                    <a:pt x="497" y="354"/>
                  </a:lnTo>
                  <a:lnTo>
                    <a:pt x="499" y="344"/>
                  </a:lnTo>
                  <a:lnTo>
                    <a:pt x="500" y="335"/>
                  </a:lnTo>
                  <a:lnTo>
                    <a:pt x="501" y="325"/>
                  </a:lnTo>
                  <a:lnTo>
                    <a:pt x="501" y="316"/>
                  </a:lnTo>
                  <a:lnTo>
                    <a:pt x="501" y="307"/>
                  </a:lnTo>
                  <a:lnTo>
                    <a:pt x="500" y="298"/>
                  </a:lnTo>
                  <a:lnTo>
                    <a:pt x="499" y="288"/>
                  </a:lnTo>
                  <a:lnTo>
                    <a:pt x="497" y="279"/>
                  </a:lnTo>
                  <a:lnTo>
                    <a:pt x="495" y="271"/>
                  </a:lnTo>
                  <a:lnTo>
                    <a:pt x="493" y="262"/>
                  </a:lnTo>
                  <a:lnTo>
                    <a:pt x="490" y="254"/>
                  </a:lnTo>
                  <a:lnTo>
                    <a:pt x="487" y="245"/>
                  </a:lnTo>
                  <a:lnTo>
                    <a:pt x="485" y="241"/>
                  </a:lnTo>
                  <a:lnTo>
                    <a:pt x="483" y="237"/>
                  </a:lnTo>
                  <a:lnTo>
                    <a:pt x="479" y="230"/>
                  </a:lnTo>
                  <a:lnTo>
                    <a:pt x="475" y="222"/>
                  </a:lnTo>
                  <a:lnTo>
                    <a:pt x="470" y="215"/>
                  </a:lnTo>
                  <a:lnTo>
                    <a:pt x="465" y="207"/>
                  </a:lnTo>
                  <a:lnTo>
                    <a:pt x="460" y="201"/>
                  </a:lnTo>
                  <a:lnTo>
                    <a:pt x="454" y="194"/>
                  </a:lnTo>
                  <a:lnTo>
                    <a:pt x="448" y="188"/>
                  </a:lnTo>
                  <a:lnTo>
                    <a:pt x="442" y="182"/>
                  </a:lnTo>
                  <a:lnTo>
                    <a:pt x="434" y="176"/>
                  </a:lnTo>
                  <a:lnTo>
                    <a:pt x="427" y="171"/>
                  </a:lnTo>
                  <a:lnTo>
                    <a:pt x="420" y="166"/>
                  </a:lnTo>
                  <a:lnTo>
                    <a:pt x="413" y="161"/>
                  </a:lnTo>
                  <a:lnTo>
                    <a:pt x="405" y="157"/>
                  </a:lnTo>
                  <a:lnTo>
                    <a:pt x="389" y="148"/>
                  </a:lnTo>
                  <a:lnTo>
                    <a:pt x="381" y="145"/>
                  </a:lnTo>
                  <a:lnTo>
                    <a:pt x="372" y="142"/>
                  </a:lnTo>
                  <a:lnTo>
                    <a:pt x="364" y="139"/>
                  </a:lnTo>
                  <a:lnTo>
                    <a:pt x="355" y="137"/>
                  </a:lnTo>
                  <a:lnTo>
                    <a:pt x="346" y="136"/>
                  </a:lnTo>
                  <a:lnTo>
                    <a:pt x="337" y="135"/>
                  </a:lnTo>
                  <a:lnTo>
                    <a:pt x="328" y="134"/>
                  </a:lnTo>
                  <a:lnTo>
                    <a:pt x="319" y="134"/>
                  </a:lnTo>
                  <a:lnTo>
                    <a:pt x="308" y="134"/>
                  </a:lnTo>
                  <a:lnTo>
                    <a:pt x="299" y="135"/>
                  </a:lnTo>
                  <a:lnTo>
                    <a:pt x="290" y="136"/>
                  </a:lnTo>
                  <a:lnTo>
                    <a:pt x="281" y="137"/>
                  </a:lnTo>
                  <a:lnTo>
                    <a:pt x="272" y="139"/>
                  </a:lnTo>
                  <a:lnTo>
                    <a:pt x="264" y="142"/>
                  </a:lnTo>
                  <a:lnTo>
                    <a:pt x="255" y="145"/>
                  </a:lnTo>
                  <a:lnTo>
                    <a:pt x="247" y="148"/>
                  </a:lnTo>
                  <a:lnTo>
                    <a:pt x="243" y="150"/>
                  </a:lnTo>
                  <a:lnTo>
                    <a:pt x="239" y="153"/>
                  </a:lnTo>
                  <a:lnTo>
                    <a:pt x="231" y="157"/>
                  </a:lnTo>
                  <a:lnTo>
                    <a:pt x="223" y="161"/>
                  </a:lnTo>
                  <a:lnTo>
                    <a:pt x="216" y="166"/>
                  </a:lnTo>
                  <a:lnTo>
                    <a:pt x="209" y="171"/>
                  </a:lnTo>
                  <a:lnTo>
                    <a:pt x="202" y="176"/>
                  </a:lnTo>
                  <a:lnTo>
                    <a:pt x="196" y="182"/>
                  </a:lnTo>
                  <a:lnTo>
                    <a:pt x="189" y="188"/>
                  </a:lnTo>
                  <a:lnTo>
                    <a:pt x="182" y="194"/>
                  </a:lnTo>
                  <a:lnTo>
                    <a:pt x="177" y="201"/>
                  </a:lnTo>
                  <a:lnTo>
                    <a:pt x="171" y="207"/>
                  </a:lnTo>
                  <a:lnTo>
                    <a:pt x="166" y="215"/>
                  </a:lnTo>
                  <a:lnTo>
                    <a:pt x="161" y="222"/>
                  </a:lnTo>
                  <a:lnTo>
                    <a:pt x="157" y="230"/>
                  </a:lnTo>
                  <a:lnTo>
                    <a:pt x="149" y="245"/>
                  </a:lnTo>
                  <a:lnTo>
                    <a:pt x="146" y="254"/>
                  </a:lnTo>
                  <a:lnTo>
                    <a:pt x="143" y="262"/>
                  </a:lnTo>
                  <a:lnTo>
                    <a:pt x="141" y="271"/>
                  </a:lnTo>
                  <a:lnTo>
                    <a:pt x="139" y="279"/>
                  </a:lnTo>
                  <a:lnTo>
                    <a:pt x="137" y="288"/>
                  </a:lnTo>
                  <a:lnTo>
                    <a:pt x="136" y="298"/>
                  </a:lnTo>
                  <a:lnTo>
                    <a:pt x="135" y="307"/>
                  </a:lnTo>
                  <a:lnTo>
                    <a:pt x="135" y="316"/>
                  </a:lnTo>
                  <a:close/>
                  <a:moveTo>
                    <a:pt x="495" y="581"/>
                  </a:moveTo>
                  <a:lnTo>
                    <a:pt x="441" y="545"/>
                  </a:lnTo>
                  <a:lnTo>
                    <a:pt x="429" y="551"/>
                  </a:lnTo>
                  <a:lnTo>
                    <a:pt x="419" y="556"/>
                  </a:lnTo>
                  <a:lnTo>
                    <a:pt x="408" y="560"/>
                  </a:lnTo>
                  <a:lnTo>
                    <a:pt x="396" y="564"/>
                  </a:lnTo>
                  <a:lnTo>
                    <a:pt x="382" y="628"/>
                  </a:lnTo>
                  <a:lnTo>
                    <a:pt x="362" y="631"/>
                  </a:lnTo>
                  <a:lnTo>
                    <a:pt x="342" y="633"/>
                  </a:lnTo>
                  <a:lnTo>
                    <a:pt x="311" y="575"/>
                  </a:lnTo>
                  <a:lnTo>
                    <a:pt x="299" y="575"/>
                  </a:lnTo>
                  <a:lnTo>
                    <a:pt x="287" y="573"/>
                  </a:lnTo>
                  <a:lnTo>
                    <a:pt x="275" y="572"/>
                  </a:lnTo>
                  <a:lnTo>
                    <a:pt x="263" y="569"/>
                  </a:lnTo>
                  <a:lnTo>
                    <a:pt x="219" y="618"/>
                  </a:lnTo>
                  <a:lnTo>
                    <a:pt x="209" y="615"/>
                  </a:lnTo>
                  <a:lnTo>
                    <a:pt x="200" y="612"/>
                  </a:lnTo>
                  <a:lnTo>
                    <a:pt x="181" y="604"/>
                  </a:lnTo>
                  <a:lnTo>
                    <a:pt x="184" y="536"/>
                  </a:lnTo>
                  <a:lnTo>
                    <a:pt x="174" y="530"/>
                  </a:lnTo>
                  <a:lnTo>
                    <a:pt x="164" y="522"/>
                  </a:lnTo>
                  <a:lnTo>
                    <a:pt x="155" y="515"/>
                  </a:lnTo>
                  <a:lnTo>
                    <a:pt x="146" y="507"/>
                  </a:lnTo>
                  <a:lnTo>
                    <a:pt x="80" y="527"/>
                  </a:lnTo>
                  <a:lnTo>
                    <a:pt x="68" y="513"/>
                  </a:lnTo>
                  <a:lnTo>
                    <a:pt x="56" y="498"/>
                  </a:lnTo>
                  <a:lnTo>
                    <a:pt x="94" y="440"/>
                  </a:lnTo>
                  <a:lnTo>
                    <a:pt x="89" y="429"/>
                  </a:lnTo>
                  <a:lnTo>
                    <a:pt x="84" y="418"/>
                  </a:lnTo>
                  <a:lnTo>
                    <a:pt x="79" y="407"/>
                  </a:lnTo>
                  <a:lnTo>
                    <a:pt x="75" y="395"/>
                  </a:lnTo>
                  <a:lnTo>
                    <a:pt x="5" y="380"/>
                  </a:lnTo>
                  <a:lnTo>
                    <a:pt x="2" y="362"/>
                  </a:lnTo>
                  <a:lnTo>
                    <a:pt x="0" y="343"/>
                  </a:lnTo>
                  <a:lnTo>
                    <a:pt x="64" y="311"/>
                  </a:lnTo>
                  <a:lnTo>
                    <a:pt x="65" y="298"/>
                  </a:lnTo>
                  <a:lnTo>
                    <a:pt x="66" y="286"/>
                  </a:lnTo>
                  <a:lnTo>
                    <a:pt x="68" y="274"/>
                  </a:lnTo>
                  <a:lnTo>
                    <a:pt x="70" y="262"/>
                  </a:lnTo>
                  <a:lnTo>
                    <a:pt x="16" y="213"/>
                  </a:lnTo>
                  <a:lnTo>
                    <a:pt x="23" y="197"/>
                  </a:lnTo>
                  <a:lnTo>
                    <a:pt x="30" y="181"/>
                  </a:lnTo>
                  <a:lnTo>
                    <a:pt x="102" y="184"/>
                  </a:lnTo>
                  <a:lnTo>
                    <a:pt x="109" y="174"/>
                  </a:lnTo>
                  <a:lnTo>
                    <a:pt x="116" y="164"/>
                  </a:lnTo>
                  <a:lnTo>
                    <a:pt x="124" y="154"/>
                  </a:lnTo>
                  <a:lnTo>
                    <a:pt x="132" y="144"/>
                  </a:lnTo>
                  <a:lnTo>
                    <a:pt x="111" y="75"/>
                  </a:lnTo>
                  <a:lnTo>
                    <a:pt x="124" y="64"/>
                  </a:lnTo>
                  <a:lnTo>
                    <a:pt x="138" y="54"/>
                  </a:lnTo>
                  <a:lnTo>
                    <a:pt x="200" y="93"/>
                  </a:lnTo>
                  <a:lnTo>
                    <a:pt x="211" y="87"/>
                  </a:lnTo>
                  <a:lnTo>
                    <a:pt x="222" y="82"/>
                  </a:lnTo>
                  <a:lnTo>
                    <a:pt x="234" y="78"/>
                  </a:lnTo>
                  <a:lnTo>
                    <a:pt x="246" y="74"/>
                  </a:lnTo>
                  <a:lnTo>
                    <a:pt x="261" y="4"/>
                  </a:lnTo>
                  <a:lnTo>
                    <a:pt x="270" y="3"/>
                  </a:lnTo>
                  <a:lnTo>
                    <a:pt x="279" y="1"/>
                  </a:lnTo>
                  <a:lnTo>
                    <a:pt x="296" y="0"/>
                  </a:lnTo>
                  <a:lnTo>
                    <a:pt x="330" y="63"/>
                  </a:lnTo>
                  <a:lnTo>
                    <a:pt x="343" y="64"/>
                  </a:lnTo>
                  <a:lnTo>
                    <a:pt x="355" y="65"/>
                  </a:lnTo>
                  <a:lnTo>
                    <a:pt x="367" y="67"/>
                  </a:lnTo>
                  <a:lnTo>
                    <a:pt x="379" y="69"/>
                  </a:lnTo>
                  <a:lnTo>
                    <a:pt x="426" y="18"/>
                  </a:lnTo>
                  <a:lnTo>
                    <a:pt x="435" y="21"/>
                  </a:lnTo>
                  <a:lnTo>
                    <a:pt x="444" y="25"/>
                  </a:lnTo>
                  <a:lnTo>
                    <a:pt x="461" y="32"/>
                  </a:lnTo>
                  <a:lnTo>
                    <a:pt x="458" y="102"/>
                  </a:lnTo>
                  <a:lnTo>
                    <a:pt x="468" y="109"/>
                  </a:lnTo>
                  <a:lnTo>
                    <a:pt x="478" y="116"/>
                  </a:lnTo>
                  <a:lnTo>
                    <a:pt x="487" y="124"/>
                  </a:lnTo>
                  <a:lnTo>
                    <a:pt x="496" y="132"/>
                  </a:lnTo>
                  <a:lnTo>
                    <a:pt x="561" y="111"/>
                  </a:lnTo>
                  <a:lnTo>
                    <a:pt x="574" y="126"/>
                  </a:lnTo>
                  <a:lnTo>
                    <a:pt x="579" y="134"/>
                  </a:lnTo>
                  <a:lnTo>
                    <a:pt x="585" y="142"/>
                  </a:lnTo>
                  <a:lnTo>
                    <a:pt x="547" y="200"/>
                  </a:lnTo>
                  <a:lnTo>
                    <a:pt x="550" y="205"/>
                  </a:lnTo>
                  <a:lnTo>
                    <a:pt x="553" y="211"/>
                  </a:lnTo>
                  <a:lnTo>
                    <a:pt x="558" y="222"/>
                  </a:lnTo>
                  <a:lnTo>
                    <a:pt x="562" y="233"/>
                  </a:lnTo>
                  <a:lnTo>
                    <a:pt x="567" y="245"/>
                  </a:lnTo>
                  <a:lnTo>
                    <a:pt x="631" y="259"/>
                  </a:lnTo>
                  <a:lnTo>
                    <a:pt x="634" y="278"/>
                  </a:lnTo>
                  <a:lnTo>
                    <a:pt x="636" y="298"/>
                  </a:lnTo>
                  <a:lnTo>
                    <a:pt x="577" y="329"/>
                  </a:lnTo>
                  <a:lnTo>
                    <a:pt x="577" y="341"/>
                  </a:lnTo>
                  <a:lnTo>
                    <a:pt x="575" y="354"/>
                  </a:lnTo>
                  <a:lnTo>
                    <a:pt x="574" y="365"/>
                  </a:lnTo>
                  <a:lnTo>
                    <a:pt x="571" y="377"/>
                  </a:lnTo>
                  <a:lnTo>
                    <a:pt x="619" y="421"/>
                  </a:lnTo>
                  <a:lnTo>
                    <a:pt x="612" y="440"/>
                  </a:lnTo>
                  <a:lnTo>
                    <a:pt x="603" y="458"/>
                  </a:lnTo>
                  <a:lnTo>
                    <a:pt x="537" y="456"/>
                  </a:lnTo>
                  <a:lnTo>
                    <a:pt x="531" y="465"/>
                  </a:lnTo>
                  <a:lnTo>
                    <a:pt x="524" y="475"/>
                  </a:lnTo>
                  <a:lnTo>
                    <a:pt x="516" y="484"/>
                  </a:lnTo>
                  <a:lnTo>
                    <a:pt x="509" y="493"/>
                  </a:lnTo>
                  <a:lnTo>
                    <a:pt x="528" y="555"/>
                  </a:lnTo>
                  <a:lnTo>
                    <a:pt x="512" y="569"/>
                  </a:lnTo>
                  <a:lnTo>
                    <a:pt x="504" y="575"/>
                  </a:lnTo>
                  <a:lnTo>
                    <a:pt x="495" y="581"/>
                  </a:lnTo>
                  <a:close/>
                </a:path>
              </a:pathLst>
            </a:custGeom>
            <a:grpFill/>
            <a:ln w="9525" cmpd="sng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13" dirty="0"/>
            </a:p>
          </p:txBody>
        </p:sp>
        <p:sp>
          <p:nvSpPr>
            <p:cNvPr id="628" name="Freeform 52">
              <a:extLst>
                <a:ext uri="{FF2B5EF4-FFF2-40B4-BE49-F238E27FC236}">
                  <a16:creationId xmlns:a16="http://schemas.microsoft.com/office/drawing/2014/main" id="{6439635E-75FC-48C8-897D-A1657EEB0E0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96316" y="3389588"/>
              <a:ext cx="1190428" cy="1181100"/>
            </a:xfrm>
            <a:custGeom>
              <a:avLst/>
              <a:gdLst>
                <a:gd name="T0" fmla="*/ 137 w 636"/>
                <a:gd name="T1" fmla="*/ 344 h 633"/>
                <a:gd name="T2" fmla="*/ 146 w 636"/>
                <a:gd name="T3" fmla="*/ 379 h 633"/>
                <a:gd name="T4" fmla="*/ 157 w 636"/>
                <a:gd name="T5" fmla="*/ 404 h 633"/>
                <a:gd name="T6" fmla="*/ 177 w 636"/>
                <a:gd name="T7" fmla="*/ 432 h 633"/>
                <a:gd name="T8" fmla="*/ 202 w 636"/>
                <a:gd name="T9" fmla="*/ 457 h 633"/>
                <a:gd name="T10" fmla="*/ 231 w 636"/>
                <a:gd name="T11" fmla="*/ 477 h 633"/>
                <a:gd name="T12" fmla="*/ 272 w 636"/>
                <a:gd name="T13" fmla="*/ 493 h 633"/>
                <a:gd name="T14" fmla="*/ 308 w 636"/>
                <a:gd name="T15" fmla="*/ 498 h 633"/>
                <a:gd name="T16" fmla="*/ 346 w 636"/>
                <a:gd name="T17" fmla="*/ 496 h 633"/>
                <a:gd name="T18" fmla="*/ 381 w 636"/>
                <a:gd name="T19" fmla="*/ 487 h 633"/>
                <a:gd name="T20" fmla="*/ 405 w 636"/>
                <a:gd name="T21" fmla="*/ 477 h 633"/>
                <a:gd name="T22" fmla="*/ 434 w 636"/>
                <a:gd name="T23" fmla="*/ 457 h 633"/>
                <a:gd name="T24" fmla="*/ 460 w 636"/>
                <a:gd name="T25" fmla="*/ 432 h 633"/>
                <a:gd name="T26" fmla="*/ 479 w 636"/>
                <a:gd name="T27" fmla="*/ 404 h 633"/>
                <a:gd name="T28" fmla="*/ 495 w 636"/>
                <a:gd name="T29" fmla="*/ 362 h 633"/>
                <a:gd name="T30" fmla="*/ 501 w 636"/>
                <a:gd name="T31" fmla="*/ 325 h 633"/>
                <a:gd name="T32" fmla="*/ 499 w 636"/>
                <a:gd name="T33" fmla="*/ 288 h 633"/>
                <a:gd name="T34" fmla="*/ 490 w 636"/>
                <a:gd name="T35" fmla="*/ 254 h 633"/>
                <a:gd name="T36" fmla="*/ 479 w 636"/>
                <a:gd name="T37" fmla="*/ 230 h 633"/>
                <a:gd name="T38" fmla="*/ 460 w 636"/>
                <a:gd name="T39" fmla="*/ 201 h 633"/>
                <a:gd name="T40" fmla="*/ 434 w 636"/>
                <a:gd name="T41" fmla="*/ 176 h 633"/>
                <a:gd name="T42" fmla="*/ 405 w 636"/>
                <a:gd name="T43" fmla="*/ 157 h 633"/>
                <a:gd name="T44" fmla="*/ 364 w 636"/>
                <a:gd name="T45" fmla="*/ 139 h 633"/>
                <a:gd name="T46" fmla="*/ 328 w 636"/>
                <a:gd name="T47" fmla="*/ 134 h 633"/>
                <a:gd name="T48" fmla="*/ 290 w 636"/>
                <a:gd name="T49" fmla="*/ 136 h 633"/>
                <a:gd name="T50" fmla="*/ 255 w 636"/>
                <a:gd name="T51" fmla="*/ 145 h 633"/>
                <a:gd name="T52" fmla="*/ 231 w 636"/>
                <a:gd name="T53" fmla="*/ 157 h 633"/>
                <a:gd name="T54" fmla="*/ 202 w 636"/>
                <a:gd name="T55" fmla="*/ 176 h 633"/>
                <a:gd name="T56" fmla="*/ 177 w 636"/>
                <a:gd name="T57" fmla="*/ 201 h 633"/>
                <a:gd name="T58" fmla="*/ 157 w 636"/>
                <a:gd name="T59" fmla="*/ 230 h 633"/>
                <a:gd name="T60" fmla="*/ 141 w 636"/>
                <a:gd name="T61" fmla="*/ 271 h 633"/>
                <a:gd name="T62" fmla="*/ 135 w 636"/>
                <a:gd name="T63" fmla="*/ 307 h 633"/>
                <a:gd name="T64" fmla="*/ 429 w 636"/>
                <a:gd name="T65" fmla="*/ 551 h 633"/>
                <a:gd name="T66" fmla="*/ 382 w 636"/>
                <a:gd name="T67" fmla="*/ 628 h 633"/>
                <a:gd name="T68" fmla="*/ 299 w 636"/>
                <a:gd name="T69" fmla="*/ 575 h 633"/>
                <a:gd name="T70" fmla="*/ 219 w 636"/>
                <a:gd name="T71" fmla="*/ 618 h 633"/>
                <a:gd name="T72" fmla="*/ 184 w 636"/>
                <a:gd name="T73" fmla="*/ 536 h 633"/>
                <a:gd name="T74" fmla="*/ 146 w 636"/>
                <a:gd name="T75" fmla="*/ 507 h 633"/>
                <a:gd name="T76" fmla="*/ 94 w 636"/>
                <a:gd name="T77" fmla="*/ 440 h 633"/>
                <a:gd name="T78" fmla="*/ 75 w 636"/>
                <a:gd name="T79" fmla="*/ 395 h 633"/>
                <a:gd name="T80" fmla="*/ 64 w 636"/>
                <a:gd name="T81" fmla="*/ 311 h 633"/>
                <a:gd name="T82" fmla="*/ 70 w 636"/>
                <a:gd name="T83" fmla="*/ 262 h 633"/>
                <a:gd name="T84" fmla="*/ 102 w 636"/>
                <a:gd name="T85" fmla="*/ 184 h 633"/>
                <a:gd name="T86" fmla="*/ 132 w 636"/>
                <a:gd name="T87" fmla="*/ 144 h 633"/>
                <a:gd name="T88" fmla="*/ 200 w 636"/>
                <a:gd name="T89" fmla="*/ 93 h 633"/>
                <a:gd name="T90" fmla="*/ 246 w 636"/>
                <a:gd name="T91" fmla="*/ 74 h 633"/>
                <a:gd name="T92" fmla="*/ 296 w 636"/>
                <a:gd name="T93" fmla="*/ 0 h 633"/>
                <a:gd name="T94" fmla="*/ 367 w 636"/>
                <a:gd name="T95" fmla="*/ 67 h 633"/>
                <a:gd name="T96" fmla="*/ 444 w 636"/>
                <a:gd name="T97" fmla="*/ 25 h 633"/>
                <a:gd name="T98" fmla="*/ 478 w 636"/>
                <a:gd name="T99" fmla="*/ 116 h 633"/>
                <a:gd name="T100" fmla="*/ 574 w 636"/>
                <a:gd name="T101" fmla="*/ 126 h 633"/>
                <a:gd name="T102" fmla="*/ 550 w 636"/>
                <a:gd name="T103" fmla="*/ 205 h 633"/>
                <a:gd name="T104" fmla="*/ 567 w 636"/>
                <a:gd name="T105" fmla="*/ 245 h 633"/>
                <a:gd name="T106" fmla="*/ 577 w 636"/>
                <a:gd name="T107" fmla="*/ 329 h 633"/>
                <a:gd name="T108" fmla="*/ 571 w 636"/>
                <a:gd name="T109" fmla="*/ 377 h 633"/>
                <a:gd name="T110" fmla="*/ 537 w 636"/>
                <a:gd name="T111" fmla="*/ 456 h 633"/>
                <a:gd name="T112" fmla="*/ 509 w 636"/>
                <a:gd name="T113" fmla="*/ 493 h 633"/>
                <a:gd name="T114" fmla="*/ 495 w 636"/>
                <a:gd name="T115" fmla="*/ 581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6" h="633">
                  <a:moveTo>
                    <a:pt x="135" y="316"/>
                  </a:moveTo>
                  <a:lnTo>
                    <a:pt x="135" y="325"/>
                  </a:lnTo>
                  <a:lnTo>
                    <a:pt x="136" y="335"/>
                  </a:lnTo>
                  <a:lnTo>
                    <a:pt x="137" y="344"/>
                  </a:lnTo>
                  <a:lnTo>
                    <a:pt x="139" y="354"/>
                  </a:lnTo>
                  <a:lnTo>
                    <a:pt x="141" y="362"/>
                  </a:lnTo>
                  <a:lnTo>
                    <a:pt x="143" y="371"/>
                  </a:lnTo>
                  <a:lnTo>
                    <a:pt x="146" y="379"/>
                  </a:lnTo>
                  <a:lnTo>
                    <a:pt x="149" y="388"/>
                  </a:lnTo>
                  <a:lnTo>
                    <a:pt x="151" y="392"/>
                  </a:lnTo>
                  <a:lnTo>
                    <a:pt x="153" y="396"/>
                  </a:lnTo>
                  <a:lnTo>
                    <a:pt x="157" y="404"/>
                  </a:lnTo>
                  <a:lnTo>
                    <a:pt x="161" y="411"/>
                  </a:lnTo>
                  <a:lnTo>
                    <a:pt x="166" y="419"/>
                  </a:lnTo>
                  <a:lnTo>
                    <a:pt x="171" y="426"/>
                  </a:lnTo>
                  <a:lnTo>
                    <a:pt x="177" y="432"/>
                  </a:lnTo>
                  <a:lnTo>
                    <a:pt x="182" y="439"/>
                  </a:lnTo>
                  <a:lnTo>
                    <a:pt x="189" y="445"/>
                  </a:lnTo>
                  <a:lnTo>
                    <a:pt x="196" y="451"/>
                  </a:lnTo>
                  <a:lnTo>
                    <a:pt x="202" y="457"/>
                  </a:lnTo>
                  <a:lnTo>
                    <a:pt x="209" y="462"/>
                  </a:lnTo>
                  <a:lnTo>
                    <a:pt x="216" y="468"/>
                  </a:lnTo>
                  <a:lnTo>
                    <a:pt x="223" y="472"/>
                  </a:lnTo>
                  <a:lnTo>
                    <a:pt x="231" y="477"/>
                  </a:lnTo>
                  <a:lnTo>
                    <a:pt x="247" y="484"/>
                  </a:lnTo>
                  <a:lnTo>
                    <a:pt x="255" y="487"/>
                  </a:lnTo>
                  <a:lnTo>
                    <a:pt x="264" y="490"/>
                  </a:lnTo>
                  <a:lnTo>
                    <a:pt x="272" y="493"/>
                  </a:lnTo>
                  <a:lnTo>
                    <a:pt x="281" y="495"/>
                  </a:lnTo>
                  <a:lnTo>
                    <a:pt x="290" y="496"/>
                  </a:lnTo>
                  <a:lnTo>
                    <a:pt x="299" y="498"/>
                  </a:lnTo>
                  <a:lnTo>
                    <a:pt x="308" y="498"/>
                  </a:lnTo>
                  <a:lnTo>
                    <a:pt x="319" y="499"/>
                  </a:lnTo>
                  <a:lnTo>
                    <a:pt x="328" y="498"/>
                  </a:lnTo>
                  <a:lnTo>
                    <a:pt x="337" y="498"/>
                  </a:lnTo>
                  <a:lnTo>
                    <a:pt x="346" y="496"/>
                  </a:lnTo>
                  <a:lnTo>
                    <a:pt x="355" y="495"/>
                  </a:lnTo>
                  <a:lnTo>
                    <a:pt x="364" y="493"/>
                  </a:lnTo>
                  <a:lnTo>
                    <a:pt x="372" y="490"/>
                  </a:lnTo>
                  <a:lnTo>
                    <a:pt x="381" y="487"/>
                  </a:lnTo>
                  <a:lnTo>
                    <a:pt x="389" y="484"/>
                  </a:lnTo>
                  <a:lnTo>
                    <a:pt x="393" y="482"/>
                  </a:lnTo>
                  <a:lnTo>
                    <a:pt x="397" y="481"/>
                  </a:lnTo>
                  <a:lnTo>
                    <a:pt x="405" y="477"/>
                  </a:lnTo>
                  <a:lnTo>
                    <a:pt x="413" y="472"/>
                  </a:lnTo>
                  <a:lnTo>
                    <a:pt x="420" y="468"/>
                  </a:lnTo>
                  <a:lnTo>
                    <a:pt x="427" y="462"/>
                  </a:lnTo>
                  <a:lnTo>
                    <a:pt x="434" y="457"/>
                  </a:lnTo>
                  <a:lnTo>
                    <a:pt x="442" y="451"/>
                  </a:lnTo>
                  <a:lnTo>
                    <a:pt x="448" y="445"/>
                  </a:lnTo>
                  <a:lnTo>
                    <a:pt x="454" y="439"/>
                  </a:lnTo>
                  <a:lnTo>
                    <a:pt x="460" y="432"/>
                  </a:lnTo>
                  <a:lnTo>
                    <a:pt x="465" y="426"/>
                  </a:lnTo>
                  <a:lnTo>
                    <a:pt x="470" y="419"/>
                  </a:lnTo>
                  <a:lnTo>
                    <a:pt x="475" y="411"/>
                  </a:lnTo>
                  <a:lnTo>
                    <a:pt x="479" y="404"/>
                  </a:lnTo>
                  <a:lnTo>
                    <a:pt x="487" y="388"/>
                  </a:lnTo>
                  <a:lnTo>
                    <a:pt x="490" y="379"/>
                  </a:lnTo>
                  <a:lnTo>
                    <a:pt x="493" y="371"/>
                  </a:lnTo>
                  <a:lnTo>
                    <a:pt x="495" y="362"/>
                  </a:lnTo>
                  <a:lnTo>
                    <a:pt x="497" y="354"/>
                  </a:lnTo>
                  <a:lnTo>
                    <a:pt x="499" y="344"/>
                  </a:lnTo>
                  <a:lnTo>
                    <a:pt x="500" y="335"/>
                  </a:lnTo>
                  <a:lnTo>
                    <a:pt x="501" y="325"/>
                  </a:lnTo>
                  <a:lnTo>
                    <a:pt x="501" y="316"/>
                  </a:lnTo>
                  <a:lnTo>
                    <a:pt x="501" y="307"/>
                  </a:lnTo>
                  <a:lnTo>
                    <a:pt x="500" y="298"/>
                  </a:lnTo>
                  <a:lnTo>
                    <a:pt x="499" y="288"/>
                  </a:lnTo>
                  <a:lnTo>
                    <a:pt x="497" y="279"/>
                  </a:lnTo>
                  <a:lnTo>
                    <a:pt x="495" y="271"/>
                  </a:lnTo>
                  <a:lnTo>
                    <a:pt x="493" y="262"/>
                  </a:lnTo>
                  <a:lnTo>
                    <a:pt x="490" y="254"/>
                  </a:lnTo>
                  <a:lnTo>
                    <a:pt x="487" y="245"/>
                  </a:lnTo>
                  <a:lnTo>
                    <a:pt x="485" y="241"/>
                  </a:lnTo>
                  <a:lnTo>
                    <a:pt x="483" y="237"/>
                  </a:lnTo>
                  <a:lnTo>
                    <a:pt x="479" y="230"/>
                  </a:lnTo>
                  <a:lnTo>
                    <a:pt x="475" y="222"/>
                  </a:lnTo>
                  <a:lnTo>
                    <a:pt x="470" y="215"/>
                  </a:lnTo>
                  <a:lnTo>
                    <a:pt x="465" y="207"/>
                  </a:lnTo>
                  <a:lnTo>
                    <a:pt x="460" y="201"/>
                  </a:lnTo>
                  <a:lnTo>
                    <a:pt x="454" y="194"/>
                  </a:lnTo>
                  <a:lnTo>
                    <a:pt x="448" y="188"/>
                  </a:lnTo>
                  <a:lnTo>
                    <a:pt x="442" y="182"/>
                  </a:lnTo>
                  <a:lnTo>
                    <a:pt x="434" y="176"/>
                  </a:lnTo>
                  <a:lnTo>
                    <a:pt x="427" y="171"/>
                  </a:lnTo>
                  <a:lnTo>
                    <a:pt x="420" y="166"/>
                  </a:lnTo>
                  <a:lnTo>
                    <a:pt x="413" y="161"/>
                  </a:lnTo>
                  <a:lnTo>
                    <a:pt x="405" y="157"/>
                  </a:lnTo>
                  <a:lnTo>
                    <a:pt x="389" y="148"/>
                  </a:lnTo>
                  <a:lnTo>
                    <a:pt x="381" y="145"/>
                  </a:lnTo>
                  <a:lnTo>
                    <a:pt x="372" y="142"/>
                  </a:lnTo>
                  <a:lnTo>
                    <a:pt x="364" y="139"/>
                  </a:lnTo>
                  <a:lnTo>
                    <a:pt x="355" y="137"/>
                  </a:lnTo>
                  <a:lnTo>
                    <a:pt x="346" y="136"/>
                  </a:lnTo>
                  <a:lnTo>
                    <a:pt x="337" y="135"/>
                  </a:lnTo>
                  <a:lnTo>
                    <a:pt x="328" y="134"/>
                  </a:lnTo>
                  <a:lnTo>
                    <a:pt x="319" y="134"/>
                  </a:lnTo>
                  <a:lnTo>
                    <a:pt x="308" y="134"/>
                  </a:lnTo>
                  <a:lnTo>
                    <a:pt x="299" y="135"/>
                  </a:lnTo>
                  <a:lnTo>
                    <a:pt x="290" y="136"/>
                  </a:lnTo>
                  <a:lnTo>
                    <a:pt x="281" y="137"/>
                  </a:lnTo>
                  <a:lnTo>
                    <a:pt x="272" y="139"/>
                  </a:lnTo>
                  <a:lnTo>
                    <a:pt x="264" y="142"/>
                  </a:lnTo>
                  <a:lnTo>
                    <a:pt x="255" y="145"/>
                  </a:lnTo>
                  <a:lnTo>
                    <a:pt x="247" y="148"/>
                  </a:lnTo>
                  <a:lnTo>
                    <a:pt x="243" y="150"/>
                  </a:lnTo>
                  <a:lnTo>
                    <a:pt x="239" y="153"/>
                  </a:lnTo>
                  <a:lnTo>
                    <a:pt x="231" y="157"/>
                  </a:lnTo>
                  <a:lnTo>
                    <a:pt x="223" y="161"/>
                  </a:lnTo>
                  <a:lnTo>
                    <a:pt x="216" y="166"/>
                  </a:lnTo>
                  <a:lnTo>
                    <a:pt x="209" y="171"/>
                  </a:lnTo>
                  <a:lnTo>
                    <a:pt x="202" y="176"/>
                  </a:lnTo>
                  <a:lnTo>
                    <a:pt x="196" y="182"/>
                  </a:lnTo>
                  <a:lnTo>
                    <a:pt x="189" y="188"/>
                  </a:lnTo>
                  <a:lnTo>
                    <a:pt x="182" y="194"/>
                  </a:lnTo>
                  <a:lnTo>
                    <a:pt x="177" y="201"/>
                  </a:lnTo>
                  <a:lnTo>
                    <a:pt x="171" y="207"/>
                  </a:lnTo>
                  <a:lnTo>
                    <a:pt x="166" y="215"/>
                  </a:lnTo>
                  <a:lnTo>
                    <a:pt x="161" y="222"/>
                  </a:lnTo>
                  <a:lnTo>
                    <a:pt x="157" y="230"/>
                  </a:lnTo>
                  <a:lnTo>
                    <a:pt x="149" y="245"/>
                  </a:lnTo>
                  <a:lnTo>
                    <a:pt x="146" y="254"/>
                  </a:lnTo>
                  <a:lnTo>
                    <a:pt x="143" y="262"/>
                  </a:lnTo>
                  <a:lnTo>
                    <a:pt x="141" y="271"/>
                  </a:lnTo>
                  <a:lnTo>
                    <a:pt x="139" y="279"/>
                  </a:lnTo>
                  <a:lnTo>
                    <a:pt x="137" y="288"/>
                  </a:lnTo>
                  <a:lnTo>
                    <a:pt x="136" y="298"/>
                  </a:lnTo>
                  <a:lnTo>
                    <a:pt x="135" y="307"/>
                  </a:lnTo>
                  <a:lnTo>
                    <a:pt x="135" y="316"/>
                  </a:lnTo>
                  <a:close/>
                  <a:moveTo>
                    <a:pt x="495" y="581"/>
                  </a:moveTo>
                  <a:lnTo>
                    <a:pt x="441" y="545"/>
                  </a:lnTo>
                  <a:lnTo>
                    <a:pt x="429" y="551"/>
                  </a:lnTo>
                  <a:lnTo>
                    <a:pt x="419" y="556"/>
                  </a:lnTo>
                  <a:lnTo>
                    <a:pt x="408" y="560"/>
                  </a:lnTo>
                  <a:lnTo>
                    <a:pt x="396" y="564"/>
                  </a:lnTo>
                  <a:lnTo>
                    <a:pt x="382" y="628"/>
                  </a:lnTo>
                  <a:lnTo>
                    <a:pt x="362" y="631"/>
                  </a:lnTo>
                  <a:lnTo>
                    <a:pt x="342" y="633"/>
                  </a:lnTo>
                  <a:lnTo>
                    <a:pt x="311" y="575"/>
                  </a:lnTo>
                  <a:lnTo>
                    <a:pt x="299" y="575"/>
                  </a:lnTo>
                  <a:lnTo>
                    <a:pt x="287" y="573"/>
                  </a:lnTo>
                  <a:lnTo>
                    <a:pt x="275" y="572"/>
                  </a:lnTo>
                  <a:lnTo>
                    <a:pt x="263" y="569"/>
                  </a:lnTo>
                  <a:lnTo>
                    <a:pt x="219" y="618"/>
                  </a:lnTo>
                  <a:lnTo>
                    <a:pt x="209" y="615"/>
                  </a:lnTo>
                  <a:lnTo>
                    <a:pt x="200" y="612"/>
                  </a:lnTo>
                  <a:lnTo>
                    <a:pt x="181" y="604"/>
                  </a:lnTo>
                  <a:lnTo>
                    <a:pt x="184" y="536"/>
                  </a:lnTo>
                  <a:lnTo>
                    <a:pt x="174" y="530"/>
                  </a:lnTo>
                  <a:lnTo>
                    <a:pt x="164" y="522"/>
                  </a:lnTo>
                  <a:lnTo>
                    <a:pt x="155" y="515"/>
                  </a:lnTo>
                  <a:lnTo>
                    <a:pt x="146" y="507"/>
                  </a:lnTo>
                  <a:lnTo>
                    <a:pt x="80" y="527"/>
                  </a:lnTo>
                  <a:lnTo>
                    <a:pt x="68" y="513"/>
                  </a:lnTo>
                  <a:lnTo>
                    <a:pt x="56" y="498"/>
                  </a:lnTo>
                  <a:lnTo>
                    <a:pt x="94" y="440"/>
                  </a:lnTo>
                  <a:lnTo>
                    <a:pt x="89" y="429"/>
                  </a:lnTo>
                  <a:lnTo>
                    <a:pt x="84" y="418"/>
                  </a:lnTo>
                  <a:lnTo>
                    <a:pt x="79" y="407"/>
                  </a:lnTo>
                  <a:lnTo>
                    <a:pt x="75" y="395"/>
                  </a:lnTo>
                  <a:lnTo>
                    <a:pt x="5" y="380"/>
                  </a:lnTo>
                  <a:lnTo>
                    <a:pt x="2" y="362"/>
                  </a:lnTo>
                  <a:lnTo>
                    <a:pt x="0" y="343"/>
                  </a:lnTo>
                  <a:lnTo>
                    <a:pt x="64" y="311"/>
                  </a:lnTo>
                  <a:lnTo>
                    <a:pt x="65" y="298"/>
                  </a:lnTo>
                  <a:lnTo>
                    <a:pt x="66" y="286"/>
                  </a:lnTo>
                  <a:lnTo>
                    <a:pt x="68" y="274"/>
                  </a:lnTo>
                  <a:lnTo>
                    <a:pt x="70" y="262"/>
                  </a:lnTo>
                  <a:lnTo>
                    <a:pt x="16" y="213"/>
                  </a:lnTo>
                  <a:lnTo>
                    <a:pt x="23" y="197"/>
                  </a:lnTo>
                  <a:lnTo>
                    <a:pt x="30" y="181"/>
                  </a:lnTo>
                  <a:lnTo>
                    <a:pt x="102" y="184"/>
                  </a:lnTo>
                  <a:lnTo>
                    <a:pt x="109" y="174"/>
                  </a:lnTo>
                  <a:lnTo>
                    <a:pt x="116" y="164"/>
                  </a:lnTo>
                  <a:lnTo>
                    <a:pt x="124" y="154"/>
                  </a:lnTo>
                  <a:lnTo>
                    <a:pt x="132" y="144"/>
                  </a:lnTo>
                  <a:lnTo>
                    <a:pt x="111" y="75"/>
                  </a:lnTo>
                  <a:lnTo>
                    <a:pt x="124" y="64"/>
                  </a:lnTo>
                  <a:lnTo>
                    <a:pt x="138" y="54"/>
                  </a:lnTo>
                  <a:lnTo>
                    <a:pt x="200" y="93"/>
                  </a:lnTo>
                  <a:lnTo>
                    <a:pt x="211" y="87"/>
                  </a:lnTo>
                  <a:lnTo>
                    <a:pt x="222" y="82"/>
                  </a:lnTo>
                  <a:lnTo>
                    <a:pt x="234" y="78"/>
                  </a:lnTo>
                  <a:lnTo>
                    <a:pt x="246" y="74"/>
                  </a:lnTo>
                  <a:lnTo>
                    <a:pt x="261" y="4"/>
                  </a:lnTo>
                  <a:lnTo>
                    <a:pt x="270" y="3"/>
                  </a:lnTo>
                  <a:lnTo>
                    <a:pt x="279" y="1"/>
                  </a:lnTo>
                  <a:lnTo>
                    <a:pt x="296" y="0"/>
                  </a:lnTo>
                  <a:lnTo>
                    <a:pt x="330" y="63"/>
                  </a:lnTo>
                  <a:lnTo>
                    <a:pt x="343" y="64"/>
                  </a:lnTo>
                  <a:lnTo>
                    <a:pt x="355" y="65"/>
                  </a:lnTo>
                  <a:lnTo>
                    <a:pt x="367" y="67"/>
                  </a:lnTo>
                  <a:lnTo>
                    <a:pt x="379" y="69"/>
                  </a:lnTo>
                  <a:lnTo>
                    <a:pt x="426" y="18"/>
                  </a:lnTo>
                  <a:lnTo>
                    <a:pt x="435" y="21"/>
                  </a:lnTo>
                  <a:lnTo>
                    <a:pt x="444" y="25"/>
                  </a:lnTo>
                  <a:lnTo>
                    <a:pt x="461" y="32"/>
                  </a:lnTo>
                  <a:lnTo>
                    <a:pt x="458" y="102"/>
                  </a:lnTo>
                  <a:lnTo>
                    <a:pt x="468" y="109"/>
                  </a:lnTo>
                  <a:lnTo>
                    <a:pt x="478" y="116"/>
                  </a:lnTo>
                  <a:lnTo>
                    <a:pt x="487" y="124"/>
                  </a:lnTo>
                  <a:lnTo>
                    <a:pt x="496" y="132"/>
                  </a:lnTo>
                  <a:lnTo>
                    <a:pt x="561" y="111"/>
                  </a:lnTo>
                  <a:lnTo>
                    <a:pt x="574" y="126"/>
                  </a:lnTo>
                  <a:lnTo>
                    <a:pt x="579" y="134"/>
                  </a:lnTo>
                  <a:lnTo>
                    <a:pt x="585" y="142"/>
                  </a:lnTo>
                  <a:lnTo>
                    <a:pt x="547" y="200"/>
                  </a:lnTo>
                  <a:lnTo>
                    <a:pt x="550" y="205"/>
                  </a:lnTo>
                  <a:lnTo>
                    <a:pt x="553" y="211"/>
                  </a:lnTo>
                  <a:lnTo>
                    <a:pt x="558" y="222"/>
                  </a:lnTo>
                  <a:lnTo>
                    <a:pt x="562" y="233"/>
                  </a:lnTo>
                  <a:lnTo>
                    <a:pt x="567" y="245"/>
                  </a:lnTo>
                  <a:lnTo>
                    <a:pt x="631" y="259"/>
                  </a:lnTo>
                  <a:lnTo>
                    <a:pt x="634" y="278"/>
                  </a:lnTo>
                  <a:lnTo>
                    <a:pt x="636" y="298"/>
                  </a:lnTo>
                  <a:lnTo>
                    <a:pt x="577" y="329"/>
                  </a:lnTo>
                  <a:lnTo>
                    <a:pt x="577" y="341"/>
                  </a:lnTo>
                  <a:lnTo>
                    <a:pt x="575" y="354"/>
                  </a:lnTo>
                  <a:lnTo>
                    <a:pt x="574" y="365"/>
                  </a:lnTo>
                  <a:lnTo>
                    <a:pt x="571" y="377"/>
                  </a:lnTo>
                  <a:lnTo>
                    <a:pt x="619" y="421"/>
                  </a:lnTo>
                  <a:lnTo>
                    <a:pt x="612" y="440"/>
                  </a:lnTo>
                  <a:lnTo>
                    <a:pt x="603" y="458"/>
                  </a:lnTo>
                  <a:lnTo>
                    <a:pt x="537" y="456"/>
                  </a:lnTo>
                  <a:lnTo>
                    <a:pt x="531" y="465"/>
                  </a:lnTo>
                  <a:lnTo>
                    <a:pt x="524" y="475"/>
                  </a:lnTo>
                  <a:lnTo>
                    <a:pt x="516" y="484"/>
                  </a:lnTo>
                  <a:lnTo>
                    <a:pt x="509" y="493"/>
                  </a:lnTo>
                  <a:lnTo>
                    <a:pt x="528" y="555"/>
                  </a:lnTo>
                  <a:lnTo>
                    <a:pt x="512" y="569"/>
                  </a:lnTo>
                  <a:lnTo>
                    <a:pt x="504" y="575"/>
                  </a:lnTo>
                  <a:lnTo>
                    <a:pt x="495" y="581"/>
                  </a:lnTo>
                  <a:close/>
                </a:path>
              </a:pathLst>
            </a:custGeom>
            <a:solidFill>
              <a:schemeClr val="bg1"/>
            </a:solidFill>
            <a:ln w="9525" cmpd="sng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13" dirty="0"/>
            </a:p>
          </p:txBody>
        </p:sp>
        <p:sp>
          <p:nvSpPr>
            <p:cNvPr id="629" name="Freeform 52">
              <a:extLst>
                <a:ext uri="{FF2B5EF4-FFF2-40B4-BE49-F238E27FC236}">
                  <a16:creationId xmlns:a16="http://schemas.microsoft.com/office/drawing/2014/main" id="{ACD406DA-370A-4073-B791-D37FBAC420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99627" y="3376005"/>
              <a:ext cx="1190428" cy="1181100"/>
            </a:xfrm>
            <a:custGeom>
              <a:avLst/>
              <a:gdLst>
                <a:gd name="T0" fmla="*/ 137 w 636"/>
                <a:gd name="T1" fmla="*/ 344 h 633"/>
                <a:gd name="T2" fmla="*/ 146 w 636"/>
                <a:gd name="T3" fmla="*/ 379 h 633"/>
                <a:gd name="T4" fmla="*/ 157 w 636"/>
                <a:gd name="T5" fmla="*/ 404 h 633"/>
                <a:gd name="T6" fmla="*/ 177 w 636"/>
                <a:gd name="T7" fmla="*/ 432 h 633"/>
                <a:gd name="T8" fmla="*/ 202 w 636"/>
                <a:gd name="T9" fmla="*/ 457 h 633"/>
                <a:gd name="T10" fmla="*/ 231 w 636"/>
                <a:gd name="T11" fmla="*/ 477 h 633"/>
                <a:gd name="T12" fmla="*/ 272 w 636"/>
                <a:gd name="T13" fmla="*/ 493 h 633"/>
                <a:gd name="T14" fmla="*/ 308 w 636"/>
                <a:gd name="T15" fmla="*/ 498 h 633"/>
                <a:gd name="T16" fmla="*/ 346 w 636"/>
                <a:gd name="T17" fmla="*/ 496 h 633"/>
                <a:gd name="T18" fmla="*/ 381 w 636"/>
                <a:gd name="T19" fmla="*/ 487 h 633"/>
                <a:gd name="T20" fmla="*/ 405 w 636"/>
                <a:gd name="T21" fmla="*/ 477 h 633"/>
                <a:gd name="T22" fmla="*/ 434 w 636"/>
                <a:gd name="T23" fmla="*/ 457 h 633"/>
                <a:gd name="T24" fmla="*/ 460 w 636"/>
                <a:gd name="T25" fmla="*/ 432 h 633"/>
                <a:gd name="T26" fmla="*/ 479 w 636"/>
                <a:gd name="T27" fmla="*/ 404 h 633"/>
                <a:gd name="T28" fmla="*/ 495 w 636"/>
                <a:gd name="T29" fmla="*/ 362 h 633"/>
                <a:gd name="T30" fmla="*/ 501 w 636"/>
                <a:gd name="T31" fmla="*/ 325 h 633"/>
                <a:gd name="T32" fmla="*/ 499 w 636"/>
                <a:gd name="T33" fmla="*/ 288 h 633"/>
                <a:gd name="T34" fmla="*/ 490 w 636"/>
                <a:gd name="T35" fmla="*/ 254 h 633"/>
                <a:gd name="T36" fmla="*/ 479 w 636"/>
                <a:gd name="T37" fmla="*/ 230 h 633"/>
                <a:gd name="T38" fmla="*/ 460 w 636"/>
                <a:gd name="T39" fmla="*/ 201 h 633"/>
                <a:gd name="T40" fmla="*/ 434 w 636"/>
                <a:gd name="T41" fmla="*/ 176 h 633"/>
                <a:gd name="T42" fmla="*/ 405 w 636"/>
                <a:gd name="T43" fmla="*/ 157 h 633"/>
                <a:gd name="T44" fmla="*/ 364 w 636"/>
                <a:gd name="T45" fmla="*/ 139 h 633"/>
                <a:gd name="T46" fmla="*/ 328 w 636"/>
                <a:gd name="T47" fmla="*/ 134 h 633"/>
                <a:gd name="T48" fmla="*/ 290 w 636"/>
                <a:gd name="T49" fmla="*/ 136 h 633"/>
                <a:gd name="T50" fmla="*/ 255 w 636"/>
                <a:gd name="T51" fmla="*/ 145 h 633"/>
                <a:gd name="T52" fmla="*/ 231 w 636"/>
                <a:gd name="T53" fmla="*/ 157 h 633"/>
                <a:gd name="T54" fmla="*/ 202 w 636"/>
                <a:gd name="T55" fmla="*/ 176 h 633"/>
                <a:gd name="T56" fmla="*/ 177 w 636"/>
                <a:gd name="T57" fmla="*/ 201 h 633"/>
                <a:gd name="T58" fmla="*/ 157 w 636"/>
                <a:gd name="T59" fmla="*/ 230 h 633"/>
                <a:gd name="T60" fmla="*/ 141 w 636"/>
                <a:gd name="T61" fmla="*/ 271 h 633"/>
                <a:gd name="T62" fmla="*/ 135 w 636"/>
                <a:gd name="T63" fmla="*/ 307 h 633"/>
                <a:gd name="T64" fmla="*/ 429 w 636"/>
                <a:gd name="T65" fmla="*/ 551 h 633"/>
                <a:gd name="T66" fmla="*/ 382 w 636"/>
                <a:gd name="T67" fmla="*/ 628 h 633"/>
                <a:gd name="T68" fmla="*/ 299 w 636"/>
                <a:gd name="T69" fmla="*/ 575 h 633"/>
                <a:gd name="T70" fmla="*/ 219 w 636"/>
                <a:gd name="T71" fmla="*/ 618 h 633"/>
                <a:gd name="T72" fmla="*/ 184 w 636"/>
                <a:gd name="T73" fmla="*/ 536 h 633"/>
                <a:gd name="T74" fmla="*/ 146 w 636"/>
                <a:gd name="T75" fmla="*/ 507 h 633"/>
                <a:gd name="T76" fmla="*/ 94 w 636"/>
                <a:gd name="T77" fmla="*/ 440 h 633"/>
                <a:gd name="T78" fmla="*/ 75 w 636"/>
                <a:gd name="T79" fmla="*/ 395 h 633"/>
                <a:gd name="T80" fmla="*/ 64 w 636"/>
                <a:gd name="T81" fmla="*/ 311 h 633"/>
                <a:gd name="T82" fmla="*/ 70 w 636"/>
                <a:gd name="T83" fmla="*/ 262 h 633"/>
                <a:gd name="T84" fmla="*/ 102 w 636"/>
                <a:gd name="T85" fmla="*/ 184 h 633"/>
                <a:gd name="T86" fmla="*/ 132 w 636"/>
                <a:gd name="T87" fmla="*/ 144 h 633"/>
                <a:gd name="T88" fmla="*/ 200 w 636"/>
                <a:gd name="T89" fmla="*/ 93 h 633"/>
                <a:gd name="T90" fmla="*/ 246 w 636"/>
                <a:gd name="T91" fmla="*/ 74 h 633"/>
                <a:gd name="T92" fmla="*/ 296 w 636"/>
                <a:gd name="T93" fmla="*/ 0 h 633"/>
                <a:gd name="T94" fmla="*/ 367 w 636"/>
                <a:gd name="T95" fmla="*/ 67 h 633"/>
                <a:gd name="T96" fmla="*/ 444 w 636"/>
                <a:gd name="T97" fmla="*/ 25 h 633"/>
                <a:gd name="T98" fmla="*/ 478 w 636"/>
                <a:gd name="T99" fmla="*/ 116 h 633"/>
                <a:gd name="T100" fmla="*/ 574 w 636"/>
                <a:gd name="T101" fmla="*/ 126 h 633"/>
                <a:gd name="T102" fmla="*/ 550 w 636"/>
                <a:gd name="T103" fmla="*/ 205 h 633"/>
                <a:gd name="T104" fmla="*/ 567 w 636"/>
                <a:gd name="T105" fmla="*/ 245 h 633"/>
                <a:gd name="T106" fmla="*/ 577 w 636"/>
                <a:gd name="T107" fmla="*/ 329 h 633"/>
                <a:gd name="T108" fmla="*/ 571 w 636"/>
                <a:gd name="T109" fmla="*/ 377 h 633"/>
                <a:gd name="T110" fmla="*/ 537 w 636"/>
                <a:gd name="T111" fmla="*/ 456 h 633"/>
                <a:gd name="T112" fmla="*/ 509 w 636"/>
                <a:gd name="T113" fmla="*/ 493 h 633"/>
                <a:gd name="T114" fmla="*/ 495 w 636"/>
                <a:gd name="T115" fmla="*/ 581 h 6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36" h="633">
                  <a:moveTo>
                    <a:pt x="135" y="316"/>
                  </a:moveTo>
                  <a:lnTo>
                    <a:pt x="135" y="325"/>
                  </a:lnTo>
                  <a:lnTo>
                    <a:pt x="136" y="335"/>
                  </a:lnTo>
                  <a:lnTo>
                    <a:pt x="137" y="344"/>
                  </a:lnTo>
                  <a:lnTo>
                    <a:pt x="139" y="354"/>
                  </a:lnTo>
                  <a:lnTo>
                    <a:pt x="141" y="362"/>
                  </a:lnTo>
                  <a:lnTo>
                    <a:pt x="143" y="371"/>
                  </a:lnTo>
                  <a:lnTo>
                    <a:pt x="146" y="379"/>
                  </a:lnTo>
                  <a:lnTo>
                    <a:pt x="149" y="388"/>
                  </a:lnTo>
                  <a:lnTo>
                    <a:pt x="151" y="392"/>
                  </a:lnTo>
                  <a:lnTo>
                    <a:pt x="153" y="396"/>
                  </a:lnTo>
                  <a:lnTo>
                    <a:pt x="157" y="404"/>
                  </a:lnTo>
                  <a:lnTo>
                    <a:pt x="161" y="411"/>
                  </a:lnTo>
                  <a:lnTo>
                    <a:pt x="166" y="419"/>
                  </a:lnTo>
                  <a:lnTo>
                    <a:pt x="171" y="426"/>
                  </a:lnTo>
                  <a:lnTo>
                    <a:pt x="177" y="432"/>
                  </a:lnTo>
                  <a:lnTo>
                    <a:pt x="182" y="439"/>
                  </a:lnTo>
                  <a:lnTo>
                    <a:pt x="189" y="445"/>
                  </a:lnTo>
                  <a:lnTo>
                    <a:pt x="196" y="451"/>
                  </a:lnTo>
                  <a:lnTo>
                    <a:pt x="202" y="457"/>
                  </a:lnTo>
                  <a:lnTo>
                    <a:pt x="209" y="462"/>
                  </a:lnTo>
                  <a:lnTo>
                    <a:pt x="216" y="468"/>
                  </a:lnTo>
                  <a:lnTo>
                    <a:pt x="223" y="472"/>
                  </a:lnTo>
                  <a:lnTo>
                    <a:pt x="231" y="477"/>
                  </a:lnTo>
                  <a:lnTo>
                    <a:pt x="247" y="484"/>
                  </a:lnTo>
                  <a:lnTo>
                    <a:pt x="255" y="487"/>
                  </a:lnTo>
                  <a:lnTo>
                    <a:pt x="264" y="490"/>
                  </a:lnTo>
                  <a:lnTo>
                    <a:pt x="272" y="493"/>
                  </a:lnTo>
                  <a:lnTo>
                    <a:pt x="281" y="495"/>
                  </a:lnTo>
                  <a:lnTo>
                    <a:pt x="290" y="496"/>
                  </a:lnTo>
                  <a:lnTo>
                    <a:pt x="299" y="498"/>
                  </a:lnTo>
                  <a:lnTo>
                    <a:pt x="308" y="498"/>
                  </a:lnTo>
                  <a:lnTo>
                    <a:pt x="319" y="499"/>
                  </a:lnTo>
                  <a:lnTo>
                    <a:pt x="328" y="498"/>
                  </a:lnTo>
                  <a:lnTo>
                    <a:pt x="337" y="498"/>
                  </a:lnTo>
                  <a:lnTo>
                    <a:pt x="346" y="496"/>
                  </a:lnTo>
                  <a:lnTo>
                    <a:pt x="355" y="495"/>
                  </a:lnTo>
                  <a:lnTo>
                    <a:pt x="364" y="493"/>
                  </a:lnTo>
                  <a:lnTo>
                    <a:pt x="372" y="490"/>
                  </a:lnTo>
                  <a:lnTo>
                    <a:pt x="381" y="487"/>
                  </a:lnTo>
                  <a:lnTo>
                    <a:pt x="389" y="484"/>
                  </a:lnTo>
                  <a:lnTo>
                    <a:pt x="393" y="482"/>
                  </a:lnTo>
                  <a:lnTo>
                    <a:pt x="397" y="481"/>
                  </a:lnTo>
                  <a:lnTo>
                    <a:pt x="405" y="477"/>
                  </a:lnTo>
                  <a:lnTo>
                    <a:pt x="413" y="472"/>
                  </a:lnTo>
                  <a:lnTo>
                    <a:pt x="420" y="468"/>
                  </a:lnTo>
                  <a:lnTo>
                    <a:pt x="427" y="462"/>
                  </a:lnTo>
                  <a:lnTo>
                    <a:pt x="434" y="457"/>
                  </a:lnTo>
                  <a:lnTo>
                    <a:pt x="442" y="451"/>
                  </a:lnTo>
                  <a:lnTo>
                    <a:pt x="448" y="445"/>
                  </a:lnTo>
                  <a:lnTo>
                    <a:pt x="454" y="439"/>
                  </a:lnTo>
                  <a:lnTo>
                    <a:pt x="460" y="432"/>
                  </a:lnTo>
                  <a:lnTo>
                    <a:pt x="465" y="426"/>
                  </a:lnTo>
                  <a:lnTo>
                    <a:pt x="470" y="419"/>
                  </a:lnTo>
                  <a:lnTo>
                    <a:pt x="475" y="411"/>
                  </a:lnTo>
                  <a:lnTo>
                    <a:pt x="479" y="404"/>
                  </a:lnTo>
                  <a:lnTo>
                    <a:pt x="487" y="388"/>
                  </a:lnTo>
                  <a:lnTo>
                    <a:pt x="490" y="379"/>
                  </a:lnTo>
                  <a:lnTo>
                    <a:pt x="493" y="371"/>
                  </a:lnTo>
                  <a:lnTo>
                    <a:pt x="495" y="362"/>
                  </a:lnTo>
                  <a:lnTo>
                    <a:pt x="497" y="354"/>
                  </a:lnTo>
                  <a:lnTo>
                    <a:pt x="499" y="344"/>
                  </a:lnTo>
                  <a:lnTo>
                    <a:pt x="500" y="335"/>
                  </a:lnTo>
                  <a:lnTo>
                    <a:pt x="501" y="325"/>
                  </a:lnTo>
                  <a:lnTo>
                    <a:pt x="501" y="316"/>
                  </a:lnTo>
                  <a:lnTo>
                    <a:pt x="501" y="307"/>
                  </a:lnTo>
                  <a:lnTo>
                    <a:pt x="500" y="298"/>
                  </a:lnTo>
                  <a:lnTo>
                    <a:pt x="499" y="288"/>
                  </a:lnTo>
                  <a:lnTo>
                    <a:pt x="497" y="279"/>
                  </a:lnTo>
                  <a:lnTo>
                    <a:pt x="495" y="271"/>
                  </a:lnTo>
                  <a:lnTo>
                    <a:pt x="493" y="262"/>
                  </a:lnTo>
                  <a:lnTo>
                    <a:pt x="490" y="254"/>
                  </a:lnTo>
                  <a:lnTo>
                    <a:pt x="487" y="245"/>
                  </a:lnTo>
                  <a:lnTo>
                    <a:pt x="485" y="241"/>
                  </a:lnTo>
                  <a:lnTo>
                    <a:pt x="483" y="237"/>
                  </a:lnTo>
                  <a:lnTo>
                    <a:pt x="479" y="230"/>
                  </a:lnTo>
                  <a:lnTo>
                    <a:pt x="475" y="222"/>
                  </a:lnTo>
                  <a:lnTo>
                    <a:pt x="470" y="215"/>
                  </a:lnTo>
                  <a:lnTo>
                    <a:pt x="465" y="207"/>
                  </a:lnTo>
                  <a:lnTo>
                    <a:pt x="460" y="201"/>
                  </a:lnTo>
                  <a:lnTo>
                    <a:pt x="454" y="194"/>
                  </a:lnTo>
                  <a:lnTo>
                    <a:pt x="448" y="188"/>
                  </a:lnTo>
                  <a:lnTo>
                    <a:pt x="442" y="182"/>
                  </a:lnTo>
                  <a:lnTo>
                    <a:pt x="434" y="176"/>
                  </a:lnTo>
                  <a:lnTo>
                    <a:pt x="427" y="171"/>
                  </a:lnTo>
                  <a:lnTo>
                    <a:pt x="420" y="166"/>
                  </a:lnTo>
                  <a:lnTo>
                    <a:pt x="413" y="161"/>
                  </a:lnTo>
                  <a:lnTo>
                    <a:pt x="405" y="157"/>
                  </a:lnTo>
                  <a:lnTo>
                    <a:pt x="389" y="148"/>
                  </a:lnTo>
                  <a:lnTo>
                    <a:pt x="381" y="145"/>
                  </a:lnTo>
                  <a:lnTo>
                    <a:pt x="372" y="142"/>
                  </a:lnTo>
                  <a:lnTo>
                    <a:pt x="364" y="139"/>
                  </a:lnTo>
                  <a:lnTo>
                    <a:pt x="355" y="137"/>
                  </a:lnTo>
                  <a:lnTo>
                    <a:pt x="346" y="136"/>
                  </a:lnTo>
                  <a:lnTo>
                    <a:pt x="337" y="135"/>
                  </a:lnTo>
                  <a:lnTo>
                    <a:pt x="328" y="134"/>
                  </a:lnTo>
                  <a:lnTo>
                    <a:pt x="319" y="134"/>
                  </a:lnTo>
                  <a:lnTo>
                    <a:pt x="308" y="134"/>
                  </a:lnTo>
                  <a:lnTo>
                    <a:pt x="299" y="135"/>
                  </a:lnTo>
                  <a:lnTo>
                    <a:pt x="290" y="136"/>
                  </a:lnTo>
                  <a:lnTo>
                    <a:pt x="281" y="137"/>
                  </a:lnTo>
                  <a:lnTo>
                    <a:pt x="272" y="139"/>
                  </a:lnTo>
                  <a:lnTo>
                    <a:pt x="264" y="142"/>
                  </a:lnTo>
                  <a:lnTo>
                    <a:pt x="255" y="145"/>
                  </a:lnTo>
                  <a:lnTo>
                    <a:pt x="247" y="148"/>
                  </a:lnTo>
                  <a:lnTo>
                    <a:pt x="243" y="150"/>
                  </a:lnTo>
                  <a:lnTo>
                    <a:pt x="239" y="153"/>
                  </a:lnTo>
                  <a:lnTo>
                    <a:pt x="231" y="157"/>
                  </a:lnTo>
                  <a:lnTo>
                    <a:pt x="223" y="161"/>
                  </a:lnTo>
                  <a:lnTo>
                    <a:pt x="216" y="166"/>
                  </a:lnTo>
                  <a:lnTo>
                    <a:pt x="209" y="171"/>
                  </a:lnTo>
                  <a:lnTo>
                    <a:pt x="202" y="176"/>
                  </a:lnTo>
                  <a:lnTo>
                    <a:pt x="196" y="182"/>
                  </a:lnTo>
                  <a:lnTo>
                    <a:pt x="189" y="188"/>
                  </a:lnTo>
                  <a:lnTo>
                    <a:pt x="182" y="194"/>
                  </a:lnTo>
                  <a:lnTo>
                    <a:pt x="177" y="201"/>
                  </a:lnTo>
                  <a:lnTo>
                    <a:pt x="171" y="207"/>
                  </a:lnTo>
                  <a:lnTo>
                    <a:pt x="166" y="215"/>
                  </a:lnTo>
                  <a:lnTo>
                    <a:pt x="161" y="222"/>
                  </a:lnTo>
                  <a:lnTo>
                    <a:pt x="157" y="230"/>
                  </a:lnTo>
                  <a:lnTo>
                    <a:pt x="149" y="245"/>
                  </a:lnTo>
                  <a:lnTo>
                    <a:pt x="146" y="254"/>
                  </a:lnTo>
                  <a:lnTo>
                    <a:pt x="143" y="262"/>
                  </a:lnTo>
                  <a:lnTo>
                    <a:pt x="141" y="271"/>
                  </a:lnTo>
                  <a:lnTo>
                    <a:pt x="139" y="279"/>
                  </a:lnTo>
                  <a:lnTo>
                    <a:pt x="137" y="288"/>
                  </a:lnTo>
                  <a:lnTo>
                    <a:pt x="136" y="298"/>
                  </a:lnTo>
                  <a:lnTo>
                    <a:pt x="135" y="307"/>
                  </a:lnTo>
                  <a:lnTo>
                    <a:pt x="135" y="316"/>
                  </a:lnTo>
                  <a:close/>
                  <a:moveTo>
                    <a:pt x="495" y="581"/>
                  </a:moveTo>
                  <a:lnTo>
                    <a:pt x="441" y="545"/>
                  </a:lnTo>
                  <a:lnTo>
                    <a:pt x="429" y="551"/>
                  </a:lnTo>
                  <a:lnTo>
                    <a:pt x="419" y="556"/>
                  </a:lnTo>
                  <a:lnTo>
                    <a:pt x="408" y="560"/>
                  </a:lnTo>
                  <a:lnTo>
                    <a:pt x="396" y="564"/>
                  </a:lnTo>
                  <a:lnTo>
                    <a:pt x="382" y="628"/>
                  </a:lnTo>
                  <a:lnTo>
                    <a:pt x="362" y="631"/>
                  </a:lnTo>
                  <a:lnTo>
                    <a:pt x="342" y="633"/>
                  </a:lnTo>
                  <a:lnTo>
                    <a:pt x="311" y="575"/>
                  </a:lnTo>
                  <a:lnTo>
                    <a:pt x="299" y="575"/>
                  </a:lnTo>
                  <a:lnTo>
                    <a:pt x="287" y="573"/>
                  </a:lnTo>
                  <a:lnTo>
                    <a:pt x="275" y="572"/>
                  </a:lnTo>
                  <a:lnTo>
                    <a:pt x="263" y="569"/>
                  </a:lnTo>
                  <a:lnTo>
                    <a:pt x="219" y="618"/>
                  </a:lnTo>
                  <a:lnTo>
                    <a:pt x="209" y="615"/>
                  </a:lnTo>
                  <a:lnTo>
                    <a:pt x="200" y="612"/>
                  </a:lnTo>
                  <a:lnTo>
                    <a:pt x="181" y="604"/>
                  </a:lnTo>
                  <a:lnTo>
                    <a:pt x="184" y="536"/>
                  </a:lnTo>
                  <a:lnTo>
                    <a:pt x="174" y="530"/>
                  </a:lnTo>
                  <a:lnTo>
                    <a:pt x="164" y="522"/>
                  </a:lnTo>
                  <a:lnTo>
                    <a:pt x="155" y="515"/>
                  </a:lnTo>
                  <a:lnTo>
                    <a:pt x="146" y="507"/>
                  </a:lnTo>
                  <a:lnTo>
                    <a:pt x="80" y="527"/>
                  </a:lnTo>
                  <a:lnTo>
                    <a:pt x="68" y="513"/>
                  </a:lnTo>
                  <a:lnTo>
                    <a:pt x="56" y="498"/>
                  </a:lnTo>
                  <a:lnTo>
                    <a:pt x="94" y="440"/>
                  </a:lnTo>
                  <a:lnTo>
                    <a:pt x="89" y="429"/>
                  </a:lnTo>
                  <a:lnTo>
                    <a:pt x="84" y="418"/>
                  </a:lnTo>
                  <a:lnTo>
                    <a:pt x="79" y="407"/>
                  </a:lnTo>
                  <a:lnTo>
                    <a:pt x="75" y="395"/>
                  </a:lnTo>
                  <a:lnTo>
                    <a:pt x="5" y="380"/>
                  </a:lnTo>
                  <a:lnTo>
                    <a:pt x="2" y="362"/>
                  </a:lnTo>
                  <a:lnTo>
                    <a:pt x="0" y="343"/>
                  </a:lnTo>
                  <a:lnTo>
                    <a:pt x="64" y="311"/>
                  </a:lnTo>
                  <a:lnTo>
                    <a:pt x="65" y="298"/>
                  </a:lnTo>
                  <a:lnTo>
                    <a:pt x="66" y="286"/>
                  </a:lnTo>
                  <a:lnTo>
                    <a:pt x="68" y="274"/>
                  </a:lnTo>
                  <a:lnTo>
                    <a:pt x="70" y="262"/>
                  </a:lnTo>
                  <a:lnTo>
                    <a:pt x="16" y="213"/>
                  </a:lnTo>
                  <a:lnTo>
                    <a:pt x="23" y="197"/>
                  </a:lnTo>
                  <a:lnTo>
                    <a:pt x="30" y="181"/>
                  </a:lnTo>
                  <a:lnTo>
                    <a:pt x="102" y="184"/>
                  </a:lnTo>
                  <a:lnTo>
                    <a:pt x="109" y="174"/>
                  </a:lnTo>
                  <a:lnTo>
                    <a:pt x="116" y="164"/>
                  </a:lnTo>
                  <a:lnTo>
                    <a:pt x="124" y="154"/>
                  </a:lnTo>
                  <a:lnTo>
                    <a:pt x="132" y="144"/>
                  </a:lnTo>
                  <a:lnTo>
                    <a:pt x="111" y="75"/>
                  </a:lnTo>
                  <a:lnTo>
                    <a:pt x="124" y="64"/>
                  </a:lnTo>
                  <a:lnTo>
                    <a:pt x="138" y="54"/>
                  </a:lnTo>
                  <a:lnTo>
                    <a:pt x="200" y="93"/>
                  </a:lnTo>
                  <a:lnTo>
                    <a:pt x="211" y="87"/>
                  </a:lnTo>
                  <a:lnTo>
                    <a:pt x="222" y="82"/>
                  </a:lnTo>
                  <a:lnTo>
                    <a:pt x="234" y="78"/>
                  </a:lnTo>
                  <a:lnTo>
                    <a:pt x="246" y="74"/>
                  </a:lnTo>
                  <a:lnTo>
                    <a:pt x="261" y="4"/>
                  </a:lnTo>
                  <a:lnTo>
                    <a:pt x="270" y="3"/>
                  </a:lnTo>
                  <a:lnTo>
                    <a:pt x="279" y="1"/>
                  </a:lnTo>
                  <a:lnTo>
                    <a:pt x="296" y="0"/>
                  </a:lnTo>
                  <a:lnTo>
                    <a:pt x="330" y="63"/>
                  </a:lnTo>
                  <a:lnTo>
                    <a:pt x="343" y="64"/>
                  </a:lnTo>
                  <a:lnTo>
                    <a:pt x="355" y="65"/>
                  </a:lnTo>
                  <a:lnTo>
                    <a:pt x="367" y="67"/>
                  </a:lnTo>
                  <a:lnTo>
                    <a:pt x="379" y="69"/>
                  </a:lnTo>
                  <a:lnTo>
                    <a:pt x="426" y="18"/>
                  </a:lnTo>
                  <a:lnTo>
                    <a:pt x="435" y="21"/>
                  </a:lnTo>
                  <a:lnTo>
                    <a:pt x="444" y="25"/>
                  </a:lnTo>
                  <a:lnTo>
                    <a:pt x="461" y="32"/>
                  </a:lnTo>
                  <a:lnTo>
                    <a:pt x="458" y="102"/>
                  </a:lnTo>
                  <a:lnTo>
                    <a:pt x="468" y="109"/>
                  </a:lnTo>
                  <a:lnTo>
                    <a:pt x="478" y="116"/>
                  </a:lnTo>
                  <a:lnTo>
                    <a:pt x="487" y="124"/>
                  </a:lnTo>
                  <a:lnTo>
                    <a:pt x="496" y="132"/>
                  </a:lnTo>
                  <a:lnTo>
                    <a:pt x="561" y="111"/>
                  </a:lnTo>
                  <a:lnTo>
                    <a:pt x="574" y="126"/>
                  </a:lnTo>
                  <a:lnTo>
                    <a:pt x="579" y="134"/>
                  </a:lnTo>
                  <a:lnTo>
                    <a:pt x="585" y="142"/>
                  </a:lnTo>
                  <a:lnTo>
                    <a:pt x="547" y="200"/>
                  </a:lnTo>
                  <a:lnTo>
                    <a:pt x="550" y="205"/>
                  </a:lnTo>
                  <a:lnTo>
                    <a:pt x="553" y="211"/>
                  </a:lnTo>
                  <a:lnTo>
                    <a:pt x="558" y="222"/>
                  </a:lnTo>
                  <a:lnTo>
                    <a:pt x="562" y="233"/>
                  </a:lnTo>
                  <a:lnTo>
                    <a:pt x="567" y="245"/>
                  </a:lnTo>
                  <a:lnTo>
                    <a:pt x="631" y="259"/>
                  </a:lnTo>
                  <a:lnTo>
                    <a:pt x="634" y="278"/>
                  </a:lnTo>
                  <a:lnTo>
                    <a:pt x="636" y="298"/>
                  </a:lnTo>
                  <a:lnTo>
                    <a:pt x="577" y="329"/>
                  </a:lnTo>
                  <a:lnTo>
                    <a:pt x="577" y="341"/>
                  </a:lnTo>
                  <a:lnTo>
                    <a:pt x="575" y="354"/>
                  </a:lnTo>
                  <a:lnTo>
                    <a:pt x="574" y="365"/>
                  </a:lnTo>
                  <a:lnTo>
                    <a:pt x="571" y="377"/>
                  </a:lnTo>
                  <a:lnTo>
                    <a:pt x="619" y="421"/>
                  </a:lnTo>
                  <a:lnTo>
                    <a:pt x="612" y="440"/>
                  </a:lnTo>
                  <a:lnTo>
                    <a:pt x="603" y="458"/>
                  </a:lnTo>
                  <a:lnTo>
                    <a:pt x="537" y="456"/>
                  </a:lnTo>
                  <a:lnTo>
                    <a:pt x="531" y="465"/>
                  </a:lnTo>
                  <a:lnTo>
                    <a:pt x="524" y="475"/>
                  </a:lnTo>
                  <a:lnTo>
                    <a:pt x="516" y="484"/>
                  </a:lnTo>
                  <a:lnTo>
                    <a:pt x="509" y="493"/>
                  </a:lnTo>
                  <a:lnTo>
                    <a:pt x="528" y="555"/>
                  </a:lnTo>
                  <a:lnTo>
                    <a:pt x="512" y="569"/>
                  </a:lnTo>
                  <a:lnTo>
                    <a:pt x="504" y="575"/>
                  </a:lnTo>
                  <a:lnTo>
                    <a:pt x="495" y="581"/>
                  </a:lnTo>
                  <a:close/>
                </a:path>
              </a:pathLst>
            </a:custGeom>
            <a:grpFill/>
            <a:ln w="9525" cmpd="sng">
              <a:noFill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013" dirty="0"/>
            </a:p>
          </p:txBody>
        </p:sp>
      </p:grpSp>
      <p:pic>
        <p:nvPicPr>
          <p:cNvPr id="637" name="Picture 906">
            <a:extLst>
              <a:ext uri="{FF2B5EF4-FFF2-40B4-BE49-F238E27FC236}">
                <a16:creationId xmlns:a16="http://schemas.microsoft.com/office/drawing/2014/main" id="{2F98DA64-3CE6-427D-8719-39883D95A4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38376" y="3679960"/>
            <a:ext cx="397681" cy="32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39" name="Oval 124">
            <a:extLst>
              <a:ext uri="{FF2B5EF4-FFF2-40B4-BE49-F238E27FC236}">
                <a16:creationId xmlns:a16="http://schemas.microsoft.com/office/drawing/2014/main" id="{7C535424-9D3B-46E4-989B-2E37279F6F3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72835" y="1393180"/>
            <a:ext cx="502920" cy="499220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bg1"/>
            </a:solidFill>
          </a:ln>
          <a:effectLst>
            <a:outerShdw blurRad="63500" dist="38100" dir="2700000" algn="tl" rotWithShape="0">
              <a:prstClr val="black">
                <a:alpha val="20000"/>
              </a:prst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46" name="Rectangle 27">
            <a:extLst>
              <a:ext uri="{FF2B5EF4-FFF2-40B4-BE49-F238E27FC236}">
                <a16:creationId xmlns:a16="http://schemas.microsoft.com/office/drawing/2014/main" id="{B3A0B8D3-DB5C-4F36-9460-A88BC92E0B16}"/>
              </a:ext>
            </a:extLst>
          </p:cNvPr>
          <p:cNvSpPr/>
          <p:nvPr/>
        </p:nvSpPr>
        <p:spPr bwMode="gray">
          <a:xfrm>
            <a:off x="5954266" y="1482133"/>
            <a:ext cx="338328" cy="274320"/>
          </a:xfrm>
          <a:custGeom>
            <a:avLst/>
            <a:gdLst/>
            <a:ahLst/>
            <a:cxnLst/>
            <a:rect l="l" t="t" r="r" b="b"/>
            <a:pathLst>
              <a:path w="1959428" h="2147842">
                <a:moveTo>
                  <a:pt x="0" y="2010682"/>
                </a:moveTo>
                <a:lnTo>
                  <a:pt x="1959428" y="2010682"/>
                </a:lnTo>
                <a:lnTo>
                  <a:pt x="1959428" y="2147842"/>
                </a:lnTo>
                <a:lnTo>
                  <a:pt x="0" y="2147842"/>
                </a:lnTo>
                <a:close/>
                <a:moveTo>
                  <a:pt x="87086" y="1792968"/>
                </a:moveTo>
                <a:lnTo>
                  <a:pt x="1872343" y="1792968"/>
                </a:lnTo>
                <a:lnTo>
                  <a:pt x="1872343" y="1919514"/>
                </a:lnTo>
                <a:lnTo>
                  <a:pt x="87086" y="1919514"/>
                </a:lnTo>
                <a:close/>
                <a:moveTo>
                  <a:pt x="1333182" y="683406"/>
                </a:moveTo>
                <a:lnTo>
                  <a:pt x="1729423" y="683406"/>
                </a:lnTo>
                <a:lnTo>
                  <a:pt x="1729423" y="729125"/>
                </a:lnTo>
                <a:lnTo>
                  <a:pt x="1702753" y="729125"/>
                </a:lnTo>
                <a:lnTo>
                  <a:pt x="1702753" y="746467"/>
                </a:lnTo>
                <a:cubicBezTo>
                  <a:pt x="1702753" y="768346"/>
                  <a:pt x="1690597" y="787387"/>
                  <a:pt x="1672272" y="796477"/>
                </a:cubicBezTo>
                <a:lnTo>
                  <a:pt x="1672272" y="1599785"/>
                </a:lnTo>
                <a:cubicBezTo>
                  <a:pt x="1690597" y="1608875"/>
                  <a:pt x="1702753" y="1627916"/>
                  <a:pt x="1702753" y="1649796"/>
                </a:cubicBezTo>
                <a:lnTo>
                  <a:pt x="1702753" y="1667138"/>
                </a:lnTo>
                <a:lnTo>
                  <a:pt x="1729423" y="1667138"/>
                </a:lnTo>
                <a:lnTo>
                  <a:pt x="1729423" y="1712857"/>
                </a:lnTo>
                <a:lnTo>
                  <a:pt x="1333182" y="1712857"/>
                </a:lnTo>
                <a:lnTo>
                  <a:pt x="1333182" y="1667138"/>
                </a:lnTo>
                <a:lnTo>
                  <a:pt x="1359852" y="1667138"/>
                </a:lnTo>
                <a:lnTo>
                  <a:pt x="1359852" y="1649796"/>
                </a:lnTo>
                <a:cubicBezTo>
                  <a:pt x="1359852" y="1627916"/>
                  <a:pt x="1372008" y="1608876"/>
                  <a:pt x="1390332" y="1599786"/>
                </a:cubicBezTo>
                <a:lnTo>
                  <a:pt x="1390332" y="796477"/>
                </a:lnTo>
                <a:cubicBezTo>
                  <a:pt x="1372008" y="787387"/>
                  <a:pt x="1359852" y="768346"/>
                  <a:pt x="1359852" y="746467"/>
                </a:cubicBezTo>
                <a:lnTo>
                  <a:pt x="1359852" y="729125"/>
                </a:lnTo>
                <a:lnTo>
                  <a:pt x="1333182" y="729125"/>
                </a:lnTo>
                <a:close/>
                <a:moveTo>
                  <a:pt x="781594" y="683406"/>
                </a:moveTo>
                <a:lnTo>
                  <a:pt x="1177835" y="683406"/>
                </a:lnTo>
                <a:lnTo>
                  <a:pt x="1177835" y="729125"/>
                </a:lnTo>
                <a:lnTo>
                  <a:pt x="1151165" y="729125"/>
                </a:lnTo>
                <a:lnTo>
                  <a:pt x="1151165" y="746467"/>
                </a:lnTo>
                <a:cubicBezTo>
                  <a:pt x="1151165" y="768346"/>
                  <a:pt x="1139009" y="787387"/>
                  <a:pt x="1120684" y="796477"/>
                </a:cubicBezTo>
                <a:lnTo>
                  <a:pt x="1120684" y="1599785"/>
                </a:lnTo>
                <a:cubicBezTo>
                  <a:pt x="1139009" y="1608875"/>
                  <a:pt x="1151165" y="1627916"/>
                  <a:pt x="1151165" y="1649796"/>
                </a:cubicBezTo>
                <a:lnTo>
                  <a:pt x="1151165" y="1667138"/>
                </a:lnTo>
                <a:lnTo>
                  <a:pt x="1177835" y="1667138"/>
                </a:lnTo>
                <a:lnTo>
                  <a:pt x="1177835" y="1712857"/>
                </a:lnTo>
                <a:lnTo>
                  <a:pt x="781594" y="1712857"/>
                </a:lnTo>
                <a:lnTo>
                  <a:pt x="781594" y="1667138"/>
                </a:lnTo>
                <a:lnTo>
                  <a:pt x="808264" y="1667138"/>
                </a:lnTo>
                <a:lnTo>
                  <a:pt x="808264" y="1649796"/>
                </a:lnTo>
                <a:cubicBezTo>
                  <a:pt x="808264" y="1627916"/>
                  <a:pt x="820420" y="1608876"/>
                  <a:pt x="838744" y="1599786"/>
                </a:cubicBezTo>
                <a:lnTo>
                  <a:pt x="838744" y="796477"/>
                </a:lnTo>
                <a:cubicBezTo>
                  <a:pt x="820420" y="787387"/>
                  <a:pt x="808264" y="768346"/>
                  <a:pt x="808264" y="746467"/>
                </a:cubicBezTo>
                <a:lnTo>
                  <a:pt x="808264" y="729125"/>
                </a:lnTo>
                <a:lnTo>
                  <a:pt x="781594" y="729125"/>
                </a:lnTo>
                <a:close/>
                <a:moveTo>
                  <a:pt x="230005" y="683406"/>
                </a:moveTo>
                <a:lnTo>
                  <a:pt x="626246" y="683406"/>
                </a:lnTo>
                <a:lnTo>
                  <a:pt x="626246" y="729125"/>
                </a:lnTo>
                <a:lnTo>
                  <a:pt x="599576" y="729125"/>
                </a:lnTo>
                <a:lnTo>
                  <a:pt x="599576" y="746467"/>
                </a:lnTo>
                <a:cubicBezTo>
                  <a:pt x="599576" y="768346"/>
                  <a:pt x="587420" y="787387"/>
                  <a:pt x="569095" y="796477"/>
                </a:cubicBezTo>
                <a:lnTo>
                  <a:pt x="569095" y="1599785"/>
                </a:lnTo>
                <a:cubicBezTo>
                  <a:pt x="587420" y="1608875"/>
                  <a:pt x="599576" y="1627916"/>
                  <a:pt x="599576" y="1649796"/>
                </a:cubicBezTo>
                <a:lnTo>
                  <a:pt x="599576" y="1667138"/>
                </a:lnTo>
                <a:lnTo>
                  <a:pt x="626246" y="1667138"/>
                </a:lnTo>
                <a:lnTo>
                  <a:pt x="626246" y="1712857"/>
                </a:lnTo>
                <a:lnTo>
                  <a:pt x="230005" y="1712857"/>
                </a:lnTo>
                <a:lnTo>
                  <a:pt x="230005" y="1667138"/>
                </a:lnTo>
                <a:lnTo>
                  <a:pt x="256675" y="1667138"/>
                </a:lnTo>
                <a:lnTo>
                  <a:pt x="256675" y="1649796"/>
                </a:lnTo>
                <a:cubicBezTo>
                  <a:pt x="256675" y="1627916"/>
                  <a:pt x="268831" y="1608876"/>
                  <a:pt x="287155" y="1599786"/>
                </a:cubicBezTo>
                <a:lnTo>
                  <a:pt x="287155" y="796477"/>
                </a:lnTo>
                <a:cubicBezTo>
                  <a:pt x="268831" y="787387"/>
                  <a:pt x="256675" y="768346"/>
                  <a:pt x="256675" y="746467"/>
                </a:cubicBezTo>
                <a:lnTo>
                  <a:pt x="256675" y="729125"/>
                </a:lnTo>
                <a:lnTo>
                  <a:pt x="230005" y="729125"/>
                </a:lnTo>
                <a:close/>
                <a:moveTo>
                  <a:pt x="981528" y="244248"/>
                </a:moveTo>
                <a:cubicBezTo>
                  <a:pt x="922723" y="244248"/>
                  <a:pt x="875052" y="291919"/>
                  <a:pt x="875052" y="350724"/>
                </a:cubicBezTo>
                <a:cubicBezTo>
                  <a:pt x="875052" y="409529"/>
                  <a:pt x="922723" y="457200"/>
                  <a:pt x="981528" y="457200"/>
                </a:cubicBezTo>
                <a:cubicBezTo>
                  <a:pt x="1040333" y="457200"/>
                  <a:pt x="1088004" y="409529"/>
                  <a:pt x="1088004" y="350724"/>
                </a:cubicBezTo>
                <a:cubicBezTo>
                  <a:pt x="1088004" y="291919"/>
                  <a:pt x="1040333" y="244248"/>
                  <a:pt x="981528" y="244248"/>
                </a:cubicBezTo>
                <a:close/>
                <a:moveTo>
                  <a:pt x="983342" y="0"/>
                </a:moveTo>
                <a:lnTo>
                  <a:pt x="1895928" y="471254"/>
                </a:lnTo>
                <a:lnTo>
                  <a:pt x="1895928" y="602796"/>
                </a:lnTo>
                <a:lnTo>
                  <a:pt x="67128" y="602796"/>
                </a:lnTo>
                <a:lnTo>
                  <a:pt x="67128" y="458107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47" name="Oval 181">
            <a:extLst>
              <a:ext uri="{FF2B5EF4-FFF2-40B4-BE49-F238E27FC236}">
                <a16:creationId xmlns:a16="http://schemas.microsoft.com/office/drawing/2014/main" id="{E7EE6141-442D-4911-811D-6C77D8498946}"/>
              </a:ext>
            </a:extLst>
          </p:cNvPr>
          <p:cNvSpPr>
            <a:spLocks noChangeAspect="1"/>
          </p:cNvSpPr>
          <p:nvPr/>
        </p:nvSpPr>
        <p:spPr bwMode="gray">
          <a:xfrm>
            <a:off x="5958254" y="4473630"/>
            <a:ext cx="346199" cy="218173"/>
          </a:xfrm>
          <a:custGeom>
            <a:avLst/>
            <a:gdLst/>
            <a:ahLst/>
            <a:cxnLst/>
            <a:rect l="l" t="t" r="r" b="b"/>
            <a:pathLst>
              <a:path w="2933700" h="1848501">
                <a:moveTo>
                  <a:pt x="2177266" y="1506786"/>
                </a:moveTo>
                <a:cubicBezTo>
                  <a:pt x="2131715" y="1506786"/>
                  <a:pt x="2094788" y="1543713"/>
                  <a:pt x="2094788" y="1589264"/>
                </a:cubicBezTo>
                <a:cubicBezTo>
                  <a:pt x="2094788" y="1634815"/>
                  <a:pt x="2131715" y="1671742"/>
                  <a:pt x="2177266" y="1671742"/>
                </a:cubicBezTo>
                <a:cubicBezTo>
                  <a:pt x="2222817" y="1671742"/>
                  <a:pt x="2259744" y="1634815"/>
                  <a:pt x="2259744" y="1589264"/>
                </a:cubicBezTo>
                <a:cubicBezTo>
                  <a:pt x="2259744" y="1543713"/>
                  <a:pt x="2222817" y="1506786"/>
                  <a:pt x="2177266" y="1506786"/>
                </a:cubicBezTo>
                <a:close/>
                <a:moveTo>
                  <a:pt x="653266" y="1506786"/>
                </a:moveTo>
                <a:cubicBezTo>
                  <a:pt x="607715" y="1506786"/>
                  <a:pt x="570788" y="1543713"/>
                  <a:pt x="570788" y="1589264"/>
                </a:cubicBezTo>
                <a:cubicBezTo>
                  <a:pt x="570788" y="1634815"/>
                  <a:pt x="607715" y="1671742"/>
                  <a:pt x="653266" y="1671742"/>
                </a:cubicBezTo>
                <a:cubicBezTo>
                  <a:pt x="698817" y="1671742"/>
                  <a:pt x="735744" y="1634815"/>
                  <a:pt x="735744" y="1589264"/>
                </a:cubicBezTo>
                <a:cubicBezTo>
                  <a:pt x="735744" y="1543713"/>
                  <a:pt x="698817" y="1506786"/>
                  <a:pt x="653266" y="1506786"/>
                </a:cubicBezTo>
                <a:close/>
                <a:moveTo>
                  <a:pt x="2177267" y="1330029"/>
                </a:moveTo>
                <a:cubicBezTo>
                  <a:pt x="2320439" y="1330029"/>
                  <a:pt x="2436503" y="1446093"/>
                  <a:pt x="2436503" y="1589265"/>
                </a:cubicBezTo>
                <a:cubicBezTo>
                  <a:pt x="2436503" y="1732437"/>
                  <a:pt x="2320439" y="1848501"/>
                  <a:pt x="2177267" y="1848501"/>
                </a:cubicBezTo>
                <a:cubicBezTo>
                  <a:pt x="2034095" y="1848501"/>
                  <a:pt x="1918031" y="1732437"/>
                  <a:pt x="1918031" y="1589265"/>
                </a:cubicBezTo>
                <a:cubicBezTo>
                  <a:pt x="1918031" y="1446093"/>
                  <a:pt x="2034095" y="1330029"/>
                  <a:pt x="2177267" y="1330029"/>
                </a:cubicBezTo>
                <a:close/>
                <a:moveTo>
                  <a:pt x="653267" y="1330029"/>
                </a:moveTo>
                <a:cubicBezTo>
                  <a:pt x="796439" y="1330029"/>
                  <a:pt x="912503" y="1446093"/>
                  <a:pt x="912503" y="1589265"/>
                </a:cubicBezTo>
                <a:cubicBezTo>
                  <a:pt x="912503" y="1732437"/>
                  <a:pt x="796439" y="1848501"/>
                  <a:pt x="653267" y="1848501"/>
                </a:cubicBezTo>
                <a:cubicBezTo>
                  <a:pt x="510095" y="1848501"/>
                  <a:pt x="394031" y="1732437"/>
                  <a:pt x="394031" y="1589265"/>
                </a:cubicBezTo>
                <a:cubicBezTo>
                  <a:pt x="394031" y="1446093"/>
                  <a:pt x="510095" y="1330029"/>
                  <a:pt x="653267" y="1330029"/>
                </a:cubicBezTo>
                <a:close/>
                <a:moveTo>
                  <a:pt x="612218" y="473870"/>
                </a:moveTo>
                <a:cubicBezTo>
                  <a:pt x="586573" y="473870"/>
                  <a:pt x="565784" y="494659"/>
                  <a:pt x="565784" y="520304"/>
                </a:cubicBezTo>
                <a:lnTo>
                  <a:pt x="565784" y="678657"/>
                </a:lnTo>
                <a:lnTo>
                  <a:pt x="407431" y="678657"/>
                </a:lnTo>
                <a:cubicBezTo>
                  <a:pt x="381786" y="678657"/>
                  <a:pt x="360997" y="699446"/>
                  <a:pt x="360997" y="725091"/>
                </a:cubicBezTo>
                <a:lnTo>
                  <a:pt x="360997" y="810817"/>
                </a:lnTo>
                <a:cubicBezTo>
                  <a:pt x="360997" y="836462"/>
                  <a:pt x="381786" y="857251"/>
                  <a:pt x="407431" y="857251"/>
                </a:cubicBezTo>
                <a:lnTo>
                  <a:pt x="565784" y="857251"/>
                </a:lnTo>
                <a:lnTo>
                  <a:pt x="565784" y="1015604"/>
                </a:lnTo>
                <a:cubicBezTo>
                  <a:pt x="565784" y="1041249"/>
                  <a:pt x="586573" y="1062038"/>
                  <a:pt x="612218" y="1062038"/>
                </a:cubicBezTo>
                <a:lnTo>
                  <a:pt x="697944" y="1062038"/>
                </a:lnTo>
                <a:cubicBezTo>
                  <a:pt x="723589" y="1062038"/>
                  <a:pt x="744378" y="1041249"/>
                  <a:pt x="744378" y="1015604"/>
                </a:cubicBezTo>
                <a:lnTo>
                  <a:pt x="744378" y="857251"/>
                </a:lnTo>
                <a:lnTo>
                  <a:pt x="902731" y="857251"/>
                </a:lnTo>
                <a:cubicBezTo>
                  <a:pt x="928376" y="857251"/>
                  <a:pt x="949165" y="836462"/>
                  <a:pt x="949165" y="810817"/>
                </a:cubicBezTo>
                <a:lnTo>
                  <a:pt x="949165" y="725091"/>
                </a:lnTo>
                <a:cubicBezTo>
                  <a:pt x="949165" y="699446"/>
                  <a:pt x="928376" y="678657"/>
                  <a:pt x="902731" y="678657"/>
                </a:cubicBezTo>
                <a:lnTo>
                  <a:pt x="744378" y="678657"/>
                </a:lnTo>
                <a:lnTo>
                  <a:pt x="744378" y="520304"/>
                </a:lnTo>
                <a:cubicBezTo>
                  <a:pt x="744378" y="494659"/>
                  <a:pt x="723589" y="473870"/>
                  <a:pt x="697944" y="473870"/>
                </a:cubicBezTo>
                <a:close/>
                <a:moveTo>
                  <a:pt x="1713791" y="350044"/>
                </a:moveTo>
                <a:cubicBezTo>
                  <a:pt x="1671706" y="350044"/>
                  <a:pt x="1637589" y="384161"/>
                  <a:pt x="1637589" y="426246"/>
                </a:cubicBezTo>
                <a:lnTo>
                  <a:pt x="1637589" y="742948"/>
                </a:lnTo>
                <a:cubicBezTo>
                  <a:pt x="1637589" y="785033"/>
                  <a:pt x="1671706" y="819150"/>
                  <a:pt x="1713791" y="819150"/>
                </a:cubicBezTo>
                <a:lnTo>
                  <a:pt x="1976068" y="819150"/>
                </a:lnTo>
                <a:lnTo>
                  <a:pt x="1975485" y="821532"/>
                </a:lnTo>
                <a:lnTo>
                  <a:pt x="2392204" y="809625"/>
                </a:lnTo>
                <a:cubicBezTo>
                  <a:pt x="2463642" y="808832"/>
                  <a:pt x="2463641" y="748508"/>
                  <a:pt x="2435066" y="721519"/>
                </a:cubicBezTo>
                <a:lnTo>
                  <a:pt x="2082641" y="383382"/>
                </a:lnTo>
                <a:lnTo>
                  <a:pt x="2081911" y="386366"/>
                </a:lnTo>
                <a:cubicBezTo>
                  <a:pt x="2069580" y="364248"/>
                  <a:pt x="2045742" y="350044"/>
                  <a:pt x="2018587" y="350044"/>
                </a:cubicBezTo>
                <a:close/>
                <a:moveTo>
                  <a:pt x="254378" y="235743"/>
                </a:moveTo>
                <a:lnTo>
                  <a:pt x="727453" y="235743"/>
                </a:lnTo>
                <a:lnTo>
                  <a:pt x="1467742" y="235743"/>
                </a:lnTo>
                <a:lnTo>
                  <a:pt x="1940817" y="235743"/>
                </a:lnTo>
                <a:lnTo>
                  <a:pt x="1961311" y="239881"/>
                </a:lnTo>
                <a:cubicBezTo>
                  <a:pt x="1962160" y="239648"/>
                  <a:pt x="1963008" y="239652"/>
                  <a:pt x="1963856" y="239660"/>
                </a:cubicBezTo>
                <a:cubicBezTo>
                  <a:pt x="2041350" y="240358"/>
                  <a:pt x="2118578" y="270618"/>
                  <a:pt x="2177172" y="330277"/>
                </a:cubicBezTo>
                <a:lnTo>
                  <a:pt x="2319345" y="475036"/>
                </a:lnTo>
                <a:cubicBezTo>
                  <a:pt x="2322082" y="476574"/>
                  <a:pt x="2324252" y="478718"/>
                  <a:pt x="2326397" y="480902"/>
                </a:cubicBezTo>
                <a:lnTo>
                  <a:pt x="2743121" y="905202"/>
                </a:lnTo>
                <a:lnTo>
                  <a:pt x="2751773" y="921545"/>
                </a:lnTo>
                <a:lnTo>
                  <a:pt x="2778063" y="949783"/>
                </a:lnTo>
                <a:lnTo>
                  <a:pt x="2776716" y="951336"/>
                </a:lnTo>
                <a:cubicBezTo>
                  <a:pt x="2811319" y="1000172"/>
                  <a:pt x="2831417" y="1059869"/>
                  <a:pt x="2831417" y="1124261"/>
                </a:cubicBezTo>
                <a:lnTo>
                  <a:pt x="2831417" y="1277144"/>
                </a:lnTo>
                <a:lnTo>
                  <a:pt x="2878375" y="1277144"/>
                </a:lnTo>
                <a:cubicBezTo>
                  <a:pt x="2908930" y="1277144"/>
                  <a:pt x="2933700" y="1301914"/>
                  <a:pt x="2933700" y="1332469"/>
                </a:cubicBezTo>
                <a:lnTo>
                  <a:pt x="2933700" y="1375253"/>
                </a:lnTo>
                <a:cubicBezTo>
                  <a:pt x="2933700" y="1405808"/>
                  <a:pt x="2908930" y="1430578"/>
                  <a:pt x="2878375" y="1430578"/>
                </a:cubicBezTo>
                <a:lnTo>
                  <a:pt x="2830354" y="1430578"/>
                </a:lnTo>
                <a:lnTo>
                  <a:pt x="2830354" y="1480740"/>
                </a:lnTo>
                <a:cubicBezTo>
                  <a:pt x="2830354" y="1551540"/>
                  <a:pt x="2772960" y="1608934"/>
                  <a:pt x="2702160" y="1608934"/>
                </a:cubicBezTo>
                <a:lnTo>
                  <a:pt x="2589454" y="1608934"/>
                </a:lnTo>
                <a:cubicBezTo>
                  <a:pt x="2556750" y="1608934"/>
                  <a:pt x="2526906" y="1596688"/>
                  <a:pt x="2505075" y="1575613"/>
                </a:cubicBezTo>
                <a:cubicBezTo>
                  <a:pt x="2498990" y="1400117"/>
                  <a:pt x="2354482" y="1260081"/>
                  <a:pt x="2177267" y="1260081"/>
                </a:cubicBezTo>
                <a:cubicBezTo>
                  <a:pt x="1995464" y="1260081"/>
                  <a:pt x="1848083" y="1407462"/>
                  <a:pt x="1848083" y="1589265"/>
                </a:cubicBezTo>
                <a:cubicBezTo>
                  <a:pt x="1848083" y="1590133"/>
                  <a:pt x="1848087" y="1591000"/>
                  <a:pt x="1848345" y="1591864"/>
                </a:cubicBezTo>
                <a:lnTo>
                  <a:pt x="1467742" y="1591864"/>
                </a:lnTo>
                <a:lnTo>
                  <a:pt x="982189" y="1591864"/>
                </a:lnTo>
                <a:lnTo>
                  <a:pt x="982451" y="1589265"/>
                </a:lnTo>
                <a:cubicBezTo>
                  <a:pt x="982451" y="1407462"/>
                  <a:pt x="835070" y="1260081"/>
                  <a:pt x="653267" y="1260081"/>
                </a:cubicBezTo>
                <a:cubicBezTo>
                  <a:pt x="471464" y="1260081"/>
                  <a:pt x="324083" y="1407462"/>
                  <a:pt x="324083" y="1589265"/>
                </a:cubicBezTo>
                <a:cubicBezTo>
                  <a:pt x="324083" y="1590133"/>
                  <a:pt x="324086" y="1591000"/>
                  <a:pt x="324345" y="1591864"/>
                </a:cubicBezTo>
                <a:lnTo>
                  <a:pt x="254378" y="1591864"/>
                </a:lnTo>
                <a:cubicBezTo>
                  <a:pt x="164943" y="1591864"/>
                  <a:pt x="92336" y="1519807"/>
                  <a:pt x="91774" y="1430578"/>
                </a:cubicBezTo>
                <a:lnTo>
                  <a:pt x="55325" y="1430578"/>
                </a:lnTo>
                <a:cubicBezTo>
                  <a:pt x="24770" y="1430578"/>
                  <a:pt x="0" y="1405808"/>
                  <a:pt x="0" y="1375253"/>
                </a:cubicBezTo>
                <a:lnTo>
                  <a:pt x="0" y="1332469"/>
                </a:lnTo>
                <a:cubicBezTo>
                  <a:pt x="0" y="1301914"/>
                  <a:pt x="24770" y="1277144"/>
                  <a:pt x="55325" y="1277144"/>
                </a:cubicBezTo>
                <a:lnTo>
                  <a:pt x="91440" y="1277144"/>
                </a:lnTo>
                <a:lnTo>
                  <a:pt x="91440" y="398681"/>
                </a:lnTo>
                <a:cubicBezTo>
                  <a:pt x="91440" y="308693"/>
                  <a:pt x="164390" y="235743"/>
                  <a:pt x="254378" y="235743"/>
                </a:cubicBezTo>
                <a:close/>
                <a:moveTo>
                  <a:pt x="1719293" y="0"/>
                </a:moveTo>
                <a:cubicBezTo>
                  <a:pt x="1772664" y="0"/>
                  <a:pt x="1815930" y="43266"/>
                  <a:pt x="1815930" y="96637"/>
                </a:cubicBezTo>
                <a:lnTo>
                  <a:pt x="1815930" y="190500"/>
                </a:lnTo>
                <a:lnTo>
                  <a:pt x="1622656" y="190500"/>
                </a:lnTo>
                <a:lnTo>
                  <a:pt x="1622656" y="96637"/>
                </a:lnTo>
                <a:cubicBezTo>
                  <a:pt x="1622656" y="43266"/>
                  <a:pt x="1665922" y="0"/>
                  <a:pt x="1719293" y="0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365" name="Group 364">
            <a:extLst>
              <a:ext uri="{FF2B5EF4-FFF2-40B4-BE49-F238E27FC236}">
                <a16:creationId xmlns:a16="http://schemas.microsoft.com/office/drawing/2014/main" id="{C090DF9F-69F2-4E30-9B94-80367AFFA0F6}"/>
              </a:ext>
            </a:extLst>
          </p:cNvPr>
          <p:cNvGrpSpPr>
            <a:grpSpLocks noChangeAspect="1"/>
          </p:cNvGrpSpPr>
          <p:nvPr/>
        </p:nvGrpSpPr>
        <p:grpSpPr>
          <a:xfrm>
            <a:off x="8784093" y="56364"/>
            <a:ext cx="384048" cy="384048"/>
            <a:chOff x="676331" y="2546807"/>
            <a:chExt cx="951614" cy="951614"/>
          </a:xfrm>
        </p:grpSpPr>
        <p:sp>
          <p:nvSpPr>
            <p:cNvPr id="367" name="Oval 366">
              <a:extLst>
                <a:ext uri="{FF2B5EF4-FFF2-40B4-BE49-F238E27FC236}">
                  <a16:creationId xmlns:a16="http://schemas.microsoft.com/office/drawing/2014/main" id="{2E524287-A290-48E4-9D39-3AF8BF781767}"/>
                </a:ext>
              </a:extLst>
            </p:cNvPr>
            <p:cNvSpPr/>
            <p:nvPr/>
          </p:nvSpPr>
          <p:spPr bwMode="gray">
            <a:xfrm>
              <a:off x="676331" y="2546807"/>
              <a:ext cx="951614" cy="95161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sp>
          <p:nvSpPr>
            <p:cNvPr id="368" name="Oval 93">
              <a:extLst>
                <a:ext uri="{FF2B5EF4-FFF2-40B4-BE49-F238E27FC236}">
                  <a16:creationId xmlns:a16="http://schemas.microsoft.com/office/drawing/2014/main" id="{DEE9D660-58E6-4C8C-8E7B-9C3338341A8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90929" y="2668279"/>
              <a:ext cx="114203" cy="116261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9" name="Freeform 94">
              <a:extLst>
                <a:ext uri="{FF2B5EF4-FFF2-40B4-BE49-F238E27FC236}">
                  <a16:creationId xmlns:a16="http://schemas.microsoft.com/office/drawing/2014/main" id="{950603B3-9214-4158-8120-C788421D511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2867877"/>
              <a:ext cx="23664" cy="23664"/>
            </a:xfrm>
            <a:custGeom>
              <a:avLst/>
              <a:gdLst>
                <a:gd name="T0" fmla="*/ 10 w 11"/>
                <a:gd name="T1" fmla="*/ 0 h 11"/>
                <a:gd name="T2" fmla="*/ 1 w 11"/>
                <a:gd name="T3" fmla="*/ 0 h 11"/>
                <a:gd name="T4" fmla="*/ 0 w 11"/>
                <a:gd name="T5" fmla="*/ 1 h 11"/>
                <a:gd name="T6" fmla="*/ 0 w 11"/>
                <a:gd name="T7" fmla="*/ 10 h 11"/>
                <a:gd name="T8" fmla="*/ 1 w 11"/>
                <a:gd name="T9" fmla="*/ 11 h 11"/>
                <a:gd name="T10" fmla="*/ 10 w 11"/>
                <a:gd name="T11" fmla="*/ 11 h 11"/>
                <a:gd name="T12" fmla="*/ 11 w 11"/>
                <a:gd name="T13" fmla="*/ 10 h 11"/>
                <a:gd name="T14" fmla="*/ 11 w 11"/>
                <a:gd name="T15" fmla="*/ 1 h 11"/>
                <a:gd name="T16" fmla="*/ 10 w 11"/>
                <a:gd name="T17" fmla="*/ 0 h 11"/>
                <a:gd name="T18" fmla="*/ 9 w 11"/>
                <a:gd name="T19" fmla="*/ 9 h 11"/>
                <a:gd name="T20" fmla="*/ 3 w 11"/>
                <a:gd name="T21" fmla="*/ 9 h 11"/>
                <a:gd name="T22" fmla="*/ 3 w 11"/>
                <a:gd name="T23" fmla="*/ 3 h 11"/>
                <a:gd name="T24" fmla="*/ 9 w 11"/>
                <a:gd name="T25" fmla="*/ 3 h 11"/>
                <a:gd name="T26" fmla="*/ 9 w 11"/>
                <a:gd name="T27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1"/>
                    <a:pt x="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1"/>
                    <a:pt x="11" y="1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0"/>
                    <a:pt x="10" y="0"/>
                  </a:cubicBezTo>
                  <a:close/>
                  <a:moveTo>
                    <a:pt x="9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9" y="3"/>
                    <a:pt x="9" y="3"/>
                    <a:pt x="9" y="3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0" name="Freeform 95">
              <a:extLst>
                <a:ext uri="{FF2B5EF4-FFF2-40B4-BE49-F238E27FC236}">
                  <a16:creationId xmlns:a16="http://schemas.microsoft.com/office/drawing/2014/main" id="{0D591EAC-F806-4477-8786-D01DF13E273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2942983"/>
              <a:ext cx="23664" cy="25721"/>
            </a:xfrm>
            <a:custGeom>
              <a:avLst/>
              <a:gdLst>
                <a:gd name="T0" fmla="*/ 10 w 11"/>
                <a:gd name="T1" fmla="*/ 0 h 12"/>
                <a:gd name="T2" fmla="*/ 1 w 11"/>
                <a:gd name="T3" fmla="*/ 0 h 12"/>
                <a:gd name="T4" fmla="*/ 0 w 11"/>
                <a:gd name="T5" fmla="*/ 2 h 12"/>
                <a:gd name="T6" fmla="*/ 0 w 11"/>
                <a:gd name="T7" fmla="*/ 10 h 12"/>
                <a:gd name="T8" fmla="*/ 1 w 11"/>
                <a:gd name="T9" fmla="*/ 12 h 12"/>
                <a:gd name="T10" fmla="*/ 10 w 11"/>
                <a:gd name="T11" fmla="*/ 12 h 12"/>
                <a:gd name="T12" fmla="*/ 11 w 11"/>
                <a:gd name="T13" fmla="*/ 10 h 12"/>
                <a:gd name="T14" fmla="*/ 11 w 11"/>
                <a:gd name="T15" fmla="*/ 2 h 12"/>
                <a:gd name="T16" fmla="*/ 10 w 11"/>
                <a:gd name="T17" fmla="*/ 0 h 12"/>
                <a:gd name="T18" fmla="*/ 9 w 11"/>
                <a:gd name="T19" fmla="*/ 9 h 12"/>
                <a:gd name="T20" fmla="*/ 3 w 11"/>
                <a:gd name="T21" fmla="*/ 9 h 12"/>
                <a:gd name="T22" fmla="*/ 3 w 11"/>
                <a:gd name="T23" fmla="*/ 3 h 12"/>
                <a:gd name="T24" fmla="*/ 9 w 11"/>
                <a:gd name="T25" fmla="*/ 3 h 12"/>
                <a:gd name="T26" fmla="*/ 9 w 11"/>
                <a:gd name="T2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2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1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1" y="11"/>
                    <a:pt x="11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0"/>
                    <a:pt x="10" y="0"/>
                  </a:cubicBezTo>
                  <a:close/>
                  <a:moveTo>
                    <a:pt x="9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9" y="3"/>
                    <a:pt x="9" y="3"/>
                    <a:pt x="9" y="3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1" name="Freeform 96">
              <a:extLst>
                <a:ext uri="{FF2B5EF4-FFF2-40B4-BE49-F238E27FC236}">
                  <a16:creationId xmlns:a16="http://schemas.microsoft.com/office/drawing/2014/main" id="{24F9A1D3-1C78-44FD-B09F-3A97160B2D4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3021176"/>
              <a:ext cx="23664" cy="23664"/>
            </a:xfrm>
            <a:custGeom>
              <a:avLst/>
              <a:gdLst>
                <a:gd name="T0" fmla="*/ 10 w 11"/>
                <a:gd name="T1" fmla="*/ 0 h 11"/>
                <a:gd name="T2" fmla="*/ 1 w 11"/>
                <a:gd name="T3" fmla="*/ 0 h 11"/>
                <a:gd name="T4" fmla="*/ 0 w 11"/>
                <a:gd name="T5" fmla="*/ 1 h 11"/>
                <a:gd name="T6" fmla="*/ 0 w 11"/>
                <a:gd name="T7" fmla="*/ 10 h 11"/>
                <a:gd name="T8" fmla="*/ 1 w 11"/>
                <a:gd name="T9" fmla="*/ 11 h 11"/>
                <a:gd name="T10" fmla="*/ 10 w 11"/>
                <a:gd name="T11" fmla="*/ 11 h 11"/>
                <a:gd name="T12" fmla="*/ 11 w 11"/>
                <a:gd name="T13" fmla="*/ 10 h 11"/>
                <a:gd name="T14" fmla="*/ 11 w 11"/>
                <a:gd name="T15" fmla="*/ 1 h 11"/>
                <a:gd name="T16" fmla="*/ 10 w 11"/>
                <a:gd name="T17" fmla="*/ 0 h 11"/>
                <a:gd name="T18" fmla="*/ 9 w 11"/>
                <a:gd name="T19" fmla="*/ 8 h 11"/>
                <a:gd name="T20" fmla="*/ 3 w 11"/>
                <a:gd name="T21" fmla="*/ 8 h 11"/>
                <a:gd name="T22" fmla="*/ 3 w 11"/>
                <a:gd name="T23" fmla="*/ 2 h 11"/>
                <a:gd name="T24" fmla="*/ 9 w 11"/>
                <a:gd name="T25" fmla="*/ 2 h 11"/>
                <a:gd name="T26" fmla="*/ 9 w 11"/>
                <a:gd name="T27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11"/>
                    <a:pt x="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0" y="0"/>
                  </a:cubicBezTo>
                  <a:close/>
                  <a:moveTo>
                    <a:pt x="9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9" y="2"/>
                    <a:pt x="9" y="2"/>
                    <a:pt x="9" y="2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2" name="Rectangle 97">
              <a:extLst>
                <a:ext uri="{FF2B5EF4-FFF2-40B4-BE49-F238E27FC236}">
                  <a16:creationId xmlns:a16="http://schemas.microsoft.com/office/drawing/2014/main" id="{0CA29960-A694-4FF2-8F33-24959319778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869935"/>
              <a:ext cx="139924" cy="7202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3" name="Rectangle 98">
              <a:extLst>
                <a:ext uri="{FF2B5EF4-FFF2-40B4-BE49-F238E27FC236}">
                  <a16:creationId xmlns:a16="http://schemas.microsoft.com/office/drawing/2014/main" id="{51B7E4F3-50C7-4961-8AE1-A2A2067BEA7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885367"/>
              <a:ext cx="49385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4" name="Rectangle 99">
              <a:extLst>
                <a:ext uri="{FF2B5EF4-FFF2-40B4-BE49-F238E27FC236}">
                  <a16:creationId xmlns:a16="http://schemas.microsoft.com/office/drawing/2014/main" id="{D7BDD624-DD6A-4084-8D94-7C993595EEC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948128"/>
              <a:ext cx="139924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5" name="Rectangle 100">
              <a:extLst>
                <a:ext uri="{FF2B5EF4-FFF2-40B4-BE49-F238E27FC236}">
                  <a16:creationId xmlns:a16="http://schemas.microsoft.com/office/drawing/2014/main" id="{09DD52DF-641E-44BB-AE4D-F4E0A5872B3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960474"/>
              <a:ext cx="49385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6" name="Rectangle 101">
              <a:extLst>
                <a:ext uri="{FF2B5EF4-FFF2-40B4-BE49-F238E27FC236}">
                  <a16:creationId xmlns:a16="http://schemas.microsoft.com/office/drawing/2014/main" id="{D9930E4F-D1A5-49CA-B5AC-3C730E123D5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3023234"/>
              <a:ext cx="139924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7" name="Rectangle 102">
              <a:extLst>
                <a:ext uri="{FF2B5EF4-FFF2-40B4-BE49-F238E27FC236}">
                  <a16:creationId xmlns:a16="http://schemas.microsoft.com/office/drawing/2014/main" id="{DFDC543B-0A77-489F-9602-1EE81CA803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3035580"/>
              <a:ext cx="49385" cy="6173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8" name="Freeform 103">
              <a:extLst>
                <a:ext uri="{FF2B5EF4-FFF2-40B4-BE49-F238E27FC236}">
                  <a16:creationId xmlns:a16="http://schemas.microsoft.com/office/drawing/2014/main" id="{32819B09-F1B5-431D-A13F-FE31389849BB}"/>
                </a:ext>
              </a:extLst>
            </p:cNvPr>
            <p:cNvSpPr>
              <a:spLocks/>
            </p:cNvSpPr>
            <p:nvPr/>
          </p:nvSpPr>
          <p:spPr bwMode="gray">
            <a:xfrm>
              <a:off x="1217277" y="2749559"/>
              <a:ext cx="77164" cy="32923"/>
            </a:xfrm>
            <a:custGeom>
              <a:avLst/>
              <a:gdLst>
                <a:gd name="T0" fmla="*/ 5 w 36"/>
                <a:gd name="T1" fmla="*/ 14 h 15"/>
                <a:gd name="T2" fmla="*/ 9 w 36"/>
                <a:gd name="T3" fmla="*/ 12 h 15"/>
                <a:gd name="T4" fmla="*/ 21 w 36"/>
                <a:gd name="T5" fmla="*/ 15 h 15"/>
                <a:gd name="T6" fmla="*/ 36 w 36"/>
                <a:gd name="T7" fmla="*/ 8 h 15"/>
                <a:gd name="T8" fmla="*/ 21 w 36"/>
                <a:gd name="T9" fmla="*/ 0 h 15"/>
                <a:gd name="T10" fmla="*/ 7 w 36"/>
                <a:gd name="T11" fmla="*/ 5 h 15"/>
                <a:gd name="T12" fmla="*/ 5 w 36"/>
                <a:gd name="T13" fmla="*/ 4 h 15"/>
                <a:gd name="T14" fmla="*/ 0 w 36"/>
                <a:gd name="T15" fmla="*/ 9 h 15"/>
                <a:gd name="T16" fmla="*/ 5 w 36"/>
                <a:gd name="T1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5">
                  <a:moveTo>
                    <a:pt x="5" y="14"/>
                  </a:moveTo>
                  <a:cubicBezTo>
                    <a:pt x="7" y="14"/>
                    <a:pt x="8" y="13"/>
                    <a:pt x="9" y="12"/>
                  </a:cubicBezTo>
                  <a:cubicBezTo>
                    <a:pt x="11" y="14"/>
                    <a:pt x="16" y="15"/>
                    <a:pt x="21" y="15"/>
                  </a:cubicBezTo>
                  <a:cubicBezTo>
                    <a:pt x="29" y="15"/>
                    <a:pt x="36" y="12"/>
                    <a:pt x="36" y="8"/>
                  </a:cubicBezTo>
                  <a:cubicBezTo>
                    <a:pt x="36" y="3"/>
                    <a:pt x="29" y="0"/>
                    <a:pt x="21" y="0"/>
                  </a:cubicBezTo>
                  <a:cubicBezTo>
                    <a:pt x="15" y="0"/>
                    <a:pt x="9" y="2"/>
                    <a:pt x="7" y="5"/>
                  </a:cubicBezTo>
                  <a:cubicBezTo>
                    <a:pt x="6" y="5"/>
                    <a:pt x="6" y="4"/>
                    <a:pt x="5" y="4"/>
                  </a:cubicBezTo>
                  <a:cubicBezTo>
                    <a:pt x="2" y="4"/>
                    <a:pt x="0" y="7"/>
                    <a:pt x="0" y="9"/>
                  </a:cubicBezTo>
                  <a:cubicBezTo>
                    <a:pt x="0" y="12"/>
                    <a:pt x="2" y="14"/>
                    <a:pt x="5" y="1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9" name="Freeform 104">
              <a:extLst>
                <a:ext uri="{FF2B5EF4-FFF2-40B4-BE49-F238E27FC236}">
                  <a16:creationId xmlns:a16="http://schemas.microsoft.com/office/drawing/2014/main" id="{F1E4409B-BCB7-4400-BF2A-0572B5CCDE2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09247" y="2769107"/>
              <a:ext cx="312772" cy="404340"/>
            </a:xfrm>
            <a:custGeom>
              <a:avLst/>
              <a:gdLst>
                <a:gd name="T0" fmla="*/ 141 w 145"/>
                <a:gd name="T1" fmla="*/ 0 h 188"/>
                <a:gd name="T2" fmla="*/ 117 w 145"/>
                <a:gd name="T3" fmla="*/ 0 h 188"/>
                <a:gd name="T4" fmla="*/ 93 w 145"/>
                <a:gd name="T5" fmla="*/ 0 h 188"/>
                <a:gd name="T6" fmla="*/ 90 w 145"/>
                <a:gd name="T7" fmla="*/ 0 h 188"/>
                <a:gd name="T8" fmla="*/ 71 w 145"/>
                <a:gd name="T9" fmla="*/ 10 h 188"/>
                <a:gd name="T10" fmla="*/ 59 w 145"/>
                <a:gd name="T11" fmla="*/ 8 h 188"/>
                <a:gd name="T12" fmla="*/ 55 w 145"/>
                <a:gd name="T13" fmla="*/ 9 h 188"/>
                <a:gd name="T14" fmla="*/ 46 w 145"/>
                <a:gd name="T15" fmla="*/ 0 h 188"/>
                <a:gd name="T16" fmla="*/ 46 w 145"/>
                <a:gd name="T17" fmla="*/ 0 h 188"/>
                <a:gd name="T18" fmla="*/ 35 w 145"/>
                <a:gd name="T19" fmla="*/ 0 h 188"/>
                <a:gd name="T20" fmla="*/ 5 w 145"/>
                <a:gd name="T21" fmla="*/ 0 h 188"/>
                <a:gd name="T22" fmla="*/ 0 w 145"/>
                <a:gd name="T23" fmla="*/ 5 h 188"/>
                <a:gd name="T24" fmla="*/ 0 w 145"/>
                <a:gd name="T25" fmla="*/ 183 h 188"/>
                <a:gd name="T26" fmla="*/ 5 w 145"/>
                <a:gd name="T27" fmla="*/ 188 h 188"/>
                <a:gd name="T28" fmla="*/ 141 w 145"/>
                <a:gd name="T29" fmla="*/ 188 h 188"/>
                <a:gd name="T30" fmla="*/ 145 w 145"/>
                <a:gd name="T31" fmla="*/ 183 h 188"/>
                <a:gd name="T32" fmla="*/ 145 w 145"/>
                <a:gd name="T33" fmla="*/ 5 h 188"/>
                <a:gd name="T34" fmla="*/ 141 w 145"/>
                <a:gd name="T35" fmla="*/ 0 h 188"/>
                <a:gd name="T36" fmla="*/ 130 w 145"/>
                <a:gd name="T37" fmla="*/ 175 h 188"/>
                <a:gd name="T38" fmla="*/ 15 w 145"/>
                <a:gd name="T39" fmla="*/ 175 h 188"/>
                <a:gd name="T40" fmla="*/ 15 w 145"/>
                <a:gd name="T41" fmla="*/ 13 h 188"/>
                <a:gd name="T42" fmla="*/ 52 w 145"/>
                <a:gd name="T43" fmla="*/ 13 h 188"/>
                <a:gd name="T44" fmla="*/ 52 w 145"/>
                <a:gd name="T45" fmla="*/ 17 h 188"/>
                <a:gd name="T46" fmla="*/ 93 w 145"/>
                <a:gd name="T47" fmla="*/ 17 h 188"/>
                <a:gd name="T48" fmla="*/ 93 w 145"/>
                <a:gd name="T49" fmla="*/ 13 h 188"/>
                <a:gd name="T50" fmla="*/ 130 w 145"/>
                <a:gd name="T51" fmla="*/ 13 h 188"/>
                <a:gd name="T52" fmla="*/ 130 w 145"/>
                <a:gd name="T53" fmla="*/ 17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5" h="188">
                  <a:moveTo>
                    <a:pt x="141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89" y="6"/>
                    <a:pt x="81" y="10"/>
                    <a:pt x="71" y="10"/>
                  </a:cubicBezTo>
                  <a:cubicBezTo>
                    <a:pt x="67" y="10"/>
                    <a:pt x="63" y="9"/>
                    <a:pt x="59" y="8"/>
                  </a:cubicBezTo>
                  <a:cubicBezTo>
                    <a:pt x="58" y="9"/>
                    <a:pt x="56" y="9"/>
                    <a:pt x="55" y="9"/>
                  </a:cubicBezTo>
                  <a:cubicBezTo>
                    <a:pt x="50" y="9"/>
                    <a:pt x="46" y="5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86"/>
                    <a:pt x="2" y="188"/>
                    <a:pt x="5" y="188"/>
                  </a:cubicBezTo>
                  <a:cubicBezTo>
                    <a:pt x="141" y="188"/>
                    <a:pt x="141" y="188"/>
                    <a:pt x="141" y="188"/>
                  </a:cubicBezTo>
                  <a:cubicBezTo>
                    <a:pt x="143" y="188"/>
                    <a:pt x="145" y="186"/>
                    <a:pt x="145" y="183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2"/>
                    <a:pt x="143" y="0"/>
                    <a:pt x="141" y="0"/>
                  </a:cubicBezTo>
                  <a:close/>
                  <a:moveTo>
                    <a:pt x="130" y="175"/>
                  </a:moveTo>
                  <a:cubicBezTo>
                    <a:pt x="15" y="175"/>
                    <a:pt x="15" y="175"/>
                    <a:pt x="15" y="175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130" y="13"/>
                    <a:pt x="130" y="13"/>
                    <a:pt x="130" y="13"/>
                  </a:cubicBezTo>
                  <a:lnTo>
                    <a:pt x="130" y="17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0" name="Freeform 105">
              <a:extLst>
                <a:ext uri="{FF2B5EF4-FFF2-40B4-BE49-F238E27FC236}">
                  <a16:creationId xmlns:a16="http://schemas.microsoft.com/office/drawing/2014/main" id="{58A7FC8C-117B-437D-80DA-A2102704591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89072" y="2790713"/>
              <a:ext cx="235608" cy="601880"/>
            </a:xfrm>
            <a:custGeom>
              <a:avLst/>
              <a:gdLst>
                <a:gd name="T0" fmla="*/ 96 w 109"/>
                <a:gd name="T1" fmla="*/ 7 h 280"/>
                <a:gd name="T2" fmla="*/ 89 w 109"/>
                <a:gd name="T3" fmla="*/ 6 h 280"/>
                <a:gd name="T4" fmla="*/ 75 w 109"/>
                <a:gd name="T5" fmla="*/ 1 h 280"/>
                <a:gd name="T6" fmla="*/ 74 w 109"/>
                <a:gd name="T7" fmla="*/ 1 h 280"/>
                <a:gd name="T8" fmla="*/ 73 w 109"/>
                <a:gd name="T9" fmla="*/ 1 h 280"/>
                <a:gd name="T10" fmla="*/ 58 w 109"/>
                <a:gd name="T11" fmla="*/ 6 h 280"/>
                <a:gd name="T12" fmla="*/ 1 w 109"/>
                <a:gd name="T13" fmla="*/ 43 h 280"/>
                <a:gd name="T14" fmla="*/ 1 w 109"/>
                <a:gd name="T15" fmla="*/ 54 h 280"/>
                <a:gd name="T16" fmla="*/ 38 w 109"/>
                <a:gd name="T17" fmla="*/ 96 h 280"/>
                <a:gd name="T18" fmla="*/ 39 w 109"/>
                <a:gd name="T19" fmla="*/ 111 h 280"/>
                <a:gd name="T20" fmla="*/ 41 w 109"/>
                <a:gd name="T21" fmla="*/ 263 h 280"/>
                <a:gd name="T22" fmla="*/ 43 w 109"/>
                <a:gd name="T23" fmla="*/ 268 h 280"/>
                <a:gd name="T24" fmla="*/ 54 w 109"/>
                <a:gd name="T25" fmla="*/ 280 h 280"/>
                <a:gd name="T26" fmla="*/ 64 w 109"/>
                <a:gd name="T27" fmla="*/ 264 h 280"/>
                <a:gd name="T28" fmla="*/ 68 w 109"/>
                <a:gd name="T29" fmla="*/ 161 h 280"/>
                <a:gd name="T30" fmla="*/ 69 w 109"/>
                <a:gd name="T31" fmla="*/ 148 h 280"/>
                <a:gd name="T32" fmla="*/ 80 w 109"/>
                <a:gd name="T33" fmla="*/ 263 h 280"/>
                <a:gd name="T34" fmla="*/ 82 w 109"/>
                <a:gd name="T35" fmla="*/ 267 h 280"/>
                <a:gd name="T36" fmla="*/ 93 w 109"/>
                <a:gd name="T37" fmla="*/ 280 h 280"/>
                <a:gd name="T38" fmla="*/ 103 w 109"/>
                <a:gd name="T39" fmla="*/ 264 h 280"/>
                <a:gd name="T40" fmla="*/ 109 w 109"/>
                <a:gd name="T41" fmla="*/ 184 h 280"/>
                <a:gd name="T42" fmla="*/ 96 w 109"/>
                <a:gd name="T43" fmla="*/ 173 h 280"/>
                <a:gd name="T44" fmla="*/ 36 w 109"/>
                <a:gd name="T45" fmla="*/ 74 h 280"/>
                <a:gd name="T46" fmla="*/ 36 w 109"/>
                <a:gd name="T47" fmla="*/ 74 h 280"/>
                <a:gd name="T48" fmla="*/ 35 w 109"/>
                <a:gd name="T49" fmla="*/ 81 h 280"/>
                <a:gd name="T50" fmla="*/ 27 w 109"/>
                <a:gd name="T51" fmla="*/ 42 h 280"/>
                <a:gd name="T52" fmla="*/ 37 w 109"/>
                <a:gd name="T53" fmla="*/ 70 h 280"/>
                <a:gd name="T54" fmla="*/ 58 w 109"/>
                <a:gd name="T55" fmla="*/ 6 h 280"/>
                <a:gd name="T56" fmla="*/ 74 w 109"/>
                <a:gd name="T57" fmla="*/ 73 h 280"/>
                <a:gd name="T58" fmla="*/ 70 w 109"/>
                <a:gd name="T59" fmla="*/ 10 h 280"/>
                <a:gd name="T60" fmla="*/ 74 w 109"/>
                <a:gd name="T61" fmla="*/ 3 h 280"/>
                <a:gd name="T62" fmla="*/ 78 w 109"/>
                <a:gd name="T63" fmla="*/ 10 h 280"/>
                <a:gd name="T64" fmla="*/ 74 w 109"/>
                <a:gd name="T65" fmla="*/ 73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9" h="280">
                  <a:moveTo>
                    <a:pt x="96" y="173"/>
                  </a:moveTo>
                  <a:cubicBezTo>
                    <a:pt x="96" y="7"/>
                    <a:pt x="96" y="7"/>
                    <a:pt x="96" y="7"/>
                  </a:cubicBezTo>
                  <a:cubicBezTo>
                    <a:pt x="92" y="6"/>
                    <a:pt x="90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6" y="5"/>
                    <a:pt x="10" y="17"/>
                    <a:pt x="1" y="43"/>
                  </a:cubicBezTo>
                  <a:cubicBezTo>
                    <a:pt x="0" y="44"/>
                    <a:pt x="0" y="45"/>
                    <a:pt x="1" y="46"/>
                  </a:cubicBezTo>
                  <a:cubicBezTo>
                    <a:pt x="0" y="48"/>
                    <a:pt x="0" y="51"/>
                    <a:pt x="1" y="54"/>
                  </a:cubicBezTo>
                  <a:cubicBezTo>
                    <a:pt x="1" y="54"/>
                    <a:pt x="29" y="102"/>
                    <a:pt x="37" y="97"/>
                  </a:cubicBezTo>
                  <a:cubicBezTo>
                    <a:pt x="38" y="97"/>
                    <a:pt x="38" y="96"/>
                    <a:pt x="38" y="96"/>
                  </a:cubicBezTo>
                  <a:cubicBezTo>
                    <a:pt x="39" y="96"/>
                    <a:pt x="39" y="97"/>
                    <a:pt x="39" y="98"/>
                  </a:cubicBezTo>
                  <a:cubicBezTo>
                    <a:pt x="40" y="107"/>
                    <a:pt x="39" y="111"/>
                    <a:pt x="39" y="111"/>
                  </a:cubicBezTo>
                  <a:cubicBezTo>
                    <a:pt x="39" y="111"/>
                    <a:pt x="39" y="111"/>
                    <a:pt x="39" y="111"/>
                  </a:cubicBezTo>
                  <a:cubicBezTo>
                    <a:pt x="37" y="127"/>
                    <a:pt x="34" y="167"/>
                    <a:pt x="41" y="263"/>
                  </a:cubicBezTo>
                  <a:cubicBezTo>
                    <a:pt x="41" y="263"/>
                    <a:pt x="42" y="264"/>
                    <a:pt x="43" y="264"/>
                  </a:cubicBezTo>
                  <a:cubicBezTo>
                    <a:pt x="43" y="268"/>
                    <a:pt x="43" y="268"/>
                    <a:pt x="43" y="268"/>
                  </a:cubicBezTo>
                  <a:cubicBezTo>
                    <a:pt x="43" y="274"/>
                    <a:pt x="48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cubicBezTo>
                    <a:pt x="60" y="280"/>
                    <a:pt x="64" y="274"/>
                    <a:pt x="64" y="268"/>
                  </a:cubicBezTo>
                  <a:cubicBezTo>
                    <a:pt x="64" y="264"/>
                    <a:pt x="64" y="264"/>
                    <a:pt x="64" y="264"/>
                  </a:cubicBezTo>
                  <a:cubicBezTo>
                    <a:pt x="65" y="264"/>
                    <a:pt x="66" y="264"/>
                    <a:pt x="66" y="263"/>
                  </a:cubicBezTo>
                  <a:cubicBezTo>
                    <a:pt x="68" y="228"/>
                    <a:pt x="66" y="190"/>
                    <a:pt x="68" y="161"/>
                  </a:cubicBezTo>
                  <a:cubicBezTo>
                    <a:pt x="68" y="160"/>
                    <a:pt x="68" y="160"/>
                    <a:pt x="68" y="159"/>
                  </a:cubicBezTo>
                  <a:cubicBezTo>
                    <a:pt x="68" y="156"/>
                    <a:pt x="68" y="152"/>
                    <a:pt x="69" y="148"/>
                  </a:cubicBezTo>
                  <a:cubicBezTo>
                    <a:pt x="70" y="139"/>
                    <a:pt x="71" y="131"/>
                    <a:pt x="73" y="126"/>
                  </a:cubicBezTo>
                  <a:cubicBezTo>
                    <a:pt x="82" y="148"/>
                    <a:pt x="78" y="210"/>
                    <a:pt x="80" y="263"/>
                  </a:cubicBezTo>
                  <a:cubicBezTo>
                    <a:pt x="81" y="264"/>
                    <a:pt x="81" y="264"/>
                    <a:pt x="82" y="264"/>
                  </a:cubicBezTo>
                  <a:cubicBezTo>
                    <a:pt x="82" y="267"/>
                    <a:pt x="82" y="267"/>
                    <a:pt x="82" y="267"/>
                  </a:cubicBezTo>
                  <a:cubicBezTo>
                    <a:pt x="82" y="274"/>
                    <a:pt x="87" y="280"/>
                    <a:pt x="93" y="280"/>
                  </a:cubicBezTo>
                  <a:cubicBezTo>
                    <a:pt x="93" y="280"/>
                    <a:pt x="93" y="280"/>
                    <a:pt x="93" y="280"/>
                  </a:cubicBezTo>
                  <a:cubicBezTo>
                    <a:pt x="99" y="280"/>
                    <a:pt x="103" y="274"/>
                    <a:pt x="103" y="267"/>
                  </a:cubicBezTo>
                  <a:cubicBezTo>
                    <a:pt x="103" y="264"/>
                    <a:pt x="103" y="264"/>
                    <a:pt x="103" y="264"/>
                  </a:cubicBezTo>
                  <a:cubicBezTo>
                    <a:pt x="104" y="263"/>
                    <a:pt x="105" y="263"/>
                    <a:pt x="105" y="263"/>
                  </a:cubicBezTo>
                  <a:cubicBezTo>
                    <a:pt x="107" y="231"/>
                    <a:pt x="109" y="205"/>
                    <a:pt x="109" y="18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1" y="184"/>
                    <a:pt x="96" y="179"/>
                    <a:pt x="96" y="173"/>
                  </a:cubicBezTo>
                  <a:close/>
                  <a:moveTo>
                    <a:pt x="37" y="70"/>
                  </a:moveTo>
                  <a:cubicBezTo>
                    <a:pt x="36" y="71"/>
                    <a:pt x="36" y="72"/>
                    <a:pt x="36" y="74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5" y="76"/>
                    <a:pt x="35" y="78"/>
                    <a:pt x="35" y="80"/>
                  </a:cubicBezTo>
                  <a:cubicBezTo>
                    <a:pt x="35" y="80"/>
                    <a:pt x="35" y="80"/>
                    <a:pt x="35" y="81"/>
                  </a:cubicBezTo>
                  <a:cubicBezTo>
                    <a:pt x="30" y="67"/>
                    <a:pt x="21" y="51"/>
                    <a:pt x="19" y="46"/>
                  </a:cubicBezTo>
                  <a:cubicBezTo>
                    <a:pt x="22" y="45"/>
                    <a:pt x="25" y="43"/>
                    <a:pt x="27" y="42"/>
                  </a:cubicBezTo>
                  <a:cubicBezTo>
                    <a:pt x="31" y="40"/>
                    <a:pt x="39" y="36"/>
                    <a:pt x="45" y="33"/>
                  </a:cubicBezTo>
                  <a:lnTo>
                    <a:pt x="37" y="70"/>
                  </a:lnTo>
                  <a:close/>
                  <a:moveTo>
                    <a:pt x="58" y="6"/>
                  </a:move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lose/>
                  <a:moveTo>
                    <a:pt x="74" y="73"/>
                  </a:moveTo>
                  <a:cubicBezTo>
                    <a:pt x="69" y="68"/>
                    <a:pt x="69" y="68"/>
                    <a:pt x="69" y="68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69" y="9"/>
                    <a:pt x="69" y="9"/>
                    <a:pt x="69" y="8"/>
                  </a:cubicBezTo>
                  <a:cubicBezTo>
                    <a:pt x="69" y="5"/>
                    <a:pt x="71" y="3"/>
                    <a:pt x="74" y="3"/>
                  </a:cubicBezTo>
                  <a:cubicBezTo>
                    <a:pt x="76" y="3"/>
                    <a:pt x="78" y="5"/>
                    <a:pt x="78" y="8"/>
                  </a:cubicBezTo>
                  <a:cubicBezTo>
                    <a:pt x="78" y="9"/>
                    <a:pt x="78" y="9"/>
                    <a:pt x="78" y="10"/>
                  </a:cubicBezTo>
                  <a:cubicBezTo>
                    <a:pt x="79" y="68"/>
                    <a:pt x="79" y="68"/>
                    <a:pt x="79" y="68"/>
                  </a:cubicBezTo>
                  <a:lnTo>
                    <a:pt x="74" y="7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4001779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Object 53" hidden="1">
            <a:extLst>
              <a:ext uri="{FF2B5EF4-FFF2-40B4-BE49-F238E27FC236}">
                <a16:creationId xmlns:a16="http://schemas.microsoft.com/office/drawing/2014/main" id="{F1F4D57A-EADA-471D-B3B9-88A8FFAA3FF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4937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A97CE949-F1FD-476D-8586-2DCC152A93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Helvetica" panose="020B0604020202020204" pitchFamily="34" charset="0"/>
              <a:ea typeface="+mj-ea"/>
              <a:cs typeface="+mj-cs"/>
              <a:sym typeface="Helvetica" panose="020B0604020202020204" pitchFamily="34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6FA352F-C125-4136-BED9-9A54F8226093}"/>
              </a:ext>
            </a:extLst>
          </p:cNvPr>
          <p:cNvGrpSpPr/>
          <p:nvPr/>
        </p:nvGrpSpPr>
        <p:grpSpPr>
          <a:xfrm>
            <a:off x="470090" y="1268016"/>
            <a:ext cx="4424295" cy="3655677"/>
            <a:chOff x="470090" y="1268016"/>
            <a:chExt cx="4957695" cy="3655677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0ECC4C04-3995-499A-A345-E160AEDBF4FA}"/>
                </a:ext>
              </a:extLst>
            </p:cNvPr>
            <p:cNvSpPr/>
            <p:nvPr/>
          </p:nvSpPr>
          <p:spPr bwMode="gray">
            <a:xfrm>
              <a:off x="470090" y="1268016"/>
              <a:ext cx="4957695" cy="1433530"/>
            </a:xfrm>
            <a:custGeom>
              <a:avLst/>
              <a:gdLst>
                <a:gd name="connsiteX0" fmla="*/ 2872649 w 5745297"/>
                <a:gd name="connsiteY0" fmla="*/ 0 h 1690878"/>
                <a:gd name="connsiteX1" fmla="*/ 5745297 w 5745297"/>
                <a:gd name="connsiteY1" fmla="*/ 412119 h 1690878"/>
                <a:gd name="connsiteX2" fmla="*/ 5745297 w 5745297"/>
                <a:gd name="connsiteY2" fmla="*/ 414884 h 1690878"/>
                <a:gd name="connsiteX3" fmla="*/ 5745297 w 5745297"/>
                <a:gd name="connsiteY3" fmla="*/ 424464 h 1690878"/>
                <a:gd name="connsiteX4" fmla="*/ 5745297 w 5745297"/>
                <a:gd name="connsiteY4" fmla="*/ 1690878 h 1690878"/>
                <a:gd name="connsiteX5" fmla="*/ 0 w 5745297"/>
                <a:gd name="connsiteY5" fmla="*/ 1690878 h 1690878"/>
                <a:gd name="connsiteX6" fmla="*/ 0 w 5745297"/>
                <a:gd name="connsiteY6" fmla="*/ 424464 h 1690878"/>
                <a:gd name="connsiteX7" fmla="*/ 0 w 5745297"/>
                <a:gd name="connsiteY7" fmla="*/ 414884 h 1690878"/>
                <a:gd name="connsiteX8" fmla="*/ 0 w 5745297"/>
                <a:gd name="connsiteY8" fmla="*/ 412119 h 16908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45297" h="1690878">
                  <a:moveTo>
                    <a:pt x="2872649" y="0"/>
                  </a:moveTo>
                  <a:lnTo>
                    <a:pt x="5745297" y="412119"/>
                  </a:lnTo>
                  <a:lnTo>
                    <a:pt x="5745297" y="414884"/>
                  </a:lnTo>
                  <a:lnTo>
                    <a:pt x="5745297" y="424464"/>
                  </a:lnTo>
                  <a:lnTo>
                    <a:pt x="5745297" y="1690878"/>
                  </a:lnTo>
                  <a:lnTo>
                    <a:pt x="0" y="1690878"/>
                  </a:lnTo>
                  <a:lnTo>
                    <a:pt x="0" y="424464"/>
                  </a:lnTo>
                  <a:lnTo>
                    <a:pt x="0" y="414884"/>
                  </a:lnTo>
                  <a:lnTo>
                    <a:pt x="0" y="412119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wrap="square" lIns="0" tIns="0" rIns="0" bIns="0" rtlCol="0" anchor="t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sz="1100" b="1" kern="0" dirty="0">
                <a:solidFill>
                  <a:srgbClr val="CB225B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  <a:p>
              <a:pPr algn="ctr">
                <a:lnSpc>
                  <a:spcPct val="90000"/>
                </a:lnSpc>
              </a:pPr>
              <a:r>
                <a:rPr lang="en-US" sz="1100" b="1" kern="0" dirty="0">
                  <a:solidFill>
                    <a:schemeClr val="bg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Alignment &amp; Integration</a:t>
              </a: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DDC637A-2347-491F-8E45-F715BFD09EE3}"/>
                </a:ext>
              </a:extLst>
            </p:cNvPr>
            <p:cNvSpPr/>
            <p:nvPr/>
          </p:nvSpPr>
          <p:spPr bwMode="gray">
            <a:xfrm>
              <a:off x="2977376" y="3324688"/>
              <a:ext cx="2450409" cy="1599005"/>
            </a:xfrm>
            <a:custGeom>
              <a:avLst/>
              <a:gdLst>
                <a:gd name="connsiteX0" fmla="*/ 0 w 2839692"/>
                <a:gd name="connsiteY0" fmla="*/ 0 h 1462518"/>
                <a:gd name="connsiteX1" fmla="*/ 2839692 w 2839692"/>
                <a:gd name="connsiteY1" fmla="*/ 0 h 1462518"/>
                <a:gd name="connsiteX2" fmla="*/ 2839692 w 2839692"/>
                <a:gd name="connsiteY2" fmla="*/ 1462518 h 1462518"/>
                <a:gd name="connsiteX3" fmla="*/ 0 w 2839692"/>
                <a:gd name="connsiteY3" fmla="*/ 1462518 h 146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9692" h="1462518">
                  <a:moveTo>
                    <a:pt x="0" y="0"/>
                  </a:moveTo>
                  <a:lnTo>
                    <a:pt x="2839692" y="0"/>
                  </a:lnTo>
                  <a:lnTo>
                    <a:pt x="2839692" y="1462518"/>
                  </a:lnTo>
                  <a:lnTo>
                    <a:pt x="0" y="1462518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wrap="square" lIns="0" tIns="45720" rIns="0" bIns="0" rtlCol="0" anchor="t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en-US" sz="1100" b="1" dirty="0">
                  <a:solidFill>
                    <a:schemeClr val="bg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Preparation &amp; Improvement</a:t>
              </a:r>
            </a:p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b="1" kern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" name="Rectangle: Rounded Corners 80">
              <a:extLst>
                <a:ext uri="{FF2B5EF4-FFF2-40B4-BE49-F238E27FC236}">
                  <a16:creationId xmlns:a16="http://schemas.microsoft.com/office/drawing/2014/main" id="{9C886C26-E80E-45B8-8C9B-66ABF22CA607}"/>
                </a:ext>
              </a:extLst>
            </p:cNvPr>
            <p:cNvSpPr/>
            <p:nvPr/>
          </p:nvSpPr>
          <p:spPr bwMode="gray">
            <a:xfrm>
              <a:off x="504738" y="1995943"/>
              <a:ext cx="4887572" cy="287014"/>
            </a:xfrm>
            <a:prstGeom prst="roundRect">
              <a:avLst>
                <a:gd name="adj" fmla="val 8178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Integrated operating model across risk types</a:t>
              </a: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F9E5B915-D711-4C60-9E06-FD3E2A4DF593}"/>
                </a:ext>
              </a:extLst>
            </p:cNvPr>
            <p:cNvSpPr/>
            <p:nvPr/>
          </p:nvSpPr>
          <p:spPr bwMode="gray">
            <a:xfrm>
              <a:off x="470090" y="2747009"/>
              <a:ext cx="4957695" cy="537861"/>
            </a:xfrm>
            <a:custGeom>
              <a:avLst/>
              <a:gdLst>
                <a:gd name="connsiteX0" fmla="*/ 0 w 5745297"/>
                <a:gd name="connsiteY0" fmla="*/ 0 h 570134"/>
                <a:gd name="connsiteX1" fmla="*/ 5745297 w 5745297"/>
                <a:gd name="connsiteY1" fmla="*/ 0 h 570134"/>
                <a:gd name="connsiteX2" fmla="*/ 5745297 w 5745297"/>
                <a:gd name="connsiteY2" fmla="*/ 570134 h 570134"/>
                <a:gd name="connsiteX3" fmla="*/ 0 w 5745297"/>
                <a:gd name="connsiteY3" fmla="*/ 570134 h 570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45297" h="570134">
                  <a:moveTo>
                    <a:pt x="0" y="0"/>
                  </a:moveTo>
                  <a:lnTo>
                    <a:pt x="5745297" y="0"/>
                  </a:lnTo>
                  <a:lnTo>
                    <a:pt x="5745297" y="570134"/>
                  </a:lnTo>
                  <a:lnTo>
                    <a:pt x="0" y="570134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wrap="square" lIns="0" tIns="45720" rIns="0" bIns="0" rtlCol="0" anchor="t">
              <a:noAutofit/>
            </a:bodyPr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kern="0" dirty="0">
                  <a:solidFill>
                    <a:schemeClr val="bg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Visibility &amp; Actionability</a:t>
              </a:r>
            </a:p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b="1" kern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100" b="1" kern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33219912-3470-4C40-B66B-92D8F36AE7DE}"/>
                </a:ext>
              </a:extLst>
            </p:cNvPr>
            <p:cNvSpPr/>
            <p:nvPr/>
          </p:nvSpPr>
          <p:spPr bwMode="gray">
            <a:xfrm>
              <a:off x="470090" y="3324688"/>
              <a:ext cx="2463508" cy="1599005"/>
            </a:xfrm>
            <a:custGeom>
              <a:avLst/>
              <a:gdLst>
                <a:gd name="connsiteX0" fmla="*/ 0 w 2854872"/>
                <a:gd name="connsiteY0" fmla="*/ 0 h 1462518"/>
                <a:gd name="connsiteX1" fmla="*/ 2854872 w 2854872"/>
                <a:gd name="connsiteY1" fmla="*/ 0 h 1462518"/>
                <a:gd name="connsiteX2" fmla="*/ 2854872 w 2854872"/>
                <a:gd name="connsiteY2" fmla="*/ 1462518 h 1462518"/>
                <a:gd name="connsiteX3" fmla="*/ 0 w 2854872"/>
                <a:gd name="connsiteY3" fmla="*/ 1462518 h 1462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4872" h="1462518">
                  <a:moveTo>
                    <a:pt x="0" y="0"/>
                  </a:moveTo>
                  <a:lnTo>
                    <a:pt x="2854872" y="0"/>
                  </a:lnTo>
                  <a:lnTo>
                    <a:pt x="2854872" y="1462518"/>
                  </a:lnTo>
                  <a:lnTo>
                    <a:pt x="0" y="1462518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wrap="square" lIns="0" tIns="45720" rIns="0" bIns="0" rtlCol="0" anchor="t">
              <a:noAutofit/>
            </a:bodyPr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b="1" kern="0" dirty="0">
                  <a:solidFill>
                    <a:schemeClr val="bg1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Identification &amp; prioritization</a:t>
              </a:r>
            </a:p>
          </p:txBody>
        </p:sp>
        <p:sp>
          <p:nvSpPr>
            <p:cNvPr id="9" name="Rectangle: Rounded Corners 89">
              <a:extLst>
                <a:ext uri="{FF2B5EF4-FFF2-40B4-BE49-F238E27FC236}">
                  <a16:creationId xmlns:a16="http://schemas.microsoft.com/office/drawing/2014/main" id="{175A8F11-F8DE-4E19-AB6B-2BBEF2C27490}"/>
                </a:ext>
              </a:extLst>
            </p:cNvPr>
            <p:cNvSpPr/>
            <p:nvPr/>
          </p:nvSpPr>
          <p:spPr bwMode="gray">
            <a:xfrm>
              <a:off x="522189" y="4016661"/>
              <a:ext cx="742122" cy="633577"/>
            </a:xfrm>
            <a:prstGeom prst="roundRect">
              <a:avLst>
                <a:gd name="adj" fmla="val 4644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Predictive analytics and tools</a:t>
              </a:r>
            </a:p>
          </p:txBody>
        </p:sp>
        <p:sp>
          <p:nvSpPr>
            <p:cNvPr id="10" name="Rectangle: Rounded Corners 92">
              <a:extLst>
                <a:ext uri="{FF2B5EF4-FFF2-40B4-BE49-F238E27FC236}">
                  <a16:creationId xmlns:a16="http://schemas.microsoft.com/office/drawing/2014/main" id="{EBC183D1-A4F9-48A0-8D1A-59ECC080760E}"/>
                </a:ext>
              </a:extLst>
            </p:cNvPr>
            <p:cNvSpPr/>
            <p:nvPr/>
          </p:nvSpPr>
          <p:spPr bwMode="gray">
            <a:xfrm>
              <a:off x="522190" y="2949774"/>
              <a:ext cx="1576219" cy="287014"/>
            </a:xfrm>
            <a:prstGeom prst="roundRect">
              <a:avLst>
                <a:gd name="adj" fmla="val 17637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Cyber risk reporting capabilities</a:t>
              </a:r>
            </a:p>
          </p:txBody>
        </p:sp>
        <p:sp>
          <p:nvSpPr>
            <p:cNvPr id="11" name="Rectangle: Rounded Corners 83">
              <a:extLst>
                <a:ext uri="{FF2B5EF4-FFF2-40B4-BE49-F238E27FC236}">
                  <a16:creationId xmlns:a16="http://schemas.microsoft.com/office/drawing/2014/main" id="{049A34B1-97BA-43C9-9434-CB27198F575D}"/>
                </a:ext>
              </a:extLst>
            </p:cNvPr>
            <p:cNvSpPr/>
            <p:nvPr/>
          </p:nvSpPr>
          <p:spPr bwMode="gray">
            <a:xfrm>
              <a:off x="504738" y="2333845"/>
              <a:ext cx="4887571" cy="287014"/>
            </a:xfrm>
            <a:prstGeom prst="roundRect">
              <a:avLst>
                <a:gd name="adj" fmla="val 8178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End-to-end business service framework</a:t>
              </a:r>
            </a:p>
          </p:txBody>
        </p:sp>
        <p:sp>
          <p:nvSpPr>
            <p:cNvPr id="12" name="Rectangle: Rounded Corners 92">
              <a:extLst>
                <a:ext uri="{FF2B5EF4-FFF2-40B4-BE49-F238E27FC236}">
                  <a16:creationId xmlns:a16="http://schemas.microsoft.com/office/drawing/2014/main" id="{BC617EE5-C9D8-4D74-8838-641A27C52657}"/>
                </a:ext>
              </a:extLst>
            </p:cNvPr>
            <p:cNvSpPr/>
            <p:nvPr/>
          </p:nvSpPr>
          <p:spPr bwMode="gray">
            <a:xfrm>
              <a:off x="516494" y="3549190"/>
              <a:ext cx="2365526" cy="193234"/>
            </a:xfrm>
            <a:prstGeom prst="roundRect">
              <a:avLst>
                <a:gd name="adj" fmla="val 17637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Incident detection capabilities</a:t>
              </a:r>
            </a:p>
          </p:txBody>
        </p:sp>
        <p:sp>
          <p:nvSpPr>
            <p:cNvPr id="13" name="Rectangle: Rounded Corners 89">
              <a:extLst>
                <a:ext uri="{FF2B5EF4-FFF2-40B4-BE49-F238E27FC236}">
                  <a16:creationId xmlns:a16="http://schemas.microsoft.com/office/drawing/2014/main" id="{C85E7A13-CB9F-4AE6-AD68-6BD0004A198A}"/>
                </a:ext>
              </a:extLst>
            </p:cNvPr>
            <p:cNvSpPr/>
            <p:nvPr/>
          </p:nvSpPr>
          <p:spPr bwMode="gray">
            <a:xfrm>
              <a:off x="1334895" y="4016661"/>
              <a:ext cx="742122" cy="633577"/>
            </a:xfrm>
            <a:prstGeom prst="roundRect">
              <a:avLst>
                <a:gd name="adj" fmla="val 4644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Risk assess-ment</a:t>
              </a:r>
            </a:p>
          </p:txBody>
        </p:sp>
        <p:sp>
          <p:nvSpPr>
            <p:cNvPr id="14" name="Rectangle: Rounded Corners 89">
              <a:extLst>
                <a:ext uri="{FF2B5EF4-FFF2-40B4-BE49-F238E27FC236}">
                  <a16:creationId xmlns:a16="http://schemas.microsoft.com/office/drawing/2014/main" id="{C3AC85D3-5B5B-4BC7-9389-2A4FEB8AFF30}"/>
                </a:ext>
              </a:extLst>
            </p:cNvPr>
            <p:cNvSpPr/>
            <p:nvPr/>
          </p:nvSpPr>
          <p:spPr bwMode="gray">
            <a:xfrm>
              <a:off x="3849803" y="3992586"/>
              <a:ext cx="742122" cy="634544"/>
            </a:xfrm>
            <a:prstGeom prst="roundRect">
              <a:avLst>
                <a:gd name="adj" fmla="val 4644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Unified incident command</a:t>
              </a:r>
            </a:p>
          </p:txBody>
        </p:sp>
        <p:sp>
          <p:nvSpPr>
            <p:cNvPr id="15" name="Rectangle: Rounded Corners 89">
              <a:extLst>
                <a:ext uri="{FF2B5EF4-FFF2-40B4-BE49-F238E27FC236}">
                  <a16:creationId xmlns:a16="http://schemas.microsoft.com/office/drawing/2014/main" id="{B19E34D4-E146-4EA9-B9CE-81020A07AE0F}"/>
                </a:ext>
              </a:extLst>
            </p:cNvPr>
            <p:cNvSpPr/>
            <p:nvPr/>
          </p:nvSpPr>
          <p:spPr bwMode="gray">
            <a:xfrm>
              <a:off x="4652807" y="3992586"/>
              <a:ext cx="742122" cy="634544"/>
            </a:xfrm>
            <a:prstGeom prst="roundRect">
              <a:avLst>
                <a:gd name="adj" fmla="val 4644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Conti-nuous improve-ment</a:t>
              </a:r>
            </a:p>
          </p:txBody>
        </p:sp>
        <p:sp>
          <p:nvSpPr>
            <p:cNvPr id="16" name="Rectangle: Rounded Corners 92">
              <a:extLst>
                <a:ext uri="{FF2B5EF4-FFF2-40B4-BE49-F238E27FC236}">
                  <a16:creationId xmlns:a16="http://schemas.microsoft.com/office/drawing/2014/main" id="{F9EA83D0-3686-477D-A468-6CE4F3DB89FC}"/>
                </a:ext>
              </a:extLst>
            </p:cNvPr>
            <p:cNvSpPr/>
            <p:nvPr/>
          </p:nvSpPr>
          <p:spPr bwMode="gray">
            <a:xfrm>
              <a:off x="3773535" y="2949774"/>
              <a:ext cx="1576219" cy="287014"/>
            </a:xfrm>
            <a:prstGeom prst="roundRect">
              <a:avLst>
                <a:gd name="adj" fmla="val 17637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Integrated business decision</a:t>
              </a:r>
            </a:p>
          </p:txBody>
        </p:sp>
        <p:sp>
          <p:nvSpPr>
            <p:cNvPr id="17" name="Rectangle: Rounded Corners 89">
              <a:extLst>
                <a:ext uri="{FF2B5EF4-FFF2-40B4-BE49-F238E27FC236}">
                  <a16:creationId xmlns:a16="http://schemas.microsoft.com/office/drawing/2014/main" id="{5FE21E7E-88EE-4F13-BC7A-19DAFB0E86E7}"/>
                </a:ext>
              </a:extLst>
            </p:cNvPr>
            <p:cNvSpPr/>
            <p:nvPr/>
          </p:nvSpPr>
          <p:spPr bwMode="gray">
            <a:xfrm>
              <a:off x="2147601" y="4016661"/>
              <a:ext cx="742122" cy="633577"/>
            </a:xfrm>
            <a:prstGeom prst="roundRect">
              <a:avLst>
                <a:gd name="adj" fmla="val 4644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Quanti-fication</a:t>
              </a:r>
            </a:p>
          </p:txBody>
        </p:sp>
        <p:sp>
          <p:nvSpPr>
            <p:cNvPr id="18" name="Rectangle: Rounded Corners 92">
              <a:extLst>
                <a:ext uri="{FF2B5EF4-FFF2-40B4-BE49-F238E27FC236}">
                  <a16:creationId xmlns:a16="http://schemas.microsoft.com/office/drawing/2014/main" id="{F18FC2EC-FF0A-46E4-ACC5-DA93D5CC9C7D}"/>
                </a:ext>
              </a:extLst>
            </p:cNvPr>
            <p:cNvSpPr/>
            <p:nvPr/>
          </p:nvSpPr>
          <p:spPr bwMode="gray">
            <a:xfrm>
              <a:off x="3040248" y="3761425"/>
              <a:ext cx="2352918" cy="191343"/>
            </a:xfrm>
            <a:prstGeom prst="roundRect">
              <a:avLst>
                <a:gd name="adj" fmla="val 17637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Integrated resilience playbooks</a:t>
              </a:r>
            </a:p>
          </p:txBody>
        </p:sp>
        <p:sp>
          <p:nvSpPr>
            <p:cNvPr id="19" name="Rectangle: Rounded Corners 78">
              <a:extLst>
                <a:ext uri="{FF2B5EF4-FFF2-40B4-BE49-F238E27FC236}">
                  <a16:creationId xmlns:a16="http://schemas.microsoft.com/office/drawing/2014/main" id="{1BC5A96B-9398-4164-8CB2-6CBA900E6E7F}"/>
                </a:ext>
              </a:extLst>
            </p:cNvPr>
            <p:cNvSpPr/>
            <p:nvPr/>
          </p:nvSpPr>
          <p:spPr bwMode="gray">
            <a:xfrm>
              <a:off x="1770523" y="1663467"/>
              <a:ext cx="1090215" cy="287014"/>
            </a:xfrm>
            <a:prstGeom prst="roundRect">
              <a:avLst>
                <a:gd name="adj" fmla="val 11881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Impact tolerance</a:t>
              </a:r>
            </a:p>
          </p:txBody>
        </p:sp>
        <p:sp>
          <p:nvSpPr>
            <p:cNvPr id="20" name="Rectangle: Rounded Corners 78">
              <a:extLst>
                <a:ext uri="{FF2B5EF4-FFF2-40B4-BE49-F238E27FC236}">
                  <a16:creationId xmlns:a16="http://schemas.microsoft.com/office/drawing/2014/main" id="{C0F01E18-10AF-4BA5-A4AF-913ABA4D661B}"/>
                </a:ext>
              </a:extLst>
            </p:cNvPr>
            <p:cNvSpPr/>
            <p:nvPr/>
          </p:nvSpPr>
          <p:spPr bwMode="gray">
            <a:xfrm>
              <a:off x="512356" y="1663467"/>
              <a:ext cx="1090215" cy="287014"/>
            </a:xfrm>
            <a:prstGeom prst="roundRect">
              <a:avLst>
                <a:gd name="adj" fmla="val 11881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Objectives</a:t>
              </a:r>
            </a:p>
          </p:txBody>
        </p:sp>
        <p:sp>
          <p:nvSpPr>
            <p:cNvPr id="21" name="Rectangle: Rounded Corners 78">
              <a:extLst>
                <a:ext uri="{FF2B5EF4-FFF2-40B4-BE49-F238E27FC236}">
                  <a16:creationId xmlns:a16="http://schemas.microsoft.com/office/drawing/2014/main" id="{91BB5E89-4B2D-469A-AA0C-436E1ECAAC78}"/>
                </a:ext>
              </a:extLst>
            </p:cNvPr>
            <p:cNvSpPr/>
            <p:nvPr/>
          </p:nvSpPr>
          <p:spPr bwMode="gray">
            <a:xfrm>
              <a:off x="3036309" y="1663467"/>
              <a:ext cx="1090215" cy="287014"/>
            </a:xfrm>
            <a:prstGeom prst="roundRect">
              <a:avLst>
                <a:gd name="adj" fmla="val 11881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Strategy</a:t>
              </a:r>
            </a:p>
          </p:txBody>
        </p:sp>
        <p:sp>
          <p:nvSpPr>
            <p:cNvPr id="22" name="Rectangle: Rounded Corners 78">
              <a:extLst>
                <a:ext uri="{FF2B5EF4-FFF2-40B4-BE49-F238E27FC236}">
                  <a16:creationId xmlns:a16="http://schemas.microsoft.com/office/drawing/2014/main" id="{B50D9815-048F-4541-8D12-4533C472CA98}"/>
                </a:ext>
              </a:extLst>
            </p:cNvPr>
            <p:cNvSpPr/>
            <p:nvPr/>
          </p:nvSpPr>
          <p:spPr bwMode="gray">
            <a:xfrm>
              <a:off x="4302094" y="1663467"/>
              <a:ext cx="1090215" cy="287014"/>
            </a:xfrm>
            <a:prstGeom prst="roundRect">
              <a:avLst>
                <a:gd name="adj" fmla="val 11881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Talent and culture</a:t>
              </a:r>
            </a:p>
          </p:txBody>
        </p:sp>
        <p:sp>
          <p:nvSpPr>
            <p:cNvPr id="23" name="Rectangle: Rounded Corners 92">
              <a:extLst>
                <a:ext uri="{FF2B5EF4-FFF2-40B4-BE49-F238E27FC236}">
                  <a16:creationId xmlns:a16="http://schemas.microsoft.com/office/drawing/2014/main" id="{62DBD50F-47F2-4286-BF04-09DA0B076E8D}"/>
                </a:ext>
              </a:extLst>
            </p:cNvPr>
            <p:cNvSpPr/>
            <p:nvPr/>
          </p:nvSpPr>
          <p:spPr bwMode="gray">
            <a:xfrm>
              <a:off x="2147862" y="2949774"/>
              <a:ext cx="1576219" cy="287014"/>
            </a:xfrm>
            <a:prstGeom prst="roundRect">
              <a:avLst>
                <a:gd name="adj" fmla="val 17637"/>
              </a:avLst>
            </a:prstGeom>
            <a:solidFill>
              <a:schemeClr val="bg1"/>
            </a:solidFill>
            <a:ln w="9525">
              <a:noFill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Resilience measurement</a:t>
              </a:r>
            </a:p>
          </p:txBody>
        </p:sp>
        <p:sp>
          <p:nvSpPr>
            <p:cNvPr id="40" name="Rectangle: Rounded Corners 92">
              <a:extLst>
                <a:ext uri="{FF2B5EF4-FFF2-40B4-BE49-F238E27FC236}">
                  <a16:creationId xmlns:a16="http://schemas.microsoft.com/office/drawing/2014/main" id="{44CCEC04-41BC-4595-94B5-9F06FEA2A127}"/>
                </a:ext>
              </a:extLst>
            </p:cNvPr>
            <p:cNvSpPr/>
            <p:nvPr/>
          </p:nvSpPr>
          <p:spPr bwMode="gray">
            <a:xfrm>
              <a:off x="524196" y="3784234"/>
              <a:ext cx="2365527" cy="193234"/>
            </a:xfrm>
            <a:prstGeom prst="roundRect">
              <a:avLst>
                <a:gd name="adj" fmla="val 17637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Scenario framework</a:t>
              </a:r>
            </a:p>
          </p:txBody>
        </p:sp>
        <p:sp>
          <p:nvSpPr>
            <p:cNvPr id="41" name="Rectangle: Rounded Corners 92">
              <a:extLst>
                <a:ext uri="{FF2B5EF4-FFF2-40B4-BE49-F238E27FC236}">
                  <a16:creationId xmlns:a16="http://schemas.microsoft.com/office/drawing/2014/main" id="{AD14539D-D644-4B41-9DA3-FDDCFE60D10D}"/>
                </a:ext>
              </a:extLst>
            </p:cNvPr>
            <p:cNvSpPr/>
            <p:nvPr/>
          </p:nvSpPr>
          <p:spPr bwMode="gray">
            <a:xfrm>
              <a:off x="524196" y="4678794"/>
              <a:ext cx="2365527" cy="193234"/>
            </a:xfrm>
            <a:prstGeom prst="roundRect">
              <a:avLst>
                <a:gd name="adj" fmla="val 17637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Security architecture</a:t>
              </a:r>
            </a:p>
          </p:txBody>
        </p:sp>
        <p:sp>
          <p:nvSpPr>
            <p:cNvPr id="42" name="Rectangle: Rounded Corners 92">
              <a:extLst>
                <a:ext uri="{FF2B5EF4-FFF2-40B4-BE49-F238E27FC236}">
                  <a16:creationId xmlns:a16="http://schemas.microsoft.com/office/drawing/2014/main" id="{B8E8F55E-1EC1-4995-A5A5-9B72EE866E75}"/>
                </a:ext>
              </a:extLst>
            </p:cNvPr>
            <p:cNvSpPr/>
            <p:nvPr/>
          </p:nvSpPr>
          <p:spPr bwMode="gray">
            <a:xfrm>
              <a:off x="3040248" y="3528442"/>
              <a:ext cx="2352918" cy="191343"/>
            </a:xfrm>
            <a:prstGeom prst="roundRect">
              <a:avLst>
                <a:gd name="adj" fmla="val 17637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Integrated resilience testing</a:t>
              </a:r>
            </a:p>
          </p:txBody>
        </p:sp>
        <p:sp>
          <p:nvSpPr>
            <p:cNvPr id="43" name="Rectangle: Rounded Corners 89">
              <a:extLst>
                <a:ext uri="{FF2B5EF4-FFF2-40B4-BE49-F238E27FC236}">
                  <a16:creationId xmlns:a16="http://schemas.microsoft.com/office/drawing/2014/main" id="{D3C2F51F-0934-414D-B876-810438D1FD38}"/>
                </a:ext>
              </a:extLst>
            </p:cNvPr>
            <p:cNvSpPr/>
            <p:nvPr/>
          </p:nvSpPr>
          <p:spPr bwMode="gray">
            <a:xfrm>
              <a:off x="3074405" y="3992586"/>
              <a:ext cx="742122" cy="634544"/>
            </a:xfrm>
            <a:prstGeom prst="roundRect">
              <a:avLst>
                <a:gd name="adj" fmla="val 4644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>
                <a:lnSpc>
                  <a:spcPct val="90000"/>
                </a:lnSpc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Response and recovery</a:t>
              </a:r>
            </a:p>
          </p:txBody>
        </p:sp>
        <p:sp>
          <p:nvSpPr>
            <p:cNvPr id="44" name="Rectangle: Rounded Corners 92">
              <a:extLst>
                <a:ext uri="{FF2B5EF4-FFF2-40B4-BE49-F238E27FC236}">
                  <a16:creationId xmlns:a16="http://schemas.microsoft.com/office/drawing/2014/main" id="{35A4D846-031F-4D76-9D53-2D230EBF801D}"/>
                </a:ext>
              </a:extLst>
            </p:cNvPr>
            <p:cNvSpPr/>
            <p:nvPr/>
          </p:nvSpPr>
          <p:spPr bwMode="gray">
            <a:xfrm>
              <a:off x="3040248" y="4675113"/>
              <a:ext cx="2352918" cy="191343"/>
            </a:xfrm>
            <a:prstGeom prst="roundRect">
              <a:avLst>
                <a:gd name="adj" fmla="val 17637"/>
              </a:avLst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>
              <a:outerShdw dist="25400" dir="2700000" algn="tl" rotWithShape="0">
                <a:schemeClr val="accent3">
                  <a:alpha val="40000"/>
                </a:schemeClr>
              </a:outerShdw>
            </a:effectLst>
          </p:spPr>
          <p:txBody>
            <a:bodyPr lIns="0" tIns="0" rIns="0" bIns="0" rtlCol="0" anchor="ctr"/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100" kern="0" dirty="0">
                  <a:solidFill>
                    <a:schemeClr val="tx2"/>
                  </a:solidFill>
                  <a:latin typeface="Helvetica" panose="020B0604020202020204" pitchFamily="34" charset="0"/>
                  <a:cs typeface="Helvetica" panose="020B0604020202020204" pitchFamily="34" charset="0"/>
                </a:rPr>
                <a:t>Resilience by design</a:t>
              </a:r>
            </a:p>
          </p:txBody>
        </p:sp>
      </p:grpSp>
      <p:sp>
        <p:nvSpPr>
          <p:cNvPr id="50" name="Rectangle 49">
            <a:extLst>
              <a:ext uri="{FF2B5EF4-FFF2-40B4-BE49-F238E27FC236}">
                <a16:creationId xmlns:a16="http://schemas.microsoft.com/office/drawing/2014/main" id="{AD806882-0F62-466C-AA31-4F06BDC1B7F1}"/>
              </a:ext>
            </a:extLst>
          </p:cNvPr>
          <p:cNvSpPr/>
          <p:nvPr/>
        </p:nvSpPr>
        <p:spPr>
          <a:xfrm>
            <a:off x="5447255" y="1217544"/>
            <a:ext cx="3627397" cy="373948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800"/>
              </a:spcBef>
              <a:buSzPts val="1200"/>
            </a:pPr>
            <a:r>
              <a:rPr lang="en-US" sz="1400" b="1" kern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isk reduction: </a:t>
            </a:r>
            <a:r>
              <a:rPr lang="en-US" sz="1400" kern="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educed severity and likelihood incidents</a:t>
            </a:r>
          </a:p>
          <a:p>
            <a:pPr>
              <a:spcBef>
                <a:spcPts val="1800"/>
              </a:spcBef>
            </a:pPr>
            <a:r>
              <a:rPr lang="en-US" sz="14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st avoidance: </a:t>
            </a: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tegrated approach allows to </a:t>
            </a:r>
            <a:r>
              <a:rPr lang="en-US" sz="1400" i="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“secure more for less”</a:t>
            </a:r>
            <a:endParaRPr lang="en-US" sz="1400" b="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Bef>
                <a:spcPts val="1800"/>
              </a:spcBef>
            </a:pPr>
            <a:r>
              <a:rPr lang="en-US" sz="14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rganizational focus: </a:t>
            </a: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ioritization of investment on  critical business services</a:t>
            </a:r>
          </a:p>
          <a:p>
            <a:pPr>
              <a:spcBef>
                <a:spcPts val="1800"/>
              </a:spcBef>
            </a:pPr>
            <a:r>
              <a:rPr lang="en-US" sz="14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mplification: </a:t>
            </a:r>
            <a:r>
              <a:rPr lang="en-US" sz="1400" i="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“Resilience by design” to </a:t>
            </a: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educe complexity and increase transparency</a:t>
            </a:r>
          </a:p>
          <a:p>
            <a:pPr>
              <a:spcBef>
                <a:spcPts val="1800"/>
              </a:spcBef>
            </a:pPr>
            <a:r>
              <a:rPr lang="en-US" sz="14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usiness ownership: </a:t>
            </a: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perating model and capabilities to enable the business</a:t>
            </a:r>
            <a:endParaRPr lang="en-GB" sz="1400" b="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Bef>
                <a:spcPts val="1800"/>
              </a:spcBef>
            </a:pPr>
            <a:r>
              <a:rPr lang="en-US" sz="14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usiness opportunities: </a:t>
            </a: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daptiveness to exploit opportunities arising from change</a:t>
            </a:r>
            <a:endParaRPr lang="en-GB" sz="1400" b="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40EE0C4F-F92E-4EC2-BAC2-E7F7E328468B}"/>
              </a:ext>
            </a:extLst>
          </p:cNvPr>
          <p:cNvSpPr/>
          <p:nvPr/>
        </p:nvSpPr>
        <p:spPr>
          <a:xfrm>
            <a:off x="5028738" y="2988691"/>
            <a:ext cx="284164" cy="539751"/>
          </a:xfrm>
          <a:custGeom>
            <a:avLst/>
            <a:gdLst/>
            <a:ahLst/>
            <a:cxnLst/>
            <a:rect l="0" t="0" r="0" b="0"/>
            <a:pathLst>
              <a:path w="284164" h="539751">
                <a:moveTo>
                  <a:pt x="0" y="0"/>
                </a:moveTo>
                <a:lnTo>
                  <a:pt x="0" y="133350"/>
                </a:lnTo>
                <a:lnTo>
                  <a:pt x="138113" y="269875"/>
                </a:lnTo>
                <a:lnTo>
                  <a:pt x="0" y="412750"/>
                </a:lnTo>
                <a:lnTo>
                  <a:pt x="0" y="539750"/>
                </a:lnTo>
                <a:lnTo>
                  <a:pt x="284163" y="269875"/>
                </a:lnTo>
                <a:close/>
              </a:path>
            </a:pathLst>
          </a:cu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57" name="CuadroTexto 6">
            <a:extLst>
              <a:ext uri="{FF2B5EF4-FFF2-40B4-BE49-F238E27FC236}">
                <a16:creationId xmlns:a16="http://schemas.microsoft.com/office/drawing/2014/main" id="{567DC7C8-D13A-4D58-8E10-8B49860BEC36}"/>
              </a:ext>
            </a:extLst>
          </p:cNvPr>
          <p:cNvSpPr txBox="1"/>
          <p:nvPr/>
        </p:nvSpPr>
        <p:spPr>
          <a:xfrm>
            <a:off x="619160" y="338006"/>
            <a:ext cx="85248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cap="all" dirty="0">
                <a:solidFill>
                  <a:srgbClr val="092566"/>
                </a:solidFill>
                <a:latin typeface="Helvetica" pitchFamily="2" charset="0"/>
              </a:rPr>
              <a:t>Cyber resilience framework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CDE619D-95F5-4E76-849D-D6E7C16C733E}"/>
              </a:ext>
            </a:extLst>
          </p:cNvPr>
          <p:cNvGrpSpPr>
            <a:grpSpLocks noChangeAspect="1"/>
          </p:cNvGrpSpPr>
          <p:nvPr/>
        </p:nvGrpSpPr>
        <p:grpSpPr>
          <a:xfrm>
            <a:off x="8784093" y="56364"/>
            <a:ext cx="384048" cy="384048"/>
            <a:chOff x="676331" y="2546807"/>
            <a:chExt cx="951614" cy="951614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2E73082-C38D-4206-9E4C-37FD5E684601}"/>
                </a:ext>
              </a:extLst>
            </p:cNvPr>
            <p:cNvSpPr/>
            <p:nvPr/>
          </p:nvSpPr>
          <p:spPr bwMode="gray">
            <a:xfrm>
              <a:off x="676331" y="2546807"/>
              <a:ext cx="951614" cy="95161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sp>
          <p:nvSpPr>
            <p:cNvPr id="35" name="Oval 93">
              <a:extLst>
                <a:ext uri="{FF2B5EF4-FFF2-40B4-BE49-F238E27FC236}">
                  <a16:creationId xmlns:a16="http://schemas.microsoft.com/office/drawing/2014/main" id="{355EEA3B-4F38-4D77-9F77-E0068172BC6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90929" y="2668279"/>
              <a:ext cx="114203" cy="116261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Freeform 94">
              <a:extLst>
                <a:ext uri="{FF2B5EF4-FFF2-40B4-BE49-F238E27FC236}">
                  <a16:creationId xmlns:a16="http://schemas.microsoft.com/office/drawing/2014/main" id="{337D9965-559B-466F-891A-9C51309697C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2867877"/>
              <a:ext cx="23664" cy="23664"/>
            </a:xfrm>
            <a:custGeom>
              <a:avLst/>
              <a:gdLst>
                <a:gd name="T0" fmla="*/ 10 w 11"/>
                <a:gd name="T1" fmla="*/ 0 h 11"/>
                <a:gd name="T2" fmla="*/ 1 w 11"/>
                <a:gd name="T3" fmla="*/ 0 h 11"/>
                <a:gd name="T4" fmla="*/ 0 w 11"/>
                <a:gd name="T5" fmla="*/ 1 h 11"/>
                <a:gd name="T6" fmla="*/ 0 w 11"/>
                <a:gd name="T7" fmla="*/ 10 h 11"/>
                <a:gd name="T8" fmla="*/ 1 w 11"/>
                <a:gd name="T9" fmla="*/ 11 h 11"/>
                <a:gd name="T10" fmla="*/ 10 w 11"/>
                <a:gd name="T11" fmla="*/ 11 h 11"/>
                <a:gd name="T12" fmla="*/ 11 w 11"/>
                <a:gd name="T13" fmla="*/ 10 h 11"/>
                <a:gd name="T14" fmla="*/ 11 w 11"/>
                <a:gd name="T15" fmla="*/ 1 h 11"/>
                <a:gd name="T16" fmla="*/ 10 w 11"/>
                <a:gd name="T17" fmla="*/ 0 h 11"/>
                <a:gd name="T18" fmla="*/ 9 w 11"/>
                <a:gd name="T19" fmla="*/ 9 h 11"/>
                <a:gd name="T20" fmla="*/ 3 w 11"/>
                <a:gd name="T21" fmla="*/ 9 h 11"/>
                <a:gd name="T22" fmla="*/ 3 w 11"/>
                <a:gd name="T23" fmla="*/ 3 h 11"/>
                <a:gd name="T24" fmla="*/ 9 w 11"/>
                <a:gd name="T25" fmla="*/ 3 h 11"/>
                <a:gd name="T26" fmla="*/ 9 w 11"/>
                <a:gd name="T27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1"/>
                    <a:pt x="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1"/>
                    <a:pt x="11" y="1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0"/>
                    <a:pt x="10" y="0"/>
                  </a:cubicBezTo>
                  <a:close/>
                  <a:moveTo>
                    <a:pt x="9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9" y="3"/>
                    <a:pt x="9" y="3"/>
                    <a:pt x="9" y="3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" name="Freeform 95">
              <a:extLst>
                <a:ext uri="{FF2B5EF4-FFF2-40B4-BE49-F238E27FC236}">
                  <a16:creationId xmlns:a16="http://schemas.microsoft.com/office/drawing/2014/main" id="{23627E14-F33C-4021-B54A-A9B8BC979BC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2942983"/>
              <a:ext cx="23664" cy="25721"/>
            </a:xfrm>
            <a:custGeom>
              <a:avLst/>
              <a:gdLst>
                <a:gd name="T0" fmla="*/ 10 w 11"/>
                <a:gd name="T1" fmla="*/ 0 h 12"/>
                <a:gd name="T2" fmla="*/ 1 w 11"/>
                <a:gd name="T3" fmla="*/ 0 h 12"/>
                <a:gd name="T4" fmla="*/ 0 w 11"/>
                <a:gd name="T5" fmla="*/ 2 h 12"/>
                <a:gd name="T6" fmla="*/ 0 w 11"/>
                <a:gd name="T7" fmla="*/ 10 h 12"/>
                <a:gd name="T8" fmla="*/ 1 w 11"/>
                <a:gd name="T9" fmla="*/ 12 h 12"/>
                <a:gd name="T10" fmla="*/ 10 w 11"/>
                <a:gd name="T11" fmla="*/ 12 h 12"/>
                <a:gd name="T12" fmla="*/ 11 w 11"/>
                <a:gd name="T13" fmla="*/ 10 h 12"/>
                <a:gd name="T14" fmla="*/ 11 w 11"/>
                <a:gd name="T15" fmla="*/ 2 h 12"/>
                <a:gd name="T16" fmla="*/ 10 w 11"/>
                <a:gd name="T17" fmla="*/ 0 h 12"/>
                <a:gd name="T18" fmla="*/ 9 w 11"/>
                <a:gd name="T19" fmla="*/ 9 h 12"/>
                <a:gd name="T20" fmla="*/ 3 w 11"/>
                <a:gd name="T21" fmla="*/ 9 h 12"/>
                <a:gd name="T22" fmla="*/ 3 w 11"/>
                <a:gd name="T23" fmla="*/ 3 h 12"/>
                <a:gd name="T24" fmla="*/ 9 w 11"/>
                <a:gd name="T25" fmla="*/ 3 h 12"/>
                <a:gd name="T26" fmla="*/ 9 w 11"/>
                <a:gd name="T2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2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1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1" y="11"/>
                    <a:pt x="11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0"/>
                    <a:pt x="10" y="0"/>
                  </a:cubicBezTo>
                  <a:close/>
                  <a:moveTo>
                    <a:pt x="9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9" y="3"/>
                    <a:pt x="9" y="3"/>
                    <a:pt x="9" y="3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Freeform 96">
              <a:extLst>
                <a:ext uri="{FF2B5EF4-FFF2-40B4-BE49-F238E27FC236}">
                  <a16:creationId xmlns:a16="http://schemas.microsoft.com/office/drawing/2014/main" id="{147730D6-1029-461D-95DE-80E46F48478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3021176"/>
              <a:ext cx="23664" cy="23664"/>
            </a:xfrm>
            <a:custGeom>
              <a:avLst/>
              <a:gdLst>
                <a:gd name="T0" fmla="*/ 10 w 11"/>
                <a:gd name="T1" fmla="*/ 0 h 11"/>
                <a:gd name="T2" fmla="*/ 1 w 11"/>
                <a:gd name="T3" fmla="*/ 0 h 11"/>
                <a:gd name="T4" fmla="*/ 0 w 11"/>
                <a:gd name="T5" fmla="*/ 1 h 11"/>
                <a:gd name="T6" fmla="*/ 0 w 11"/>
                <a:gd name="T7" fmla="*/ 10 h 11"/>
                <a:gd name="T8" fmla="*/ 1 w 11"/>
                <a:gd name="T9" fmla="*/ 11 h 11"/>
                <a:gd name="T10" fmla="*/ 10 w 11"/>
                <a:gd name="T11" fmla="*/ 11 h 11"/>
                <a:gd name="T12" fmla="*/ 11 w 11"/>
                <a:gd name="T13" fmla="*/ 10 h 11"/>
                <a:gd name="T14" fmla="*/ 11 w 11"/>
                <a:gd name="T15" fmla="*/ 1 h 11"/>
                <a:gd name="T16" fmla="*/ 10 w 11"/>
                <a:gd name="T17" fmla="*/ 0 h 11"/>
                <a:gd name="T18" fmla="*/ 9 w 11"/>
                <a:gd name="T19" fmla="*/ 8 h 11"/>
                <a:gd name="T20" fmla="*/ 3 w 11"/>
                <a:gd name="T21" fmla="*/ 8 h 11"/>
                <a:gd name="T22" fmla="*/ 3 w 11"/>
                <a:gd name="T23" fmla="*/ 2 h 11"/>
                <a:gd name="T24" fmla="*/ 9 w 11"/>
                <a:gd name="T25" fmla="*/ 2 h 11"/>
                <a:gd name="T26" fmla="*/ 9 w 11"/>
                <a:gd name="T27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11"/>
                    <a:pt x="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0" y="0"/>
                  </a:cubicBezTo>
                  <a:close/>
                  <a:moveTo>
                    <a:pt x="9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9" y="2"/>
                    <a:pt x="9" y="2"/>
                    <a:pt x="9" y="2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Rectangle 97">
              <a:extLst>
                <a:ext uri="{FF2B5EF4-FFF2-40B4-BE49-F238E27FC236}">
                  <a16:creationId xmlns:a16="http://schemas.microsoft.com/office/drawing/2014/main" id="{B05E9E97-E205-4A0F-B017-F2A8C0B9A07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869935"/>
              <a:ext cx="139924" cy="7202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Rectangle 98">
              <a:extLst>
                <a:ext uri="{FF2B5EF4-FFF2-40B4-BE49-F238E27FC236}">
                  <a16:creationId xmlns:a16="http://schemas.microsoft.com/office/drawing/2014/main" id="{74C2AA5E-4830-47D0-95CE-2319AE0A3F8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885367"/>
              <a:ext cx="49385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Rectangle 99">
              <a:extLst>
                <a:ext uri="{FF2B5EF4-FFF2-40B4-BE49-F238E27FC236}">
                  <a16:creationId xmlns:a16="http://schemas.microsoft.com/office/drawing/2014/main" id="{FB39A8AC-B5F9-45C8-9080-99D5E3B29A0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948128"/>
              <a:ext cx="139924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7" name="Rectangle 100">
              <a:extLst>
                <a:ext uri="{FF2B5EF4-FFF2-40B4-BE49-F238E27FC236}">
                  <a16:creationId xmlns:a16="http://schemas.microsoft.com/office/drawing/2014/main" id="{3B2E0C6B-734C-4564-8DDE-517D94CA890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960474"/>
              <a:ext cx="49385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8" name="Rectangle 101">
              <a:extLst>
                <a:ext uri="{FF2B5EF4-FFF2-40B4-BE49-F238E27FC236}">
                  <a16:creationId xmlns:a16="http://schemas.microsoft.com/office/drawing/2014/main" id="{D975B7A2-2CB3-43B0-89D9-CAB59606D07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3023234"/>
              <a:ext cx="139924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9" name="Rectangle 102">
              <a:extLst>
                <a:ext uri="{FF2B5EF4-FFF2-40B4-BE49-F238E27FC236}">
                  <a16:creationId xmlns:a16="http://schemas.microsoft.com/office/drawing/2014/main" id="{B9E133DF-704E-4AC1-8332-9083BA92153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3035580"/>
              <a:ext cx="49385" cy="6173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5" name="Freeform 103">
              <a:extLst>
                <a:ext uri="{FF2B5EF4-FFF2-40B4-BE49-F238E27FC236}">
                  <a16:creationId xmlns:a16="http://schemas.microsoft.com/office/drawing/2014/main" id="{DF293013-A873-4E8C-8989-F183782A744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17277" y="2749559"/>
              <a:ext cx="77164" cy="32923"/>
            </a:xfrm>
            <a:custGeom>
              <a:avLst/>
              <a:gdLst>
                <a:gd name="T0" fmla="*/ 5 w 36"/>
                <a:gd name="T1" fmla="*/ 14 h 15"/>
                <a:gd name="T2" fmla="*/ 9 w 36"/>
                <a:gd name="T3" fmla="*/ 12 h 15"/>
                <a:gd name="T4" fmla="*/ 21 w 36"/>
                <a:gd name="T5" fmla="*/ 15 h 15"/>
                <a:gd name="T6" fmla="*/ 36 w 36"/>
                <a:gd name="T7" fmla="*/ 8 h 15"/>
                <a:gd name="T8" fmla="*/ 21 w 36"/>
                <a:gd name="T9" fmla="*/ 0 h 15"/>
                <a:gd name="T10" fmla="*/ 7 w 36"/>
                <a:gd name="T11" fmla="*/ 5 h 15"/>
                <a:gd name="T12" fmla="*/ 5 w 36"/>
                <a:gd name="T13" fmla="*/ 4 h 15"/>
                <a:gd name="T14" fmla="*/ 0 w 36"/>
                <a:gd name="T15" fmla="*/ 9 h 15"/>
                <a:gd name="T16" fmla="*/ 5 w 36"/>
                <a:gd name="T1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5">
                  <a:moveTo>
                    <a:pt x="5" y="14"/>
                  </a:moveTo>
                  <a:cubicBezTo>
                    <a:pt x="7" y="14"/>
                    <a:pt x="8" y="13"/>
                    <a:pt x="9" y="12"/>
                  </a:cubicBezTo>
                  <a:cubicBezTo>
                    <a:pt x="11" y="14"/>
                    <a:pt x="16" y="15"/>
                    <a:pt x="21" y="15"/>
                  </a:cubicBezTo>
                  <a:cubicBezTo>
                    <a:pt x="29" y="15"/>
                    <a:pt x="36" y="12"/>
                    <a:pt x="36" y="8"/>
                  </a:cubicBezTo>
                  <a:cubicBezTo>
                    <a:pt x="36" y="3"/>
                    <a:pt x="29" y="0"/>
                    <a:pt x="21" y="0"/>
                  </a:cubicBezTo>
                  <a:cubicBezTo>
                    <a:pt x="15" y="0"/>
                    <a:pt x="9" y="2"/>
                    <a:pt x="7" y="5"/>
                  </a:cubicBezTo>
                  <a:cubicBezTo>
                    <a:pt x="6" y="5"/>
                    <a:pt x="6" y="4"/>
                    <a:pt x="5" y="4"/>
                  </a:cubicBezTo>
                  <a:cubicBezTo>
                    <a:pt x="2" y="4"/>
                    <a:pt x="0" y="7"/>
                    <a:pt x="0" y="9"/>
                  </a:cubicBezTo>
                  <a:cubicBezTo>
                    <a:pt x="0" y="12"/>
                    <a:pt x="2" y="14"/>
                    <a:pt x="5" y="1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6" name="Freeform 104">
              <a:extLst>
                <a:ext uri="{FF2B5EF4-FFF2-40B4-BE49-F238E27FC236}">
                  <a16:creationId xmlns:a16="http://schemas.microsoft.com/office/drawing/2014/main" id="{CD107682-2D2C-4E9A-AF4D-A55A8B462A9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09247" y="2769107"/>
              <a:ext cx="312772" cy="404340"/>
            </a:xfrm>
            <a:custGeom>
              <a:avLst/>
              <a:gdLst>
                <a:gd name="T0" fmla="*/ 141 w 145"/>
                <a:gd name="T1" fmla="*/ 0 h 188"/>
                <a:gd name="T2" fmla="*/ 117 w 145"/>
                <a:gd name="T3" fmla="*/ 0 h 188"/>
                <a:gd name="T4" fmla="*/ 93 w 145"/>
                <a:gd name="T5" fmla="*/ 0 h 188"/>
                <a:gd name="T6" fmla="*/ 90 w 145"/>
                <a:gd name="T7" fmla="*/ 0 h 188"/>
                <a:gd name="T8" fmla="*/ 71 w 145"/>
                <a:gd name="T9" fmla="*/ 10 h 188"/>
                <a:gd name="T10" fmla="*/ 59 w 145"/>
                <a:gd name="T11" fmla="*/ 8 h 188"/>
                <a:gd name="T12" fmla="*/ 55 w 145"/>
                <a:gd name="T13" fmla="*/ 9 h 188"/>
                <a:gd name="T14" fmla="*/ 46 w 145"/>
                <a:gd name="T15" fmla="*/ 0 h 188"/>
                <a:gd name="T16" fmla="*/ 46 w 145"/>
                <a:gd name="T17" fmla="*/ 0 h 188"/>
                <a:gd name="T18" fmla="*/ 35 w 145"/>
                <a:gd name="T19" fmla="*/ 0 h 188"/>
                <a:gd name="T20" fmla="*/ 5 w 145"/>
                <a:gd name="T21" fmla="*/ 0 h 188"/>
                <a:gd name="T22" fmla="*/ 0 w 145"/>
                <a:gd name="T23" fmla="*/ 5 h 188"/>
                <a:gd name="T24" fmla="*/ 0 w 145"/>
                <a:gd name="T25" fmla="*/ 183 h 188"/>
                <a:gd name="T26" fmla="*/ 5 w 145"/>
                <a:gd name="T27" fmla="*/ 188 h 188"/>
                <a:gd name="T28" fmla="*/ 141 w 145"/>
                <a:gd name="T29" fmla="*/ 188 h 188"/>
                <a:gd name="T30" fmla="*/ 145 w 145"/>
                <a:gd name="T31" fmla="*/ 183 h 188"/>
                <a:gd name="T32" fmla="*/ 145 w 145"/>
                <a:gd name="T33" fmla="*/ 5 h 188"/>
                <a:gd name="T34" fmla="*/ 141 w 145"/>
                <a:gd name="T35" fmla="*/ 0 h 188"/>
                <a:gd name="T36" fmla="*/ 130 w 145"/>
                <a:gd name="T37" fmla="*/ 175 h 188"/>
                <a:gd name="T38" fmla="*/ 15 w 145"/>
                <a:gd name="T39" fmla="*/ 175 h 188"/>
                <a:gd name="T40" fmla="*/ 15 w 145"/>
                <a:gd name="T41" fmla="*/ 13 h 188"/>
                <a:gd name="T42" fmla="*/ 52 w 145"/>
                <a:gd name="T43" fmla="*/ 13 h 188"/>
                <a:gd name="T44" fmla="*/ 52 w 145"/>
                <a:gd name="T45" fmla="*/ 17 h 188"/>
                <a:gd name="T46" fmla="*/ 93 w 145"/>
                <a:gd name="T47" fmla="*/ 17 h 188"/>
                <a:gd name="T48" fmla="*/ 93 w 145"/>
                <a:gd name="T49" fmla="*/ 13 h 188"/>
                <a:gd name="T50" fmla="*/ 130 w 145"/>
                <a:gd name="T51" fmla="*/ 13 h 188"/>
                <a:gd name="T52" fmla="*/ 130 w 145"/>
                <a:gd name="T53" fmla="*/ 17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5" h="188">
                  <a:moveTo>
                    <a:pt x="141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89" y="6"/>
                    <a:pt x="81" y="10"/>
                    <a:pt x="71" y="10"/>
                  </a:cubicBezTo>
                  <a:cubicBezTo>
                    <a:pt x="67" y="10"/>
                    <a:pt x="63" y="9"/>
                    <a:pt x="59" y="8"/>
                  </a:cubicBezTo>
                  <a:cubicBezTo>
                    <a:pt x="58" y="9"/>
                    <a:pt x="56" y="9"/>
                    <a:pt x="55" y="9"/>
                  </a:cubicBezTo>
                  <a:cubicBezTo>
                    <a:pt x="50" y="9"/>
                    <a:pt x="46" y="5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86"/>
                    <a:pt x="2" y="188"/>
                    <a:pt x="5" y="188"/>
                  </a:cubicBezTo>
                  <a:cubicBezTo>
                    <a:pt x="141" y="188"/>
                    <a:pt x="141" y="188"/>
                    <a:pt x="141" y="188"/>
                  </a:cubicBezTo>
                  <a:cubicBezTo>
                    <a:pt x="143" y="188"/>
                    <a:pt x="145" y="186"/>
                    <a:pt x="145" y="183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2"/>
                    <a:pt x="143" y="0"/>
                    <a:pt x="141" y="0"/>
                  </a:cubicBezTo>
                  <a:close/>
                  <a:moveTo>
                    <a:pt x="130" y="175"/>
                  </a:moveTo>
                  <a:cubicBezTo>
                    <a:pt x="15" y="175"/>
                    <a:pt x="15" y="175"/>
                    <a:pt x="15" y="175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130" y="13"/>
                    <a:pt x="130" y="13"/>
                    <a:pt x="130" y="13"/>
                  </a:cubicBezTo>
                  <a:lnTo>
                    <a:pt x="130" y="17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8" name="Freeform 105">
              <a:extLst>
                <a:ext uri="{FF2B5EF4-FFF2-40B4-BE49-F238E27FC236}">
                  <a16:creationId xmlns:a16="http://schemas.microsoft.com/office/drawing/2014/main" id="{0C9F6205-0F71-4F93-AB22-66F9F89B7F8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89072" y="2790713"/>
              <a:ext cx="235608" cy="601880"/>
            </a:xfrm>
            <a:custGeom>
              <a:avLst/>
              <a:gdLst>
                <a:gd name="T0" fmla="*/ 96 w 109"/>
                <a:gd name="T1" fmla="*/ 7 h 280"/>
                <a:gd name="T2" fmla="*/ 89 w 109"/>
                <a:gd name="T3" fmla="*/ 6 h 280"/>
                <a:gd name="T4" fmla="*/ 75 w 109"/>
                <a:gd name="T5" fmla="*/ 1 h 280"/>
                <a:gd name="T6" fmla="*/ 74 w 109"/>
                <a:gd name="T7" fmla="*/ 1 h 280"/>
                <a:gd name="T8" fmla="*/ 73 w 109"/>
                <a:gd name="T9" fmla="*/ 1 h 280"/>
                <a:gd name="T10" fmla="*/ 58 w 109"/>
                <a:gd name="T11" fmla="*/ 6 h 280"/>
                <a:gd name="T12" fmla="*/ 1 w 109"/>
                <a:gd name="T13" fmla="*/ 43 h 280"/>
                <a:gd name="T14" fmla="*/ 1 w 109"/>
                <a:gd name="T15" fmla="*/ 54 h 280"/>
                <a:gd name="T16" fmla="*/ 38 w 109"/>
                <a:gd name="T17" fmla="*/ 96 h 280"/>
                <a:gd name="T18" fmla="*/ 39 w 109"/>
                <a:gd name="T19" fmla="*/ 111 h 280"/>
                <a:gd name="T20" fmla="*/ 41 w 109"/>
                <a:gd name="T21" fmla="*/ 263 h 280"/>
                <a:gd name="T22" fmla="*/ 43 w 109"/>
                <a:gd name="T23" fmla="*/ 268 h 280"/>
                <a:gd name="T24" fmla="*/ 54 w 109"/>
                <a:gd name="T25" fmla="*/ 280 h 280"/>
                <a:gd name="T26" fmla="*/ 64 w 109"/>
                <a:gd name="T27" fmla="*/ 264 h 280"/>
                <a:gd name="T28" fmla="*/ 68 w 109"/>
                <a:gd name="T29" fmla="*/ 161 h 280"/>
                <a:gd name="T30" fmla="*/ 69 w 109"/>
                <a:gd name="T31" fmla="*/ 148 h 280"/>
                <a:gd name="T32" fmla="*/ 80 w 109"/>
                <a:gd name="T33" fmla="*/ 263 h 280"/>
                <a:gd name="T34" fmla="*/ 82 w 109"/>
                <a:gd name="T35" fmla="*/ 267 h 280"/>
                <a:gd name="T36" fmla="*/ 93 w 109"/>
                <a:gd name="T37" fmla="*/ 280 h 280"/>
                <a:gd name="T38" fmla="*/ 103 w 109"/>
                <a:gd name="T39" fmla="*/ 264 h 280"/>
                <a:gd name="T40" fmla="*/ 109 w 109"/>
                <a:gd name="T41" fmla="*/ 184 h 280"/>
                <a:gd name="T42" fmla="*/ 96 w 109"/>
                <a:gd name="T43" fmla="*/ 173 h 280"/>
                <a:gd name="T44" fmla="*/ 36 w 109"/>
                <a:gd name="T45" fmla="*/ 74 h 280"/>
                <a:gd name="T46" fmla="*/ 36 w 109"/>
                <a:gd name="T47" fmla="*/ 74 h 280"/>
                <a:gd name="T48" fmla="*/ 35 w 109"/>
                <a:gd name="T49" fmla="*/ 81 h 280"/>
                <a:gd name="T50" fmla="*/ 27 w 109"/>
                <a:gd name="T51" fmla="*/ 42 h 280"/>
                <a:gd name="T52" fmla="*/ 37 w 109"/>
                <a:gd name="T53" fmla="*/ 70 h 280"/>
                <a:gd name="T54" fmla="*/ 58 w 109"/>
                <a:gd name="T55" fmla="*/ 6 h 280"/>
                <a:gd name="T56" fmla="*/ 74 w 109"/>
                <a:gd name="T57" fmla="*/ 73 h 280"/>
                <a:gd name="T58" fmla="*/ 70 w 109"/>
                <a:gd name="T59" fmla="*/ 10 h 280"/>
                <a:gd name="T60" fmla="*/ 74 w 109"/>
                <a:gd name="T61" fmla="*/ 3 h 280"/>
                <a:gd name="T62" fmla="*/ 78 w 109"/>
                <a:gd name="T63" fmla="*/ 10 h 280"/>
                <a:gd name="T64" fmla="*/ 74 w 109"/>
                <a:gd name="T65" fmla="*/ 73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9" h="280">
                  <a:moveTo>
                    <a:pt x="96" y="173"/>
                  </a:moveTo>
                  <a:cubicBezTo>
                    <a:pt x="96" y="7"/>
                    <a:pt x="96" y="7"/>
                    <a:pt x="96" y="7"/>
                  </a:cubicBezTo>
                  <a:cubicBezTo>
                    <a:pt x="92" y="6"/>
                    <a:pt x="90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6" y="5"/>
                    <a:pt x="10" y="17"/>
                    <a:pt x="1" y="43"/>
                  </a:cubicBezTo>
                  <a:cubicBezTo>
                    <a:pt x="0" y="44"/>
                    <a:pt x="0" y="45"/>
                    <a:pt x="1" y="46"/>
                  </a:cubicBezTo>
                  <a:cubicBezTo>
                    <a:pt x="0" y="48"/>
                    <a:pt x="0" y="51"/>
                    <a:pt x="1" y="54"/>
                  </a:cubicBezTo>
                  <a:cubicBezTo>
                    <a:pt x="1" y="54"/>
                    <a:pt x="29" y="102"/>
                    <a:pt x="37" y="97"/>
                  </a:cubicBezTo>
                  <a:cubicBezTo>
                    <a:pt x="38" y="97"/>
                    <a:pt x="38" y="96"/>
                    <a:pt x="38" y="96"/>
                  </a:cubicBezTo>
                  <a:cubicBezTo>
                    <a:pt x="39" y="96"/>
                    <a:pt x="39" y="97"/>
                    <a:pt x="39" y="98"/>
                  </a:cubicBezTo>
                  <a:cubicBezTo>
                    <a:pt x="40" y="107"/>
                    <a:pt x="39" y="111"/>
                    <a:pt x="39" y="111"/>
                  </a:cubicBezTo>
                  <a:cubicBezTo>
                    <a:pt x="39" y="111"/>
                    <a:pt x="39" y="111"/>
                    <a:pt x="39" y="111"/>
                  </a:cubicBezTo>
                  <a:cubicBezTo>
                    <a:pt x="37" y="127"/>
                    <a:pt x="34" y="167"/>
                    <a:pt x="41" y="263"/>
                  </a:cubicBezTo>
                  <a:cubicBezTo>
                    <a:pt x="41" y="263"/>
                    <a:pt x="42" y="264"/>
                    <a:pt x="43" y="264"/>
                  </a:cubicBezTo>
                  <a:cubicBezTo>
                    <a:pt x="43" y="268"/>
                    <a:pt x="43" y="268"/>
                    <a:pt x="43" y="268"/>
                  </a:cubicBezTo>
                  <a:cubicBezTo>
                    <a:pt x="43" y="274"/>
                    <a:pt x="48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cubicBezTo>
                    <a:pt x="60" y="280"/>
                    <a:pt x="64" y="274"/>
                    <a:pt x="64" y="268"/>
                  </a:cubicBezTo>
                  <a:cubicBezTo>
                    <a:pt x="64" y="264"/>
                    <a:pt x="64" y="264"/>
                    <a:pt x="64" y="264"/>
                  </a:cubicBezTo>
                  <a:cubicBezTo>
                    <a:pt x="65" y="264"/>
                    <a:pt x="66" y="264"/>
                    <a:pt x="66" y="263"/>
                  </a:cubicBezTo>
                  <a:cubicBezTo>
                    <a:pt x="68" y="228"/>
                    <a:pt x="66" y="190"/>
                    <a:pt x="68" y="161"/>
                  </a:cubicBezTo>
                  <a:cubicBezTo>
                    <a:pt x="68" y="160"/>
                    <a:pt x="68" y="160"/>
                    <a:pt x="68" y="159"/>
                  </a:cubicBezTo>
                  <a:cubicBezTo>
                    <a:pt x="68" y="156"/>
                    <a:pt x="68" y="152"/>
                    <a:pt x="69" y="148"/>
                  </a:cubicBezTo>
                  <a:cubicBezTo>
                    <a:pt x="70" y="139"/>
                    <a:pt x="71" y="131"/>
                    <a:pt x="73" y="126"/>
                  </a:cubicBezTo>
                  <a:cubicBezTo>
                    <a:pt x="82" y="148"/>
                    <a:pt x="78" y="210"/>
                    <a:pt x="80" y="263"/>
                  </a:cubicBezTo>
                  <a:cubicBezTo>
                    <a:pt x="81" y="264"/>
                    <a:pt x="81" y="264"/>
                    <a:pt x="82" y="264"/>
                  </a:cubicBezTo>
                  <a:cubicBezTo>
                    <a:pt x="82" y="267"/>
                    <a:pt x="82" y="267"/>
                    <a:pt x="82" y="267"/>
                  </a:cubicBezTo>
                  <a:cubicBezTo>
                    <a:pt x="82" y="274"/>
                    <a:pt x="87" y="280"/>
                    <a:pt x="93" y="280"/>
                  </a:cubicBezTo>
                  <a:cubicBezTo>
                    <a:pt x="93" y="280"/>
                    <a:pt x="93" y="280"/>
                    <a:pt x="93" y="280"/>
                  </a:cubicBezTo>
                  <a:cubicBezTo>
                    <a:pt x="99" y="280"/>
                    <a:pt x="103" y="274"/>
                    <a:pt x="103" y="267"/>
                  </a:cubicBezTo>
                  <a:cubicBezTo>
                    <a:pt x="103" y="264"/>
                    <a:pt x="103" y="264"/>
                    <a:pt x="103" y="264"/>
                  </a:cubicBezTo>
                  <a:cubicBezTo>
                    <a:pt x="104" y="263"/>
                    <a:pt x="105" y="263"/>
                    <a:pt x="105" y="263"/>
                  </a:cubicBezTo>
                  <a:cubicBezTo>
                    <a:pt x="107" y="231"/>
                    <a:pt x="109" y="205"/>
                    <a:pt x="109" y="18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1" y="184"/>
                    <a:pt x="96" y="179"/>
                    <a:pt x="96" y="173"/>
                  </a:cubicBezTo>
                  <a:close/>
                  <a:moveTo>
                    <a:pt x="37" y="70"/>
                  </a:moveTo>
                  <a:cubicBezTo>
                    <a:pt x="36" y="71"/>
                    <a:pt x="36" y="72"/>
                    <a:pt x="36" y="74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5" y="76"/>
                    <a:pt x="35" y="78"/>
                    <a:pt x="35" y="80"/>
                  </a:cubicBezTo>
                  <a:cubicBezTo>
                    <a:pt x="35" y="80"/>
                    <a:pt x="35" y="80"/>
                    <a:pt x="35" y="81"/>
                  </a:cubicBezTo>
                  <a:cubicBezTo>
                    <a:pt x="30" y="67"/>
                    <a:pt x="21" y="51"/>
                    <a:pt x="19" y="46"/>
                  </a:cubicBezTo>
                  <a:cubicBezTo>
                    <a:pt x="22" y="45"/>
                    <a:pt x="25" y="43"/>
                    <a:pt x="27" y="42"/>
                  </a:cubicBezTo>
                  <a:cubicBezTo>
                    <a:pt x="31" y="40"/>
                    <a:pt x="39" y="36"/>
                    <a:pt x="45" y="33"/>
                  </a:cubicBezTo>
                  <a:lnTo>
                    <a:pt x="37" y="70"/>
                  </a:lnTo>
                  <a:close/>
                  <a:moveTo>
                    <a:pt x="58" y="6"/>
                  </a:move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lose/>
                  <a:moveTo>
                    <a:pt x="74" y="73"/>
                  </a:moveTo>
                  <a:cubicBezTo>
                    <a:pt x="69" y="68"/>
                    <a:pt x="69" y="68"/>
                    <a:pt x="69" y="68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69" y="9"/>
                    <a:pt x="69" y="9"/>
                    <a:pt x="69" y="8"/>
                  </a:cubicBezTo>
                  <a:cubicBezTo>
                    <a:pt x="69" y="5"/>
                    <a:pt x="71" y="3"/>
                    <a:pt x="74" y="3"/>
                  </a:cubicBezTo>
                  <a:cubicBezTo>
                    <a:pt x="76" y="3"/>
                    <a:pt x="78" y="5"/>
                    <a:pt x="78" y="8"/>
                  </a:cubicBezTo>
                  <a:cubicBezTo>
                    <a:pt x="78" y="9"/>
                    <a:pt x="78" y="9"/>
                    <a:pt x="78" y="10"/>
                  </a:cubicBezTo>
                  <a:cubicBezTo>
                    <a:pt x="79" y="68"/>
                    <a:pt x="79" y="68"/>
                    <a:pt x="79" y="68"/>
                  </a:cubicBezTo>
                  <a:lnTo>
                    <a:pt x="74" y="7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29380389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BC990892-510B-46AD-A3DD-AB2CBA4556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2558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Rounded Rectangle 18">
            <a:extLst>
              <a:ext uri="{FF2B5EF4-FFF2-40B4-BE49-F238E27FC236}">
                <a16:creationId xmlns:a16="http://schemas.microsoft.com/office/drawing/2014/main" id="{DD657FF8-D23D-4715-8564-7D781498C868}"/>
              </a:ext>
            </a:extLst>
          </p:cNvPr>
          <p:cNvSpPr/>
          <p:nvPr/>
        </p:nvSpPr>
        <p:spPr>
          <a:xfrm>
            <a:off x="205581" y="2577880"/>
            <a:ext cx="3947365" cy="566928"/>
          </a:xfrm>
          <a:prstGeom prst="roundRect">
            <a:avLst/>
          </a:prstGeom>
          <a:ln w="1905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864" tIns="54864" rIns="1632204" bIns="54864" rtlCol="0" anchor="ctr"/>
          <a:lstStyle/>
          <a:p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riven by regulatory </a:t>
            </a:r>
          </a:p>
          <a:p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mphasis on third parties </a:t>
            </a:r>
          </a:p>
        </p:txBody>
      </p:sp>
      <p:sp>
        <p:nvSpPr>
          <p:cNvPr id="21" name="CuadroTexto 6">
            <a:extLst>
              <a:ext uri="{FF2B5EF4-FFF2-40B4-BE49-F238E27FC236}">
                <a16:creationId xmlns:a16="http://schemas.microsoft.com/office/drawing/2014/main" id="{601326CF-6541-4C88-8AA3-91DB06F4DAA4}"/>
              </a:ext>
            </a:extLst>
          </p:cNvPr>
          <p:cNvSpPr txBox="1"/>
          <p:nvPr/>
        </p:nvSpPr>
        <p:spPr>
          <a:xfrm>
            <a:off x="619160" y="338006"/>
            <a:ext cx="85248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cap="all" dirty="0">
                <a:solidFill>
                  <a:srgbClr val="092566"/>
                </a:solidFill>
                <a:latin typeface="Helvetica" pitchFamily="2" charset="0"/>
              </a:rPr>
              <a:t>BUSINESS SERVICE Focu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77FC6B4-DE94-494E-9057-DDA5F617D2EA}"/>
              </a:ext>
            </a:extLst>
          </p:cNvPr>
          <p:cNvSpPr/>
          <p:nvPr/>
        </p:nvSpPr>
        <p:spPr>
          <a:xfrm>
            <a:off x="5785888" y="2728606"/>
            <a:ext cx="447436" cy="6629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4970C88-6690-4A5F-862D-302BC761649B}"/>
              </a:ext>
            </a:extLst>
          </p:cNvPr>
          <p:cNvSpPr/>
          <p:nvPr/>
        </p:nvSpPr>
        <p:spPr>
          <a:xfrm>
            <a:off x="5908468" y="2779832"/>
            <a:ext cx="284164" cy="539751"/>
          </a:xfrm>
          <a:custGeom>
            <a:avLst/>
            <a:gdLst/>
            <a:ahLst/>
            <a:cxnLst/>
            <a:rect l="0" t="0" r="0" b="0"/>
            <a:pathLst>
              <a:path w="284164" h="539751">
                <a:moveTo>
                  <a:pt x="0" y="0"/>
                </a:moveTo>
                <a:lnTo>
                  <a:pt x="0" y="133350"/>
                </a:lnTo>
                <a:lnTo>
                  <a:pt x="138113" y="269875"/>
                </a:lnTo>
                <a:lnTo>
                  <a:pt x="0" y="412750"/>
                </a:lnTo>
                <a:lnTo>
                  <a:pt x="0" y="539750"/>
                </a:lnTo>
                <a:lnTo>
                  <a:pt x="284163" y="269875"/>
                </a:lnTo>
                <a:close/>
              </a:path>
            </a:pathLst>
          </a:cu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8" name="Rounded Rectangle 19">
            <a:extLst>
              <a:ext uri="{FF2B5EF4-FFF2-40B4-BE49-F238E27FC236}">
                <a16:creationId xmlns:a16="http://schemas.microsoft.com/office/drawing/2014/main" id="{016C03DE-A1CA-4AEC-8B97-A60A372F7320}"/>
              </a:ext>
            </a:extLst>
          </p:cNvPr>
          <p:cNvSpPr/>
          <p:nvPr/>
        </p:nvSpPr>
        <p:spPr>
          <a:xfrm>
            <a:off x="205582" y="1756610"/>
            <a:ext cx="3571167" cy="566928"/>
          </a:xfrm>
          <a:prstGeom prst="roundRect">
            <a:avLst/>
          </a:prstGeom>
          <a:ln w="190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864" tIns="54864" rIns="1165860" bIns="54864" rtlCol="0" anchor="ctr"/>
          <a:lstStyle/>
          <a:p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riven by emerging focus on operational resilience</a:t>
            </a:r>
          </a:p>
        </p:txBody>
      </p:sp>
      <p:sp>
        <p:nvSpPr>
          <p:cNvPr id="29" name="Rounded Rectangle 18">
            <a:extLst>
              <a:ext uri="{FF2B5EF4-FFF2-40B4-BE49-F238E27FC236}">
                <a16:creationId xmlns:a16="http://schemas.microsoft.com/office/drawing/2014/main" id="{2E0811EF-EA66-4A6F-9C07-0B8FE92F512D}"/>
              </a:ext>
            </a:extLst>
          </p:cNvPr>
          <p:cNvSpPr/>
          <p:nvPr/>
        </p:nvSpPr>
        <p:spPr>
          <a:xfrm>
            <a:off x="206658" y="3391593"/>
            <a:ext cx="4363713" cy="563288"/>
          </a:xfrm>
          <a:prstGeom prst="roundRect">
            <a:avLst/>
          </a:prstGeom>
          <a:ln w="19050"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864" tIns="54864" rIns="1632204" bIns="54864" rtlCol="0" anchor="ctr"/>
          <a:lstStyle/>
          <a:p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riven by desire to identify and </a:t>
            </a:r>
          </a:p>
          <a:p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otect “crown jewel” data assets </a:t>
            </a:r>
          </a:p>
        </p:txBody>
      </p:sp>
      <p:sp>
        <p:nvSpPr>
          <p:cNvPr id="30" name="Rounded Rectangle 4">
            <a:extLst>
              <a:ext uri="{FF2B5EF4-FFF2-40B4-BE49-F238E27FC236}">
                <a16:creationId xmlns:a16="http://schemas.microsoft.com/office/drawing/2014/main" id="{3CAE5A0C-CE78-4FB5-B190-5B575B223C3D}"/>
              </a:ext>
            </a:extLst>
          </p:cNvPr>
          <p:cNvSpPr/>
          <p:nvPr/>
        </p:nvSpPr>
        <p:spPr>
          <a:xfrm>
            <a:off x="209724" y="4216780"/>
            <a:ext cx="3945897" cy="566928"/>
          </a:xfrm>
          <a:prstGeom prst="roundRect">
            <a:avLst/>
          </a:prstGeom>
          <a:ln w="190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54864" tIns="54864" rIns="617220" bIns="54864" rtlCol="0" anchor="ctr"/>
          <a:lstStyle/>
          <a:p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ditional realm of asset management, driven initially by financial goals</a:t>
            </a:r>
          </a:p>
        </p:txBody>
      </p:sp>
      <p:sp>
        <p:nvSpPr>
          <p:cNvPr id="35" name="Pie 9">
            <a:extLst>
              <a:ext uri="{FF2B5EF4-FFF2-40B4-BE49-F238E27FC236}">
                <a16:creationId xmlns:a16="http://schemas.microsoft.com/office/drawing/2014/main" id="{3469D47A-DEA7-4956-8A5B-57551D83E699}"/>
              </a:ext>
            </a:extLst>
          </p:cNvPr>
          <p:cNvSpPr/>
          <p:nvPr/>
        </p:nvSpPr>
        <p:spPr>
          <a:xfrm rot="10800000">
            <a:off x="2204354" y="1361048"/>
            <a:ext cx="3523941" cy="3433328"/>
          </a:xfrm>
          <a:prstGeom prst="pie">
            <a:avLst/>
          </a:prstGeom>
          <a:solidFill>
            <a:schemeClr val="accent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rtlCol="0" anchor="ctr"/>
          <a:lstStyle/>
          <a:p>
            <a:pPr algn="ctr"/>
            <a:endParaRPr lang="en-US" sz="750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4" name="Pie 8">
            <a:extLst>
              <a:ext uri="{FF2B5EF4-FFF2-40B4-BE49-F238E27FC236}">
                <a16:creationId xmlns:a16="http://schemas.microsoft.com/office/drawing/2014/main" id="{00D0B35C-28DA-4CF3-80EB-BD86A0A4EEFE}"/>
              </a:ext>
            </a:extLst>
          </p:cNvPr>
          <p:cNvSpPr/>
          <p:nvPr/>
        </p:nvSpPr>
        <p:spPr>
          <a:xfrm rot="10800000">
            <a:off x="2607100" y="2171506"/>
            <a:ext cx="2803435" cy="2797238"/>
          </a:xfrm>
          <a:prstGeom prst="pie">
            <a:avLst/>
          </a:prstGeom>
          <a:solidFill>
            <a:schemeClr val="accent2">
              <a:lumMod val="75000"/>
            </a:schemeClr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rtlCol="0" anchor="ctr"/>
          <a:lstStyle/>
          <a:p>
            <a:pPr algn="ctr"/>
            <a:endParaRPr lang="en-US" sz="750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6" name="Pie 8">
            <a:extLst>
              <a:ext uri="{FF2B5EF4-FFF2-40B4-BE49-F238E27FC236}">
                <a16:creationId xmlns:a16="http://schemas.microsoft.com/office/drawing/2014/main" id="{466E7C13-EA4A-410F-91BC-097DCC3BF965}"/>
              </a:ext>
            </a:extLst>
          </p:cNvPr>
          <p:cNvSpPr/>
          <p:nvPr/>
        </p:nvSpPr>
        <p:spPr>
          <a:xfrm rot="10800000">
            <a:off x="3109096" y="2890086"/>
            <a:ext cx="2175787" cy="2119840"/>
          </a:xfrm>
          <a:prstGeom prst="pie">
            <a:avLst/>
          </a:prstGeom>
          <a:solidFill>
            <a:schemeClr val="accent2"/>
          </a:solidFill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rtlCol="0" anchor="ctr"/>
          <a:lstStyle/>
          <a:p>
            <a:pPr algn="ctr"/>
            <a:endParaRPr lang="en-US" sz="750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6AEC6A1-A7AC-4D7B-8BCB-C154B2C767E9}"/>
              </a:ext>
            </a:extLst>
          </p:cNvPr>
          <p:cNvSpPr/>
          <p:nvPr/>
        </p:nvSpPr>
        <p:spPr>
          <a:xfrm>
            <a:off x="3441222" y="3463559"/>
            <a:ext cx="1564670" cy="1524437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rtlCol="0" anchor="ctr"/>
          <a:lstStyle/>
          <a:p>
            <a:pPr algn="ctr"/>
            <a:endParaRPr lang="en-US" sz="750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847EA2C-F73A-45CD-A446-4D156DC26758}"/>
              </a:ext>
            </a:extLst>
          </p:cNvPr>
          <p:cNvSpPr txBox="1"/>
          <p:nvPr/>
        </p:nvSpPr>
        <p:spPr>
          <a:xfrm>
            <a:off x="3776749" y="3821873"/>
            <a:ext cx="87613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ardware and softwar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389B01A-0D1B-4366-B452-1A544DEC33E3}"/>
              </a:ext>
            </a:extLst>
          </p:cNvPr>
          <p:cNvSpPr txBox="1"/>
          <p:nvPr/>
        </p:nvSpPr>
        <p:spPr>
          <a:xfrm>
            <a:off x="3548339" y="3030578"/>
            <a:ext cx="127461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ata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9722BF3-9330-444D-8523-7E5FFB76722A}"/>
              </a:ext>
            </a:extLst>
          </p:cNvPr>
          <p:cNvSpPr txBox="1"/>
          <p:nvPr/>
        </p:nvSpPr>
        <p:spPr>
          <a:xfrm>
            <a:off x="3424079" y="1530231"/>
            <a:ext cx="123609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usiness service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A711413-FFCF-4062-866B-4E55DAB30CD9}"/>
              </a:ext>
            </a:extLst>
          </p:cNvPr>
          <p:cNvSpPr txBox="1"/>
          <p:nvPr/>
        </p:nvSpPr>
        <p:spPr>
          <a:xfrm>
            <a:off x="6355904" y="1237779"/>
            <a:ext cx="2658187" cy="35855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800"/>
              </a:spcBef>
              <a:buSzPct val="100000"/>
            </a:pPr>
            <a:r>
              <a:rPr lang="en-CA" sz="14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ter-asset linkages: </a:t>
            </a:r>
            <a:r>
              <a:rPr lang="en-CA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ata model, structure, taxonomy, and approach</a:t>
            </a:r>
          </a:p>
          <a:p>
            <a:pPr>
              <a:spcBef>
                <a:spcPts val="1800"/>
              </a:spcBef>
              <a:buSzPct val="100000"/>
            </a:pPr>
            <a:r>
              <a:rPr lang="en-CA" sz="14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ventory maintenance: </a:t>
            </a:r>
            <a:r>
              <a:rPr lang="en-CA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vergreen inventories in spite of business changes</a:t>
            </a:r>
          </a:p>
          <a:p>
            <a:pPr>
              <a:spcBef>
                <a:spcPts val="1800"/>
              </a:spcBef>
              <a:buSzPct val="100000"/>
            </a:pPr>
            <a:r>
              <a:rPr lang="en-CA" sz="14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overnance and accountability: </a:t>
            </a:r>
            <a:r>
              <a:rPr lang="en-CA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perating model for expanded asset management scope</a:t>
            </a:r>
            <a:endParaRPr lang="en-CA" sz="1400" b="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Bef>
                <a:spcPts val="1800"/>
              </a:spcBef>
              <a:buSzPct val="100000"/>
            </a:pPr>
            <a:r>
              <a:rPr lang="en-CA" sz="14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yber risk assessment: </a:t>
            </a:r>
            <a:r>
              <a:rPr lang="en-CA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Linking cyber risks to business outcome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E27CAF9-D5FA-4CC0-B719-E026A27DA9F3}"/>
              </a:ext>
            </a:extLst>
          </p:cNvPr>
          <p:cNvSpPr txBox="1"/>
          <p:nvPr/>
        </p:nvSpPr>
        <p:spPr>
          <a:xfrm>
            <a:off x="3443787" y="2291751"/>
            <a:ext cx="127461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hird party</a:t>
            </a:r>
          </a:p>
          <a:p>
            <a:pPr algn="ctr"/>
            <a:r>
              <a:rPr lang="en-US" sz="12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rvice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0978ABA-91FD-4DE1-8F3E-A1FBC9561B2C}"/>
              </a:ext>
            </a:extLst>
          </p:cNvPr>
          <p:cNvGrpSpPr>
            <a:grpSpLocks noChangeAspect="1"/>
          </p:cNvGrpSpPr>
          <p:nvPr/>
        </p:nvGrpSpPr>
        <p:grpSpPr>
          <a:xfrm>
            <a:off x="8784093" y="56364"/>
            <a:ext cx="384048" cy="384048"/>
            <a:chOff x="676331" y="2546807"/>
            <a:chExt cx="951614" cy="951614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BFBCA55-3B80-478C-AB6D-C39388640F88}"/>
                </a:ext>
              </a:extLst>
            </p:cNvPr>
            <p:cNvSpPr/>
            <p:nvPr/>
          </p:nvSpPr>
          <p:spPr bwMode="gray">
            <a:xfrm>
              <a:off x="676331" y="2546807"/>
              <a:ext cx="951614" cy="95161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sp>
          <p:nvSpPr>
            <p:cNvPr id="27" name="Oval 93">
              <a:extLst>
                <a:ext uri="{FF2B5EF4-FFF2-40B4-BE49-F238E27FC236}">
                  <a16:creationId xmlns:a16="http://schemas.microsoft.com/office/drawing/2014/main" id="{AF3033F5-8278-43C9-A3A5-823FDA34F55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90929" y="2668279"/>
              <a:ext cx="114203" cy="116261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" name="Freeform 94">
              <a:extLst>
                <a:ext uri="{FF2B5EF4-FFF2-40B4-BE49-F238E27FC236}">
                  <a16:creationId xmlns:a16="http://schemas.microsoft.com/office/drawing/2014/main" id="{5A36A267-8869-49CB-B4CF-BB18F3213CC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2867877"/>
              <a:ext cx="23664" cy="23664"/>
            </a:xfrm>
            <a:custGeom>
              <a:avLst/>
              <a:gdLst>
                <a:gd name="T0" fmla="*/ 10 w 11"/>
                <a:gd name="T1" fmla="*/ 0 h 11"/>
                <a:gd name="T2" fmla="*/ 1 w 11"/>
                <a:gd name="T3" fmla="*/ 0 h 11"/>
                <a:gd name="T4" fmla="*/ 0 w 11"/>
                <a:gd name="T5" fmla="*/ 1 h 11"/>
                <a:gd name="T6" fmla="*/ 0 w 11"/>
                <a:gd name="T7" fmla="*/ 10 h 11"/>
                <a:gd name="T8" fmla="*/ 1 w 11"/>
                <a:gd name="T9" fmla="*/ 11 h 11"/>
                <a:gd name="T10" fmla="*/ 10 w 11"/>
                <a:gd name="T11" fmla="*/ 11 h 11"/>
                <a:gd name="T12" fmla="*/ 11 w 11"/>
                <a:gd name="T13" fmla="*/ 10 h 11"/>
                <a:gd name="T14" fmla="*/ 11 w 11"/>
                <a:gd name="T15" fmla="*/ 1 h 11"/>
                <a:gd name="T16" fmla="*/ 10 w 11"/>
                <a:gd name="T17" fmla="*/ 0 h 11"/>
                <a:gd name="T18" fmla="*/ 9 w 11"/>
                <a:gd name="T19" fmla="*/ 9 h 11"/>
                <a:gd name="T20" fmla="*/ 3 w 11"/>
                <a:gd name="T21" fmla="*/ 9 h 11"/>
                <a:gd name="T22" fmla="*/ 3 w 11"/>
                <a:gd name="T23" fmla="*/ 3 h 11"/>
                <a:gd name="T24" fmla="*/ 9 w 11"/>
                <a:gd name="T25" fmla="*/ 3 h 11"/>
                <a:gd name="T26" fmla="*/ 9 w 11"/>
                <a:gd name="T27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1"/>
                    <a:pt x="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1"/>
                    <a:pt x="11" y="1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0"/>
                    <a:pt x="10" y="0"/>
                  </a:cubicBezTo>
                  <a:close/>
                  <a:moveTo>
                    <a:pt x="9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9" y="3"/>
                    <a:pt x="9" y="3"/>
                    <a:pt x="9" y="3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0" name="Freeform 95">
              <a:extLst>
                <a:ext uri="{FF2B5EF4-FFF2-40B4-BE49-F238E27FC236}">
                  <a16:creationId xmlns:a16="http://schemas.microsoft.com/office/drawing/2014/main" id="{D5BF9239-02FA-435D-9F4F-BAF731C654A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2942983"/>
              <a:ext cx="23664" cy="25721"/>
            </a:xfrm>
            <a:custGeom>
              <a:avLst/>
              <a:gdLst>
                <a:gd name="T0" fmla="*/ 10 w 11"/>
                <a:gd name="T1" fmla="*/ 0 h 12"/>
                <a:gd name="T2" fmla="*/ 1 w 11"/>
                <a:gd name="T3" fmla="*/ 0 h 12"/>
                <a:gd name="T4" fmla="*/ 0 w 11"/>
                <a:gd name="T5" fmla="*/ 2 h 12"/>
                <a:gd name="T6" fmla="*/ 0 w 11"/>
                <a:gd name="T7" fmla="*/ 10 h 12"/>
                <a:gd name="T8" fmla="*/ 1 w 11"/>
                <a:gd name="T9" fmla="*/ 12 h 12"/>
                <a:gd name="T10" fmla="*/ 10 w 11"/>
                <a:gd name="T11" fmla="*/ 12 h 12"/>
                <a:gd name="T12" fmla="*/ 11 w 11"/>
                <a:gd name="T13" fmla="*/ 10 h 12"/>
                <a:gd name="T14" fmla="*/ 11 w 11"/>
                <a:gd name="T15" fmla="*/ 2 h 12"/>
                <a:gd name="T16" fmla="*/ 10 w 11"/>
                <a:gd name="T17" fmla="*/ 0 h 12"/>
                <a:gd name="T18" fmla="*/ 9 w 11"/>
                <a:gd name="T19" fmla="*/ 9 h 12"/>
                <a:gd name="T20" fmla="*/ 3 w 11"/>
                <a:gd name="T21" fmla="*/ 9 h 12"/>
                <a:gd name="T22" fmla="*/ 3 w 11"/>
                <a:gd name="T23" fmla="*/ 3 h 12"/>
                <a:gd name="T24" fmla="*/ 9 w 11"/>
                <a:gd name="T25" fmla="*/ 3 h 12"/>
                <a:gd name="T26" fmla="*/ 9 w 11"/>
                <a:gd name="T2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2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1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1" y="11"/>
                    <a:pt x="11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0"/>
                    <a:pt x="10" y="0"/>
                  </a:cubicBezTo>
                  <a:close/>
                  <a:moveTo>
                    <a:pt x="9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9" y="3"/>
                    <a:pt x="9" y="3"/>
                    <a:pt x="9" y="3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" name="Freeform 96">
              <a:extLst>
                <a:ext uri="{FF2B5EF4-FFF2-40B4-BE49-F238E27FC236}">
                  <a16:creationId xmlns:a16="http://schemas.microsoft.com/office/drawing/2014/main" id="{6E88CF36-BEF5-43F7-9DF7-CD6F237A452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3021176"/>
              <a:ext cx="23664" cy="23664"/>
            </a:xfrm>
            <a:custGeom>
              <a:avLst/>
              <a:gdLst>
                <a:gd name="T0" fmla="*/ 10 w 11"/>
                <a:gd name="T1" fmla="*/ 0 h 11"/>
                <a:gd name="T2" fmla="*/ 1 w 11"/>
                <a:gd name="T3" fmla="*/ 0 h 11"/>
                <a:gd name="T4" fmla="*/ 0 w 11"/>
                <a:gd name="T5" fmla="*/ 1 h 11"/>
                <a:gd name="T6" fmla="*/ 0 w 11"/>
                <a:gd name="T7" fmla="*/ 10 h 11"/>
                <a:gd name="T8" fmla="*/ 1 w 11"/>
                <a:gd name="T9" fmla="*/ 11 h 11"/>
                <a:gd name="T10" fmla="*/ 10 w 11"/>
                <a:gd name="T11" fmla="*/ 11 h 11"/>
                <a:gd name="T12" fmla="*/ 11 w 11"/>
                <a:gd name="T13" fmla="*/ 10 h 11"/>
                <a:gd name="T14" fmla="*/ 11 w 11"/>
                <a:gd name="T15" fmla="*/ 1 h 11"/>
                <a:gd name="T16" fmla="*/ 10 w 11"/>
                <a:gd name="T17" fmla="*/ 0 h 11"/>
                <a:gd name="T18" fmla="*/ 9 w 11"/>
                <a:gd name="T19" fmla="*/ 8 h 11"/>
                <a:gd name="T20" fmla="*/ 3 w 11"/>
                <a:gd name="T21" fmla="*/ 8 h 11"/>
                <a:gd name="T22" fmla="*/ 3 w 11"/>
                <a:gd name="T23" fmla="*/ 2 h 11"/>
                <a:gd name="T24" fmla="*/ 9 w 11"/>
                <a:gd name="T25" fmla="*/ 2 h 11"/>
                <a:gd name="T26" fmla="*/ 9 w 11"/>
                <a:gd name="T27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11"/>
                    <a:pt x="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0" y="0"/>
                  </a:cubicBezTo>
                  <a:close/>
                  <a:moveTo>
                    <a:pt x="9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9" y="2"/>
                    <a:pt x="9" y="2"/>
                    <a:pt x="9" y="2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" name="Rectangle 97">
              <a:extLst>
                <a:ext uri="{FF2B5EF4-FFF2-40B4-BE49-F238E27FC236}">
                  <a16:creationId xmlns:a16="http://schemas.microsoft.com/office/drawing/2014/main" id="{609891B8-4F09-4CF6-BD42-4892F44F1E0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869935"/>
              <a:ext cx="139924" cy="7202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3" name="Rectangle 98">
              <a:extLst>
                <a:ext uri="{FF2B5EF4-FFF2-40B4-BE49-F238E27FC236}">
                  <a16:creationId xmlns:a16="http://schemas.microsoft.com/office/drawing/2014/main" id="{D28F9B3A-9EC8-4C35-9AD2-8437592CB7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885367"/>
              <a:ext cx="49385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4" name="Rectangle 99">
              <a:extLst>
                <a:ext uri="{FF2B5EF4-FFF2-40B4-BE49-F238E27FC236}">
                  <a16:creationId xmlns:a16="http://schemas.microsoft.com/office/drawing/2014/main" id="{646EFB1F-9B6C-4284-903D-CD593359F50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948128"/>
              <a:ext cx="139924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Rectangle 100">
              <a:extLst>
                <a:ext uri="{FF2B5EF4-FFF2-40B4-BE49-F238E27FC236}">
                  <a16:creationId xmlns:a16="http://schemas.microsoft.com/office/drawing/2014/main" id="{6B55E308-2C74-48EF-BCE2-97695F2A9D9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960474"/>
              <a:ext cx="49385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6" name="Rectangle 101">
              <a:extLst>
                <a:ext uri="{FF2B5EF4-FFF2-40B4-BE49-F238E27FC236}">
                  <a16:creationId xmlns:a16="http://schemas.microsoft.com/office/drawing/2014/main" id="{E42FE929-4DB5-4273-8DA4-A1F030F80BB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3023234"/>
              <a:ext cx="139924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7" name="Rectangle 102">
              <a:extLst>
                <a:ext uri="{FF2B5EF4-FFF2-40B4-BE49-F238E27FC236}">
                  <a16:creationId xmlns:a16="http://schemas.microsoft.com/office/drawing/2014/main" id="{DA6D2B5F-93C3-478D-A792-8D63DE45ACE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3035580"/>
              <a:ext cx="49385" cy="6173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8" name="Freeform 103">
              <a:extLst>
                <a:ext uri="{FF2B5EF4-FFF2-40B4-BE49-F238E27FC236}">
                  <a16:creationId xmlns:a16="http://schemas.microsoft.com/office/drawing/2014/main" id="{3AF610ED-3353-48C7-98EC-2F73D5FBA750}"/>
                </a:ext>
              </a:extLst>
            </p:cNvPr>
            <p:cNvSpPr>
              <a:spLocks/>
            </p:cNvSpPr>
            <p:nvPr/>
          </p:nvSpPr>
          <p:spPr bwMode="gray">
            <a:xfrm>
              <a:off x="1217277" y="2749559"/>
              <a:ext cx="77164" cy="32923"/>
            </a:xfrm>
            <a:custGeom>
              <a:avLst/>
              <a:gdLst>
                <a:gd name="T0" fmla="*/ 5 w 36"/>
                <a:gd name="T1" fmla="*/ 14 h 15"/>
                <a:gd name="T2" fmla="*/ 9 w 36"/>
                <a:gd name="T3" fmla="*/ 12 h 15"/>
                <a:gd name="T4" fmla="*/ 21 w 36"/>
                <a:gd name="T5" fmla="*/ 15 h 15"/>
                <a:gd name="T6" fmla="*/ 36 w 36"/>
                <a:gd name="T7" fmla="*/ 8 h 15"/>
                <a:gd name="T8" fmla="*/ 21 w 36"/>
                <a:gd name="T9" fmla="*/ 0 h 15"/>
                <a:gd name="T10" fmla="*/ 7 w 36"/>
                <a:gd name="T11" fmla="*/ 5 h 15"/>
                <a:gd name="T12" fmla="*/ 5 w 36"/>
                <a:gd name="T13" fmla="*/ 4 h 15"/>
                <a:gd name="T14" fmla="*/ 0 w 36"/>
                <a:gd name="T15" fmla="*/ 9 h 15"/>
                <a:gd name="T16" fmla="*/ 5 w 36"/>
                <a:gd name="T1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5">
                  <a:moveTo>
                    <a:pt x="5" y="14"/>
                  </a:moveTo>
                  <a:cubicBezTo>
                    <a:pt x="7" y="14"/>
                    <a:pt x="8" y="13"/>
                    <a:pt x="9" y="12"/>
                  </a:cubicBezTo>
                  <a:cubicBezTo>
                    <a:pt x="11" y="14"/>
                    <a:pt x="16" y="15"/>
                    <a:pt x="21" y="15"/>
                  </a:cubicBezTo>
                  <a:cubicBezTo>
                    <a:pt x="29" y="15"/>
                    <a:pt x="36" y="12"/>
                    <a:pt x="36" y="8"/>
                  </a:cubicBezTo>
                  <a:cubicBezTo>
                    <a:pt x="36" y="3"/>
                    <a:pt x="29" y="0"/>
                    <a:pt x="21" y="0"/>
                  </a:cubicBezTo>
                  <a:cubicBezTo>
                    <a:pt x="15" y="0"/>
                    <a:pt x="9" y="2"/>
                    <a:pt x="7" y="5"/>
                  </a:cubicBezTo>
                  <a:cubicBezTo>
                    <a:pt x="6" y="5"/>
                    <a:pt x="6" y="4"/>
                    <a:pt x="5" y="4"/>
                  </a:cubicBezTo>
                  <a:cubicBezTo>
                    <a:pt x="2" y="4"/>
                    <a:pt x="0" y="7"/>
                    <a:pt x="0" y="9"/>
                  </a:cubicBezTo>
                  <a:cubicBezTo>
                    <a:pt x="0" y="12"/>
                    <a:pt x="2" y="14"/>
                    <a:pt x="5" y="1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9" name="Freeform 104">
              <a:extLst>
                <a:ext uri="{FF2B5EF4-FFF2-40B4-BE49-F238E27FC236}">
                  <a16:creationId xmlns:a16="http://schemas.microsoft.com/office/drawing/2014/main" id="{04FC3514-D379-4AE7-B2D4-91268B7E59A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09247" y="2769107"/>
              <a:ext cx="312772" cy="404340"/>
            </a:xfrm>
            <a:custGeom>
              <a:avLst/>
              <a:gdLst>
                <a:gd name="T0" fmla="*/ 141 w 145"/>
                <a:gd name="T1" fmla="*/ 0 h 188"/>
                <a:gd name="T2" fmla="*/ 117 w 145"/>
                <a:gd name="T3" fmla="*/ 0 h 188"/>
                <a:gd name="T4" fmla="*/ 93 w 145"/>
                <a:gd name="T5" fmla="*/ 0 h 188"/>
                <a:gd name="T6" fmla="*/ 90 w 145"/>
                <a:gd name="T7" fmla="*/ 0 h 188"/>
                <a:gd name="T8" fmla="*/ 71 w 145"/>
                <a:gd name="T9" fmla="*/ 10 h 188"/>
                <a:gd name="T10" fmla="*/ 59 w 145"/>
                <a:gd name="T11" fmla="*/ 8 h 188"/>
                <a:gd name="T12" fmla="*/ 55 w 145"/>
                <a:gd name="T13" fmla="*/ 9 h 188"/>
                <a:gd name="T14" fmla="*/ 46 w 145"/>
                <a:gd name="T15" fmla="*/ 0 h 188"/>
                <a:gd name="T16" fmla="*/ 46 w 145"/>
                <a:gd name="T17" fmla="*/ 0 h 188"/>
                <a:gd name="T18" fmla="*/ 35 w 145"/>
                <a:gd name="T19" fmla="*/ 0 h 188"/>
                <a:gd name="T20" fmla="*/ 5 w 145"/>
                <a:gd name="T21" fmla="*/ 0 h 188"/>
                <a:gd name="T22" fmla="*/ 0 w 145"/>
                <a:gd name="T23" fmla="*/ 5 h 188"/>
                <a:gd name="T24" fmla="*/ 0 w 145"/>
                <a:gd name="T25" fmla="*/ 183 h 188"/>
                <a:gd name="T26" fmla="*/ 5 w 145"/>
                <a:gd name="T27" fmla="*/ 188 h 188"/>
                <a:gd name="T28" fmla="*/ 141 w 145"/>
                <a:gd name="T29" fmla="*/ 188 h 188"/>
                <a:gd name="T30" fmla="*/ 145 w 145"/>
                <a:gd name="T31" fmla="*/ 183 h 188"/>
                <a:gd name="T32" fmla="*/ 145 w 145"/>
                <a:gd name="T33" fmla="*/ 5 h 188"/>
                <a:gd name="T34" fmla="*/ 141 w 145"/>
                <a:gd name="T35" fmla="*/ 0 h 188"/>
                <a:gd name="T36" fmla="*/ 130 w 145"/>
                <a:gd name="T37" fmla="*/ 175 h 188"/>
                <a:gd name="T38" fmla="*/ 15 w 145"/>
                <a:gd name="T39" fmla="*/ 175 h 188"/>
                <a:gd name="T40" fmla="*/ 15 w 145"/>
                <a:gd name="T41" fmla="*/ 13 h 188"/>
                <a:gd name="T42" fmla="*/ 52 w 145"/>
                <a:gd name="T43" fmla="*/ 13 h 188"/>
                <a:gd name="T44" fmla="*/ 52 w 145"/>
                <a:gd name="T45" fmla="*/ 17 h 188"/>
                <a:gd name="T46" fmla="*/ 93 w 145"/>
                <a:gd name="T47" fmla="*/ 17 h 188"/>
                <a:gd name="T48" fmla="*/ 93 w 145"/>
                <a:gd name="T49" fmla="*/ 13 h 188"/>
                <a:gd name="T50" fmla="*/ 130 w 145"/>
                <a:gd name="T51" fmla="*/ 13 h 188"/>
                <a:gd name="T52" fmla="*/ 130 w 145"/>
                <a:gd name="T53" fmla="*/ 17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5" h="188">
                  <a:moveTo>
                    <a:pt x="141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89" y="6"/>
                    <a:pt x="81" y="10"/>
                    <a:pt x="71" y="10"/>
                  </a:cubicBezTo>
                  <a:cubicBezTo>
                    <a:pt x="67" y="10"/>
                    <a:pt x="63" y="9"/>
                    <a:pt x="59" y="8"/>
                  </a:cubicBezTo>
                  <a:cubicBezTo>
                    <a:pt x="58" y="9"/>
                    <a:pt x="56" y="9"/>
                    <a:pt x="55" y="9"/>
                  </a:cubicBezTo>
                  <a:cubicBezTo>
                    <a:pt x="50" y="9"/>
                    <a:pt x="46" y="5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86"/>
                    <a:pt x="2" y="188"/>
                    <a:pt x="5" y="188"/>
                  </a:cubicBezTo>
                  <a:cubicBezTo>
                    <a:pt x="141" y="188"/>
                    <a:pt x="141" y="188"/>
                    <a:pt x="141" y="188"/>
                  </a:cubicBezTo>
                  <a:cubicBezTo>
                    <a:pt x="143" y="188"/>
                    <a:pt x="145" y="186"/>
                    <a:pt x="145" y="183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2"/>
                    <a:pt x="143" y="0"/>
                    <a:pt x="141" y="0"/>
                  </a:cubicBezTo>
                  <a:close/>
                  <a:moveTo>
                    <a:pt x="130" y="175"/>
                  </a:moveTo>
                  <a:cubicBezTo>
                    <a:pt x="15" y="175"/>
                    <a:pt x="15" y="175"/>
                    <a:pt x="15" y="175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130" y="13"/>
                    <a:pt x="130" y="13"/>
                    <a:pt x="130" y="13"/>
                  </a:cubicBezTo>
                  <a:lnTo>
                    <a:pt x="130" y="17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0" name="Freeform 105">
              <a:extLst>
                <a:ext uri="{FF2B5EF4-FFF2-40B4-BE49-F238E27FC236}">
                  <a16:creationId xmlns:a16="http://schemas.microsoft.com/office/drawing/2014/main" id="{D37D5CF4-90ED-4052-88F0-5D859E88155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89072" y="2790713"/>
              <a:ext cx="235608" cy="601880"/>
            </a:xfrm>
            <a:custGeom>
              <a:avLst/>
              <a:gdLst>
                <a:gd name="T0" fmla="*/ 96 w 109"/>
                <a:gd name="T1" fmla="*/ 7 h 280"/>
                <a:gd name="T2" fmla="*/ 89 w 109"/>
                <a:gd name="T3" fmla="*/ 6 h 280"/>
                <a:gd name="T4" fmla="*/ 75 w 109"/>
                <a:gd name="T5" fmla="*/ 1 h 280"/>
                <a:gd name="T6" fmla="*/ 74 w 109"/>
                <a:gd name="T7" fmla="*/ 1 h 280"/>
                <a:gd name="T8" fmla="*/ 73 w 109"/>
                <a:gd name="T9" fmla="*/ 1 h 280"/>
                <a:gd name="T10" fmla="*/ 58 w 109"/>
                <a:gd name="T11" fmla="*/ 6 h 280"/>
                <a:gd name="T12" fmla="*/ 1 w 109"/>
                <a:gd name="T13" fmla="*/ 43 h 280"/>
                <a:gd name="T14" fmla="*/ 1 w 109"/>
                <a:gd name="T15" fmla="*/ 54 h 280"/>
                <a:gd name="T16" fmla="*/ 38 w 109"/>
                <a:gd name="T17" fmla="*/ 96 h 280"/>
                <a:gd name="T18" fmla="*/ 39 w 109"/>
                <a:gd name="T19" fmla="*/ 111 h 280"/>
                <a:gd name="T20" fmla="*/ 41 w 109"/>
                <a:gd name="T21" fmla="*/ 263 h 280"/>
                <a:gd name="T22" fmla="*/ 43 w 109"/>
                <a:gd name="T23" fmla="*/ 268 h 280"/>
                <a:gd name="T24" fmla="*/ 54 w 109"/>
                <a:gd name="T25" fmla="*/ 280 h 280"/>
                <a:gd name="T26" fmla="*/ 64 w 109"/>
                <a:gd name="T27" fmla="*/ 264 h 280"/>
                <a:gd name="T28" fmla="*/ 68 w 109"/>
                <a:gd name="T29" fmla="*/ 161 h 280"/>
                <a:gd name="T30" fmla="*/ 69 w 109"/>
                <a:gd name="T31" fmla="*/ 148 h 280"/>
                <a:gd name="T32" fmla="*/ 80 w 109"/>
                <a:gd name="T33" fmla="*/ 263 h 280"/>
                <a:gd name="T34" fmla="*/ 82 w 109"/>
                <a:gd name="T35" fmla="*/ 267 h 280"/>
                <a:gd name="T36" fmla="*/ 93 w 109"/>
                <a:gd name="T37" fmla="*/ 280 h 280"/>
                <a:gd name="T38" fmla="*/ 103 w 109"/>
                <a:gd name="T39" fmla="*/ 264 h 280"/>
                <a:gd name="T40" fmla="*/ 109 w 109"/>
                <a:gd name="T41" fmla="*/ 184 h 280"/>
                <a:gd name="T42" fmla="*/ 96 w 109"/>
                <a:gd name="T43" fmla="*/ 173 h 280"/>
                <a:gd name="T44" fmla="*/ 36 w 109"/>
                <a:gd name="T45" fmla="*/ 74 h 280"/>
                <a:gd name="T46" fmla="*/ 36 w 109"/>
                <a:gd name="T47" fmla="*/ 74 h 280"/>
                <a:gd name="T48" fmla="*/ 35 w 109"/>
                <a:gd name="T49" fmla="*/ 81 h 280"/>
                <a:gd name="T50" fmla="*/ 27 w 109"/>
                <a:gd name="T51" fmla="*/ 42 h 280"/>
                <a:gd name="T52" fmla="*/ 37 w 109"/>
                <a:gd name="T53" fmla="*/ 70 h 280"/>
                <a:gd name="T54" fmla="*/ 58 w 109"/>
                <a:gd name="T55" fmla="*/ 6 h 280"/>
                <a:gd name="T56" fmla="*/ 74 w 109"/>
                <a:gd name="T57" fmla="*/ 73 h 280"/>
                <a:gd name="T58" fmla="*/ 70 w 109"/>
                <a:gd name="T59" fmla="*/ 10 h 280"/>
                <a:gd name="T60" fmla="*/ 74 w 109"/>
                <a:gd name="T61" fmla="*/ 3 h 280"/>
                <a:gd name="T62" fmla="*/ 78 w 109"/>
                <a:gd name="T63" fmla="*/ 10 h 280"/>
                <a:gd name="T64" fmla="*/ 74 w 109"/>
                <a:gd name="T65" fmla="*/ 73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9" h="280">
                  <a:moveTo>
                    <a:pt x="96" y="173"/>
                  </a:moveTo>
                  <a:cubicBezTo>
                    <a:pt x="96" y="7"/>
                    <a:pt x="96" y="7"/>
                    <a:pt x="96" y="7"/>
                  </a:cubicBezTo>
                  <a:cubicBezTo>
                    <a:pt x="92" y="6"/>
                    <a:pt x="90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6" y="5"/>
                    <a:pt x="10" y="17"/>
                    <a:pt x="1" y="43"/>
                  </a:cubicBezTo>
                  <a:cubicBezTo>
                    <a:pt x="0" y="44"/>
                    <a:pt x="0" y="45"/>
                    <a:pt x="1" y="46"/>
                  </a:cubicBezTo>
                  <a:cubicBezTo>
                    <a:pt x="0" y="48"/>
                    <a:pt x="0" y="51"/>
                    <a:pt x="1" y="54"/>
                  </a:cubicBezTo>
                  <a:cubicBezTo>
                    <a:pt x="1" y="54"/>
                    <a:pt x="29" y="102"/>
                    <a:pt x="37" y="97"/>
                  </a:cubicBezTo>
                  <a:cubicBezTo>
                    <a:pt x="38" y="97"/>
                    <a:pt x="38" y="96"/>
                    <a:pt x="38" y="96"/>
                  </a:cubicBezTo>
                  <a:cubicBezTo>
                    <a:pt x="39" y="96"/>
                    <a:pt x="39" y="97"/>
                    <a:pt x="39" y="98"/>
                  </a:cubicBezTo>
                  <a:cubicBezTo>
                    <a:pt x="40" y="107"/>
                    <a:pt x="39" y="111"/>
                    <a:pt x="39" y="111"/>
                  </a:cubicBezTo>
                  <a:cubicBezTo>
                    <a:pt x="39" y="111"/>
                    <a:pt x="39" y="111"/>
                    <a:pt x="39" y="111"/>
                  </a:cubicBezTo>
                  <a:cubicBezTo>
                    <a:pt x="37" y="127"/>
                    <a:pt x="34" y="167"/>
                    <a:pt x="41" y="263"/>
                  </a:cubicBezTo>
                  <a:cubicBezTo>
                    <a:pt x="41" y="263"/>
                    <a:pt x="42" y="264"/>
                    <a:pt x="43" y="264"/>
                  </a:cubicBezTo>
                  <a:cubicBezTo>
                    <a:pt x="43" y="268"/>
                    <a:pt x="43" y="268"/>
                    <a:pt x="43" y="268"/>
                  </a:cubicBezTo>
                  <a:cubicBezTo>
                    <a:pt x="43" y="274"/>
                    <a:pt x="48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cubicBezTo>
                    <a:pt x="60" y="280"/>
                    <a:pt x="64" y="274"/>
                    <a:pt x="64" y="268"/>
                  </a:cubicBezTo>
                  <a:cubicBezTo>
                    <a:pt x="64" y="264"/>
                    <a:pt x="64" y="264"/>
                    <a:pt x="64" y="264"/>
                  </a:cubicBezTo>
                  <a:cubicBezTo>
                    <a:pt x="65" y="264"/>
                    <a:pt x="66" y="264"/>
                    <a:pt x="66" y="263"/>
                  </a:cubicBezTo>
                  <a:cubicBezTo>
                    <a:pt x="68" y="228"/>
                    <a:pt x="66" y="190"/>
                    <a:pt x="68" y="161"/>
                  </a:cubicBezTo>
                  <a:cubicBezTo>
                    <a:pt x="68" y="160"/>
                    <a:pt x="68" y="160"/>
                    <a:pt x="68" y="159"/>
                  </a:cubicBezTo>
                  <a:cubicBezTo>
                    <a:pt x="68" y="156"/>
                    <a:pt x="68" y="152"/>
                    <a:pt x="69" y="148"/>
                  </a:cubicBezTo>
                  <a:cubicBezTo>
                    <a:pt x="70" y="139"/>
                    <a:pt x="71" y="131"/>
                    <a:pt x="73" y="126"/>
                  </a:cubicBezTo>
                  <a:cubicBezTo>
                    <a:pt x="82" y="148"/>
                    <a:pt x="78" y="210"/>
                    <a:pt x="80" y="263"/>
                  </a:cubicBezTo>
                  <a:cubicBezTo>
                    <a:pt x="81" y="264"/>
                    <a:pt x="81" y="264"/>
                    <a:pt x="82" y="264"/>
                  </a:cubicBezTo>
                  <a:cubicBezTo>
                    <a:pt x="82" y="267"/>
                    <a:pt x="82" y="267"/>
                    <a:pt x="82" y="267"/>
                  </a:cubicBezTo>
                  <a:cubicBezTo>
                    <a:pt x="82" y="274"/>
                    <a:pt x="87" y="280"/>
                    <a:pt x="93" y="280"/>
                  </a:cubicBezTo>
                  <a:cubicBezTo>
                    <a:pt x="93" y="280"/>
                    <a:pt x="93" y="280"/>
                    <a:pt x="93" y="280"/>
                  </a:cubicBezTo>
                  <a:cubicBezTo>
                    <a:pt x="99" y="280"/>
                    <a:pt x="103" y="274"/>
                    <a:pt x="103" y="267"/>
                  </a:cubicBezTo>
                  <a:cubicBezTo>
                    <a:pt x="103" y="264"/>
                    <a:pt x="103" y="264"/>
                    <a:pt x="103" y="264"/>
                  </a:cubicBezTo>
                  <a:cubicBezTo>
                    <a:pt x="104" y="263"/>
                    <a:pt x="105" y="263"/>
                    <a:pt x="105" y="263"/>
                  </a:cubicBezTo>
                  <a:cubicBezTo>
                    <a:pt x="107" y="231"/>
                    <a:pt x="109" y="205"/>
                    <a:pt x="109" y="18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1" y="184"/>
                    <a:pt x="96" y="179"/>
                    <a:pt x="96" y="173"/>
                  </a:cubicBezTo>
                  <a:close/>
                  <a:moveTo>
                    <a:pt x="37" y="70"/>
                  </a:moveTo>
                  <a:cubicBezTo>
                    <a:pt x="36" y="71"/>
                    <a:pt x="36" y="72"/>
                    <a:pt x="36" y="74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5" y="76"/>
                    <a:pt x="35" y="78"/>
                    <a:pt x="35" y="80"/>
                  </a:cubicBezTo>
                  <a:cubicBezTo>
                    <a:pt x="35" y="80"/>
                    <a:pt x="35" y="80"/>
                    <a:pt x="35" y="81"/>
                  </a:cubicBezTo>
                  <a:cubicBezTo>
                    <a:pt x="30" y="67"/>
                    <a:pt x="21" y="51"/>
                    <a:pt x="19" y="46"/>
                  </a:cubicBezTo>
                  <a:cubicBezTo>
                    <a:pt x="22" y="45"/>
                    <a:pt x="25" y="43"/>
                    <a:pt x="27" y="42"/>
                  </a:cubicBezTo>
                  <a:cubicBezTo>
                    <a:pt x="31" y="40"/>
                    <a:pt x="39" y="36"/>
                    <a:pt x="45" y="33"/>
                  </a:cubicBezTo>
                  <a:lnTo>
                    <a:pt x="37" y="70"/>
                  </a:lnTo>
                  <a:close/>
                  <a:moveTo>
                    <a:pt x="58" y="6"/>
                  </a:move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lose/>
                  <a:moveTo>
                    <a:pt x="74" y="73"/>
                  </a:moveTo>
                  <a:cubicBezTo>
                    <a:pt x="69" y="68"/>
                    <a:pt x="69" y="68"/>
                    <a:pt x="69" y="68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69" y="9"/>
                    <a:pt x="69" y="9"/>
                    <a:pt x="69" y="8"/>
                  </a:cubicBezTo>
                  <a:cubicBezTo>
                    <a:pt x="69" y="5"/>
                    <a:pt x="71" y="3"/>
                    <a:pt x="74" y="3"/>
                  </a:cubicBezTo>
                  <a:cubicBezTo>
                    <a:pt x="76" y="3"/>
                    <a:pt x="78" y="5"/>
                    <a:pt x="78" y="8"/>
                  </a:cubicBezTo>
                  <a:cubicBezTo>
                    <a:pt x="78" y="9"/>
                    <a:pt x="78" y="9"/>
                    <a:pt x="78" y="10"/>
                  </a:cubicBezTo>
                  <a:cubicBezTo>
                    <a:pt x="79" y="68"/>
                    <a:pt x="79" y="68"/>
                    <a:pt x="79" y="68"/>
                  </a:cubicBezTo>
                  <a:lnTo>
                    <a:pt x="74" y="7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8343956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CA8E470-8506-4DF9-9DF7-60F24097A2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97274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4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CA8E470-8506-4DF9-9DF7-60F24097A2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97274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3C59AEE-ED94-435C-A3BF-4E98E19589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71550" y="0"/>
            <a:ext cx="119063" cy="11906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000" kern="0" dirty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6" name="CuadroTexto 6">
            <a:extLst>
              <a:ext uri="{FF2B5EF4-FFF2-40B4-BE49-F238E27FC236}">
                <a16:creationId xmlns:a16="http://schemas.microsoft.com/office/drawing/2014/main" id="{40058C97-7973-40A9-AC57-77BB6DE6143D}"/>
              </a:ext>
            </a:extLst>
          </p:cNvPr>
          <p:cNvSpPr txBox="1"/>
          <p:nvPr/>
        </p:nvSpPr>
        <p:spPr>
          <a:xfrm>
            <a:off x="619160" y="338006"/>
            <a:ext cx="8315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cap="all" dirty="0">
                <a:solidFill>
                  <a:srgbClr val="092566"/>
                </a:solidFill>
                <a:latin typeface="Helvetica" pitchFamily="2" charset="0"/>
              </a:rPr>
              <a:t>Measurement &amp; transparency 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4CD4789-957A-4C9B-81CA-F80CFD9DBF8F}"/>
              </a:ext>
            </a:extLst>
          </p:cNvPr>
          <p:cNvSpPr/>
          <p:nvPr/>
        </p:nvSpPr>
        <p:spPr>
          <a:xfrm>
            <a:off x="415702" y="1508906"/>
            <a:ext cx="5000360" cy="3344447"/>
          </a:xfrm>
          <a:prstGeom prst="rect">
            <a:avLst/>
          </a:prstGeom>
          <a:solidFill>
            <a:srgbClr val="DCDCDC"/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73152" rIns="27432" bIns="73152" rtlCol="0" anchor="ctr"/>
          <a:lstStyle/>
          <a:p>
            <a:pPr algn="ctr"/>
            <a:endParaRPr lang="en-GB" sz="1000" kern="0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C4F6A47-0ADD-49BB-818A-BB823949E41B}"/>
              </a:ext>
            </a:extLst>
          </p:cNvPr>
          <p:cNvSpPr/>
          <p:nvPr/>
        </p:nvSpPr>
        <p:spPr>
          <a:xfrm>
            <a:off x="409710" y="1509074"/>
            <a:ext cx="5006351" cy="204723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73152" rIns="27432" bIns="73152" rtlCol="0" anchor="ctr"/>
          <a:lstStyle/>
          <a:p>
            <a:pPr algn="ctr"/>
            <a:endParaRPr lang="en-GB" sz="1000" kern="0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07B02A8-119F-4E50-92F6-FE937A0AC52B}"/>
              </a:ext>
            </a:extLst>
          </p:cNvPr>
          <p:cNvSpPr/>
          <p:nvPr/>
        </p:nvSpPr>
        <p:spPr>
          <a:xfrm>
            <a:off x="459734" y="1757979"/>
            <a:ext cx="3479124" cy="62180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73152" rIns="27432" bIns="73152" rtlCol="0" anchor="t"/>
          <a:lstStyle/>
          <a:p>
            <a:pPr marL="457200"/>
            <a:r>
              <a:rPr lang="en-GB" sz="1200" b="1" kern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URRENT STATUS</a:t>
            </a:r>
          </a:p>
          <a:p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uccinct summary of key risks and facts highlighted in the dashboard</a:t>
            </a:r>
            <a:endParaRPr lang="en-GB" sz="1200" b="1" kern="0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6B64DEC4-8CAB-4A71-B2CF-821889AE852B}"/>
              </a:ext>
            </a:extLst>
          </p:cNvPr>
          <p:cNvSpPr/>
          <p:nvPr/>
        </p:nvSpPr>
        <p:spPr>
          <a:xfrm>
            <a:off x="3998218" y="1757979"/>
            <a:ext cx="1368370" cy="217196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" tIns="73152" rIns="2743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6075"/>
            <a:r>
              <a:rPr lang="en-GB" sz="1200" b="1" kern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YBER </a:t>
            </a:r>
          </a:p>
          <a:p>
            <a:pPr marL="346075"/>
            <a:r>
              <a:rPr lang="en-GB" sz="1200" b="1" kern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OGRAM</a:t>
            </a:r>
          </a:p>
          <a:p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tatus and appropriateness of initiatives to improve the cyber posture</a:t>
            </a:r>
            <a:endParaRPr lang="en-GB" sz="1200" b="1" kern="0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A47D6BC8-CC4B-4348-BE2D-0F6005104F79}"/>
              </a:ext>
            </a:extLst>
          </p:cNvPr>
          <p:cNvSpPr/>
          <p:nvPr/>
        </p:nvSpPr>
        <p:spPr>
          <a:xfrm>
            <a:off x="459733" y="2433120"/>
            <a:ext cx="1713412" cy="237920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73152" rIns="27432" bIns="73152" rtlCol="0" anchor="t"/>
          <a:lstStyle/>
          <a:p>
            <a:pPr marL="457200"/>
            <a:r>
              <a:rPr lang="en-GB" sz="1200" b="1" kern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XTERNAL ENVIRONMENT</a:t>
            </a:r>
          </a:p>
          <a:p>
            <a:r>
              <a:rPr lang="en-US" sz="12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ecent and upcoming events that could / can impact aspects of the perimeter</a:t>
            </a:r>
          </a:p>
          <a:p>
            <a:endParaRPr lang="en-GB" sz="1200" b="1" kern="0" dirty="0">
              <a:solidFill>
                <a:schemeClr val="tx1">
                  <a:lumMod val="50000"/>
                  <a:lumOff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5C79C1A-C7C7-487C-A72D-0038BAFA6872}"/>
              </a:ext>
            </a:extLst>
          </p:cNvPr>
          <p:cNvSpPr/>
          <p:nvPr/>
        </p:nvSpPr>
        <p:spPr>
          <a:xfrm>
            <a:off x="2227298" y="2433120"/>
            <a:ext cx="1713412" cy="120689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73152" rIns="27432" bIns="73152" rtlCol="0" anchor="t"/>
          <a:lstStyle/>
          <a:p>
            <a:pPr marL="346075"/>
            <a:r>
              <a:rPr lang="en-GB" sz="1200" b="1" kern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TERNAL ENVIRONMENT</a:t>
            </a:r>
          </a:p>
          <a:p>
            <a:r>
              <a:rPr lang="en-US" sz="1200" kern="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ffectiveness of the defenses, including IT defenses, workers, and third parties</a:t>
            </a:r>
          </a:p>
          <a:p>
            <a:endParaRPr lang="en-GB" sz="1200" b="1" kern="0" dirty="0">
              <a:solidFill>
                <a:schemeClr val="tx1">
                  <a:lumMod val="50000"/>
                  <a:lumOff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2E6D153-CEAD-4FC2-BA92-FDEEDF25008A}"/>
              </a:ext>
            </a:extLst>
          </p:cNvPr>
          <p:cNvSpPr/>
          <p:nvPr/>
        </p:nvSpPr>
        <p:spPr>
          <a:xfrm>
            <a:off x="3998218" y="3957770"/>
            <a:ext cx="1368370" cy="85455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73152" rIns="27432" bIns="73152" rtlCol="0" anchor="t"/>
          <a:lstStyle/>
          <a:p>
            <a:pPr marL="346075"/>
            <a:r>
              <a:rPr lang="en-GB" sz="1200" b="1" kern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XPOSURE</a:t>
            </a:r>
          </a:p>
          <a:p>
            <a:r>
              <a:rPr lang="en-US" sz="1200" kern="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izing of cyber risk in dollar terms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512297B2-93BD-4BB5-94B1-ADC1B003A104}"/>
              </a:ext>
            </a:extLst>
          </p:cNvPr>
          <p:cNvSpPr/>
          <p:nvPr/>
        </p:nvSpPr>
        <p:spPr>
          <a:xfrm>
            <a:off x="2227298" y="3681268"/>
            <a:ext cx="1713412" cy="113105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" tIns="73152" rIns="27432" bIns="73152" rtlCol="0" anchor="t"/>
          <a:lstStyle/>
          <a:p>
            <a:pPr marL="346075"/>
            <a:r>
              <a:rPr lang="en-GB" sz="1200" b="1" kern="0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CIDENT RESPONSE</a:t>
            </a:r>
          </a:p>
          <a:p>
            <a:r>
              <a:rPr lang="en-US" sz="1200" kern="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ffectiveness of the response and recovery mechanisms</a:t>
            </a:r>
            <a:endParaRPr lang="en-GB" sz="1200" b="1" kern="0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aphicFrame>
        <p:nvGraphicFramePr>
          <p:cNvPr id="98" name="Table 97">
            <a:extLst>
              <a:ext uri="{FF2B5EF4-FFF2-40B4-BE49-F238E27FC236}">
                <a16:creationId xmlns:a16="http://schemas.microsoft.com/office/drawing/2014/main" id="{0A1E8389-9903-461D-B5EB-0BDA7FF3AB5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1701978"/>
              </p:ext>
            </p:extLst>
          </p:nvPr>
        </p:nvGraphicFramePr>
        <p:xfrm>
          <a:off x="5953721" y="1354932"/>
          <a:ext cx="3096495" cy="35218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96495">
                  <a:extLst>
                    <a:ext uri="{9D8B030D-6E8A-4147-A177-3AD203B41FA5}">
                      <a16:colId xmlns:a16="http://schemas.microsoft.com/office/drawing/2014/main" val="106403084"/>
                    </a:ext>
                  </a:extLst>
                </a:gridCol>
              </a:tblGrid>
              <a:tr h="352187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Communicating</a:t>
                      </a:r>
                      <a:r>
                        <a:rPr lang="en-US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en-US" sz="1400" b="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technical cyber risk content for 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non-technical executives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Expanding beyond purely qualitative reporting and 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developing robust quantitative metrics  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Meaningful, cascadable and 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forward-looking risk</a:t>
                      </a:r>
                      <a:r>
                        <a:rPr lang="en-US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en-US" sz="1400" b="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indicators</a:t>
                      </a:r>
                      <a:endParaRPr lang="en-US" sz="1400" b="1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Clearly defined 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thresholds and tracking</a:t>
                      </a:r>
                      <a:r>
                        <a:rPr lang="en-US" sz="1400" b="1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 </a:t>
                      </a:r>
                      <a:r>
                        <a:rPr lang="en-US" sz="1400" b="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over time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Link to </a:t>
                      </a:r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cyber risk appetit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1593998"/>
                  </a:ext>
                </a:extLst>
              </a:tr>
            </a:tbl>
          </a:graphicData>
        </a:graphic>
      </p:graphicFrame>
      <p:grpSp>
        <p:nvGrpSpPr>
          <p:cNvPr id="101" name="Group 100">
            <a:extLst>
              <a:ext uri="{FF2B5EF4-FFF2-40B4-BE49-F238E27FC236}">
                <a16:creationId xmlns:a16="http://schemas.microsoft.com/office/drawing/2014/main" id="{320D02E6-5073-4ADF-8CE7-6BCE5C3DC9B7}"/>
              </a:ext>
            </a:extLst>
          </p:cNvPr>
          <p:cNvGrpSpPr/>
          <p:nvPr>
            <p:custDataLst>
              <p:custData r:id="rId4"/>
            </p:custDataLst>
          </p:nvPr>
        </p:nvGrpSpPr>
        <p:grpSpPr>
          <a:xfrm>
            <a:off x="541561" y="2473602"/>
            <a:ext cx="323428" cy="354882"/>
            <a:chOff x="-920460" y="3356685"/>
            <a:chExt cx="320758" cy="479999"/>
          </a:xfrm>
          <a:solidFill>
            <a:schemeClr val="accent2">
              <a:lumMod val="75000"/>
            </a:schemeClr>
          </a:solidFill>
        </p:grpSpPr>
        <p:sp>
          <p:nvSpPr>
            <p:cNvPr id="102" name="Oval 37">
              <a:extLst>
                <a:ext uri="{FF2B5EF4-FFF2-40B4-BE49-F238E27FC236}">
                  <a16:creationId xmlns:a16="http://schemas.microsoft.com/office/drawing/2014/main" id="{FF955153-87D9-4C38-A69B-F219E568B083}"/>
                </a:ext>
              </a:extLst>
            </p:cNvPr>
            <p:cNvSpPr/>
            <p:nvPr/>
          </p:nvSpPr>
          <p:spPr>
            <a:xfrm>
              <a:off x="-920460" y="3356685"/>
              <a:ext cx="320758" cy="364726"/>
            </a:xfrm>
            <a:custGeom>
              <a:avLst/>
              <a:gdLst/>
              <a:ahLst/>
              <a:cxnLst/>
              <a:rect l="l" t="t" r="r" b="b"/>
              <a:pathLst>
                <a:path w="320758" h="364727">
                  <a:moveTo>
                    <a:pt x="143642" y="234874"/>
                  </a:moveTo>
                  <a:lnTo>
                    <a:pt x="132484" y="284948"/>
                  </a:lnTo>
                  <a:lnTo>
                    <a:pt x="188273" y="284948"/>
                  </a:lnTo>
                  <a:lnTo>
                    <a:pt x="177115" y="234874"/>
                  </a:lnTo>
                  <a:close/>
                  <a:moveTo>
                    <a:pt x="274440" y="152852"/>
                  </a:moveTo>
                  <a:lnTo>
                    <a:pt x="187422" y="179183"/>
                  </a:lnTo>
                  <a:lnTo>
                    <a:pt x="187422" y="198109"/>
                  </a:lnTo>
                  <a:lnTo>
                    <a:pt x="225226" y="212169"/>
                  </a:lnTo>
                  <a:cubicBezTo>
                    <a:pt x="241177" y="212930"/>
                    <a:pt x="257136" y="197349"/>
                    <a:pt x="273086" y="198109"/>
                  </a:cubicBezTo>
                  <a:cubicBezTo>
                    <a:pt x="273541" y="183025"/>
                    <a:pt x="273986" y="167937"/>
                    <a:pt x="274440" y="152852"/>
                  </a:cubicBezTo>
                  <a:close/>
                  <a:moveTo>
                    <a:pt x="46318" y="152531"/>
                  </a:moveTo>
                  <a:cubicBezTo>
                    <a:pt x="46755" y="167616"/>
                    <a:pt x="47184" y="182704"/>
                    <a:pt x="47621" y="197789"/>
                  </a:cubicBezTo>
                  <a:cubicBezTo>
                    <a:pt x="62978" y="197029"/>
                    <a:pt x="78342" y="212609"/>
                    <a:pt x="93699" y="211849"/>
                  </a:cubicBezTo>
                  <a:lnTo>
                    <a:pt x="130095" y="197789"/>
                  </a:lnTo>
                  <a:lnTo>
                    <a:pt x="130095" y="178862"/>
                  </a:lnTo>
                  <a:close/>
                  <a:moveTo>
                    <a:pt x="160570" y="0"/>
                  </a:moveTo>
                  <a:cubicBezTo>
                    <a:pt x="271923" y="0"/>
                    <a:pt x="315855" y="71255"/>
                    <a:pt x="320758" y="148200"/>
                  </a:cubicBezTo>
                  <a:cubicBezTo>
                    <a:pt x="320758" y="187092"/>
                    <a:pt x="304565" y="222485"/>
                    <a:pt x="277078" y="247573"/>
                  </a:cubicBezTo>
                  <a:lnTo>
                    <a:pt x="290169" y="257911"/>
                  </a:lnTo>
                  <a:cubicBezTo>
                    <a:pt x="295140" y="261836"/>
                    <a:pt x="290870" y="275522"/>
                    <a:pt x="280639" y="288479"/>
                  </a:cubicBezTo>
                  <a:cubicBezTo>
                    <a:pt x="270408" y="301436"/>
                    <a:pt x="258085" y="308764"/>
                    <a:pt x="253114" y="304838"/>
                  </a:cubicBezTo>
                  <a:lnTo>
                    <a:pt x="236806" y="291961"/>
                  </a:lnTo>
                  <a:lnTo>
                    <a:pt x="236806" y="343085"/>
                  </a:lnTo>
                  <a:cubicBezTo>
                    <a:pt x="236806" y="355037"/>
                    <a:pt x="227116" y="364727"/>
                    <a:pt x="215164" y="364727"/>
                  </a:cubicBezTo>
                  <a:lnTo>
                    <a:pt x="105975" y="364727"/>
                  </a:lnTo>
                  <a:cubicBezTo>
                    <a:pt x="94022" y="364727"/>
                    <a:pt x="84332" y="355037"/>
                    <a:pt x="84332" y="343085"/>
                  </a:cubicBezTo>
                  <a:lnTo>
                    <a:pt x="84332" y="288771"/>
                  </a:lnTo>
                  <a:lnTo>
                    <a:pt x="61339" y="302034"/>
                  </a:lnTo>
                  <a:cubicBezTo>
                    <a:pt x="55852" y="305199"/>
                    <a:pt x="44719" y="296166"/>
                    <a:pt x="36470" y="281865"/>
                  </a:cubicBezTo>
                  <a:cubicBezTo>
                    <a:pt x="28221" y="267565"/>
                    <a:pt x="25975" y="253404"/>
                    <a:pt x="31462" y="250240"/>
                  </a:cubicBezTo>
                  <a:lnTo>
                    <a:pt x="37759" y="246607"/>
                  </a:lnTo>
                  <a:cubicBezTo>
                    <a:pt x="11748" y="222960"/>
                    <a:pt x="-2569" y="188822"/>
                    <a:pt x="382" y="148200"/>
                  </a:cubicBezTo>
                  <a:cubicBezTo>
                    <a:pt x="6921" y="58179"/>
                    <a:pt x="49217" y="0"/>
                    <a:pt x="160570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000" dirty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D6C54347-5FFA-4719-9CA1-CD236B94D379}"/>
                </a:ext>
              </a:extLst>
            </p:cNvPr>
            <p:cNvCxnSpPr/>
            <p:nvPr/>
          </p:nvCxnSpPr>
          <p:spPr>
            <a:xfrm flipV="1">
              <a:off x="-804537" y="3680430"/>
              <a:ext cx="0" cy="40980"/>
            </a:xfrm>
            <a:prstGeom prst="line">
              <a:avLst/>
            </a:prstGeom>
            <a:grpFill/>
            <a:ln>
              <a:solidFill>
                <a:schemeClr val="bg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66F880BC-FD42-4E6F-99C3-F75248360779}"/>
                </a:ext>
              </a:extLst>
            </p:cNvPr>
            <p:cNvCxnSpPr/>
            <p:nvPr/>
          </p:nvCxnSpPr>
          <p:spPr>
            <a:xfrm flipV="1">
              <a:off x="-760202" y="3680430"/>
              <a:ext cx="0" cy="40980"/>
            </a:xfrm>
            <a:prstGeom prst="line">
              <a:avLst/>
            </a:prstGeom>
            <a:grpFill/>
            <a:ln>
              <a:solidFill>
                <a:schemeClr val="bg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BAEFF5AF-C403-4B5A-A6EA-03F7ED9C55AD}"/>
                </a:ext>
              </a:extLst>
            </p:cNvPr>
            <p:cNvCxnSpPr/>
            <p:nvPr/>
          </p:nvCxnSpPr>
          <p:spPr>
            <a:xfrm flipV="1">
              <a:off x="-715866" y="3680430"/>
              <a:ext cx="0" cy="40980"/>
            </a:xfrm>
            <a:prstGeom prst="line">
              <a:avLst/>
            </a:prstGeom>
            <a:grpFill/>
            <a:ln>
              <a:solidFill>
                <a:schemeClr val="bg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16C7D7BC-CA83-441A-9082-463A6AB3EBEA}"/>
                </a:ext>
              </a:extLst>
            </p:cNvPr>
            <p:cNvCxnSpPr/>
            <p:nvPr/>
          </p:nvCxnSpPr>
          <p:spPr>
            <a:xfrm flipV="1">
              <a:off x="-760081" y="3593018"/>
              <a:ext cx="0" cy="48618"/>
            </a:xfrm>
            <a:prstGeom prst="line">
              <a:avLst/>
            </a:prstGeom>
            <a:grpFill/>
            <a:ln>
              <a:solidFill>
                <a:schemeClr val="bg1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id="{3148EE9E-2EBC-427F-A9EF-32A7C44667D1}"/>
                </a:ext>
              </a:extLst>
            </p:cNvPr>
            <p:cNvGrpSpPr/>
            <p:nvPr/>
          </p:nvGrpSpPr>
          <p:grpSpPr>
            <a:xfrm rot="3640304">
              <a:off x="-799482" y="3653460"/>
              <a:ext cx="77213" cy="289236"/>
              <a:chOff x="6139043" y="3224210"/>
              <a:chExt cx="190320" cy="712937"/>
            </a:xfrm>
            <a:grpFill/>
          </p:grpSpPr>
          <p:sp>
            <p:nvSpPr>
              <p:cNvPr id="126" name="Rectangle 125">
                <a:extLst>
                  <a:ext uri="{FF2B5EF4-FFF2-40B4-BE49-F238E27FC236}">
                    <a16:creationId xmlns:a16="http://schemas.microsoft.com/office/drawing/2014/main" id="{49FD49C2-D9DE-4862-A262-C65C2640D17A}"/>
                  </a:ext>
                </a:extLst>
              </p:cNvPr>
              <p:cNvSpPr/>
              <p:nvPr/>
            </p:nvSpPr>
            <p:spPr>
              <a:xfrm>
                <a:off x="6199418" y="3305175"/>
                <a:ext cx="68269" cy="544724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00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grpSp>
            <p:nvGrpSpPr>
              <p:cNvPr id="127" name="Group 126">
                <a:extLst>
                  <a:ext uri="{FF2B5EF4-FFF2-40B4-BE49-F238E27FC236}">
                    <a16:creationId xmlns:a16="http://schemas.microsoft.com/office/drawing/2014/main" id="{A44526F8-32DD-40E9-BF94-B1722AE1E8F1}"/>
                  </a:ext>
                </a:extLst>
              </p:cNvPr>
              <p:cNvGrpSpPr/>
              <p:nvPr/>
            </p:nvGrpSpPr>
            <p:grpSpPr>
              <a:xfrm>
                <a:off x="6140346" y="3224210"/>
                <a:ext cx="189017" cy="103934"/>
                <a:chOff x="6140346" y="3224210"/>
                <a:chExt cx="189017" cy="103934"/>
              </a:xfrm>
              <a:grpFill/>
            </p:grpSpPr>
            <p:sp>
              <p:nvSpPr>
                <p:cNvPr id="131" name="Flowchart: Delay 130">
                  <a:extLst>
                    <a:ext uri="{FF2B5EF4-FFF2-40B4-BE49-F238E27FC236}">
                      <a16:creationId xmlns:a16="http://schemas.microsoft.com/office/drawing/2014/main" id="{2F8D4E9D-E84C-44C9-BF01-66FEA1DB0AB6}"/>
                    </a:ext>
                  </a:extLst>
                </p:cNvPr>
                <p:cNvSpPr/>
                <p:nvPr/>
              </p:nvSpPr>
              <p:spPr>
                <a:xfrm rot="19257565">
                  <a:off x="6230541" y="3224210"/>
                  <a:ext cx="98822" cy="100013"/>
                </a:xfrm>
                <a:prstGeom prst="flowChartDelay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000" dirty="0">
                    <a:solidFill>
                      <a:schemeClr val="tx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endParaRPr>
                </a:p>
              </p:txBody>
            </p:sp>
            <p:sp>
              <p:nvSpPr>
                <p:cNvPr id="132" name="Flowchart: Delay 131">
                  <a:extLst>
                    <a:ext uri="{FF2B5EF4-FFF2-40B4-BE49-F238E27FC236}">
                      <a16:creationId xmlns:a16="http://schemas.microsoft.com/office/drawing/2014/main" id="{8E60A77B-AA3F-4F5F-97A1-38D8CAC3A504}"/>
                    </a:ext>
                  </a:extLst>
                </p:cNvPr>
                <p:cNvSpPr/>
                <p:nvPr/>
              </p:nvSpPr>
              <p:spPr>
                <a:xfrm rot="2386876" flipH="1" flipV="1">
                  <a:off x="6140346" y="3225763"/>
                  <a:ext cx="103858" cy="102381"/>
                </a:xfrm>
                <a:prstGeom prst="flowChartDelay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000" dirty="0">
                    <a:solidFill>
                      <a:schemeClr val="tx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endParaRPr>
                </a:p>
              </p:txBody>
            </p:sp>
          </p:grpSp>
          <p:grpSp>
            <p:nvGrpSpPr>
              <p:cNvPr id="128" name="Group 127">
                <a:extLst>
                  <a:ext uri="{FF2B5EF4-FFF2-40B4-BE49-F238E27FC236}">
                    <a16:creationId xmlns:a16="http://schemas.microsoft.com/office/drawing/2014/main" id="{16FA1C6F-408E-493A-BE4F-3E0A67A4EDA4}"/>
                  </a:ext>
                </a:extLst>
              </p:cNvPr>
              <p:cNvGrpSpPr/>
              <p:nvPr/>
            </p:nvGrpSpPr>
            <p:grpSpPr>
              <a:xfrm rot="10800000">
                <a:off x="6139043" y="3833213"/>
                <a:ext cx="189017" cy="103934"/>
                <a:chOff x="6140346" y="3224210"/>
                <a:chExt cx="189017" cy="103934"/>
              </a:xfrm>
              <a:grpFill/>
            </p:grpSpPr>
            <p:sp>
              <p:nvSpPr>
                <p:cNvPr id="129" name="Flowchart: Delay 128">
                  <a:extLst>
                    <a:ext uri="{FF2B5EF4-FFF2-40B4-BE49-F238E27FC236}">
                      <a16:creationId xmlns:a16="http://schemas.microsoft.com/office/drawing/2014/main" id="{8BFC715B-D33D-4E54-A944-AC0E538E2501}"/>
                    </a:ext>
                  </a:extLst>
                </p:cNvPr>
                <p:cNvSpPr/>
                <p:nvPr/>
              </p:nvSpPr>
              <p:spPr>
                <a:xfrm rot="19257565">
                  <a:off x="6230541" y="3224210"/>
                  <a:ext cx="98822" cy="100013"/>
                </a:xfrm>
                <a:prstGeom prst="flowChartDelay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000" dirty="0">
                    <a:solidFill>
                      <a:schemeClr val="tx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endParaRPr>
                </a:p>
              </p:txBody>
            </p:sp>
            <p:sp>
              <p:nvSpPr>
                <p:cNvPr id="130" name="Flowchart: Delay 129">
                  <a:extLst>
                    <a:ext uri="{FF2B5EF4-FFF2-40B4-BE49-F238E27FC236}">
                      <a16:creationId xmlns:a16="http://schemas.microsoft.com/office/drawing/2014/main" id="{188315B8-265F-4A4E-B95A-BF402B9F68C8}"/>
                    </a:ext>
                  </a:extLst>
                </p:cNvPr>
                <p:cNvSpPr/>
                <p:nvPr/>
              </p:nvSpPr>
              <p:spPr>
                <a:xfrm rot="2386876" flipH="1" flipV="1">
                  <a:off x="6140346" y="3225763"/>
                  <a:ext cx="103858" cy="102381"/>
                </a:xfrm>
                <a:prstGeom prst="flowChartDelay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000" dirty="0">
                    <a:solidFill>
                      <a:schemeClr val="tx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endParaRPr>
                </a:p>
              </p:txBody>
            </p:sp>
          </p:grpSp>
        </p:grpSp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F55020BF-CC0D-4FF0-8AFF-0869C8914488}"/>
                </a:ext>
              </a:extLst>
            </p:cNvPr>
            <p:cNvGrpSpPr/>
            <p:nvPr/>
          </p:nvGrpSpPr>
          <p:grpSpPr>
            <a:xfrm rot="17930787">
              <a:off x="-797890" y="3652572"/>
              <a:ext cx="77213" cy="289236"/>
              <a:chOff x="6291445" y="3376616"/>
              <a:chExt cx="190323" cy="712930"/>
            </a:xfrm>
            <a:grpFill/>
          </p:grpSpPr>
          <p:sp>
            <p:nvSpPr>
              <p:cNvPr id="109" name="Rectangle 108">
                <a:extLst>
                  <a:ext uri="{FF2B5EF4-FFF2-40B4-BE49-F238E27FC236}">
                    <a16:creationId xmlns:a16="http://schemas.microsoft.com/office/drawing/2014/main" id="{49E441CA-0385-482A-8026-30BF479950F7}"/>
                  </a:ext>
                </a:extLst>
              </p:cNvPr>
              <p:cNvSpPr/>
              <p:nvPr/>
            </p:nvSpPr>
            <p:spPr>
              <a:xfrm>
                <a:off x="6351829" y="3457582"/>
                <a:ext cx="68269" cy="544724"/>
              </a:xfrm>
              <a:prstGeom prst="rect">
                <a:avLst/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000" dirty="0">
                  <a:solidFill>
                    <a:schemeClr val="tx1"/>
                  </a:solidFill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46A9C58E-C062-4909-A0E9-F4C644DE606C}"/>
                  </a:ext>
                </a:extLst>
              </p:cNvPr>
              <p:cNvGrpSpPr/>
              <p:nvPr/>
            </p:nvGrpSpPr>
            <p:grpSpPr>
              <a:xfrm>
                <a:off x="6292752" y="3376616"/>
                <a:ext cx="189016" cy="103933"/>
                <a:chOff x="6140346" y="3224210"/>
                <a:chExt cx="189017" cy="103934"/>
              </a:xfrm>
              <a:grpFill/>
            </p:grpSpPr>
            <p:sp>
              <p:nvSpPr>
                <p:cNvPr id="117" name="Flowchart: Delay 116">
                  <a:extLst>
                    <a:ext uri="{FF2B5EF4-FFF2-40B4-BE49-F238E27FC236}">
                      <a16:creationId xmlns:a16="http://schemas.microsoft.com/office/drawing/2014/main" id="{9586867A-A1E8-49A9-B860-3563EFC510A3}"/>
                    </a:ext>
                  </a:extLst>
                </p:cNvPr>
                <p:cNvSpPr/>
                <p:nvPr/>
              </p:nvSpPr>
              <p:spPr>
                <a:xfrm rot="19257565">
                  <a:off x="6230541" y="3224210"/>
                  <a:ext cx="98822" cy="100013"/>
                </a:xfrm>
                <a:prstGeom prst="flowChartDelay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000" dirty="0">
                    <a:solidFill>
                      <a:schemeClr val="tx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endParaRPr>
                </a:p>
              </p:txBody>
            </p:sp>
            <p:sp>
              <p:nvSpPr>
                <p:cNvPr id="121" name="Flowchart: Delay 120">
                  <a:extLst>
                    <a:ext uri="{FF2B5EF4-FFF2-40B4-BE49-F238E27FC236}">
                      <a16:creationId xmlns:a16="http://schemas.microsoft.com/office/drawing/2014/main" id="{EEC51A69-EDA2-4751-A34E-9B5543506F7E}"/>
                    </a:ext>
                  </a:extLst>
                </p:cNvPr>
                <p:cNvSpPr/>
                <p:nvPr/>
              </p:nvSpPr>
              <p:spPr>
                <a:xfrm rot="2386876" flipH="1" flipV="1">
                  <a:off x="6140346" y="3225763"/>
                  <a:ext cx="103858" cy="102381"/>
                </a:xfrm>
                <a:prstGeom prst="flowChartDelay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000" dirty="0">
                    <a:solidFill>
                      <a:schemeClr val="tx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endParaRPr>
                </a:p>
              </p:txBody>
            </p:sp>
          </p:grpSp>
          <p:grpSp>
            <p:nvGrpSpPr>
              <p:cNvPr id="112" name="Group 111">
                <a:extLst>
                  <a:ext uri="{FF2B5EF4-FFF2-40B4-BE49-F238E27FC236}">
                    <a16:creationId xmlns:a16="http://schemas.microsoft.com/office/drawing/2014/main" id="{69AD9C5B-DFFB-4AE3-B802-859414483DBE}"/>
                  </a:ext>
                </a:extLst>
              </p:cNvPr>
              <p:cNvGrpSpPr/>
              <p:nvPr/>
            </p:nvGrpSpPr>
            <p:grpSpPr>
              <a:xfrm rot="10800000">
                <a:off x="6291445" y="3985613"/>
                <a:ext cx="189016" cy="103933"/>
                <a:chOff x="6140346" y="3224210"/>
                <a:chExt cx="189017" cy="103934"/>
              </a:xfrm>
              <a:grpFill/>
            </p:grpSpPr>
            <p:sp>
              <p:nvSpPr>
                <p:cNvPr id="113" name="Flowchart: Delay 112">
                  <a:extLst>
                    <a:ext uri="{FF2B5EF4-FFF2-40B4-BE49-F238E27FC236}">
                      <a16:creationId xmlns:a16="http://schemas.microsoft.com/office/drawing/2014/main" id="{8760D52A-B39A-45CA-88E2-FBD7F0DC83AF}"/>
                    </a:ext>
                  </a:extLst>
                </p:cNvPr>
                <p:cNvSpPr/>
                <p:nvPr/>
              </p:nvSpPr>
              <p:spPr>
                <a:xfrm rot="19257565">
                  <a:off x="6230541" y="3224210"/>
                  <a:ext cx="98822" cy="100013"/>
                </a:xfrm>
                <a:prstGeom prst="flowChartDelay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000" dirty="0">
                    <a:solidFill>
                      <a:schemeClr val="tx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endParaRPr>
                </a:p>
              </p:txBody>
            </p:sp>
            <p:sp>
              <p:nvSpPr>
                <p:cNvPr id="114" name="Flowchart: Delay 113">
                  <a:extLst>
                    <a:ext uri="{FF2B5EF4-FFF2-40B4-BE49-F238E27FC236}">
                      <a16:creationId xmlns:a16="http://schemas.microsoft.com/office/drawing/2014/main" id="{576D59CA-073C-40C8-B801-10663BE06827}"/>
                    </a:ext>
                  </a:extLst>
                </p:cNvPr>
                <p:cNvSpPr/>
                <p:nvPr/>
              </p:nvSpPr>
              <p:spPr>
                <a:xfrm rot="2386876" flipH="1" flipV="1">
                  <a:off x="6140346" y="3225763"/>
                  <a:ext cx="103858" cy="102381"/>
                </a:xfrm>
                <a:prstGeom prst="flowChartDelay">
                  <a:avLst/>
                </a:pr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n-US" sz="1000" dirty="0">
                    <a:solidFill>
                      <a:schemeClr val="tx1"/>
                    </a:solidFill>
                    <a:latin typeface="Helvetica" panose="020B0604020202020204" pitchFamily="34" charset="0"/>
                    <a:cs typeface="Helvetica" panose="020B0604020202020204" pitchFamily="34" charset="0"/>
                  </a:endParaRPr>
                </a:p>
              </p:txBody>
            </p:sp>
          </p:grpSp>
        </p:grp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4B030056-E52E-427E-939B-82012391ABA0}"/>
              </a:ext>
            </a:extLst>
          </p:cNvPr>
          <p:cNvGrpSpPr/>
          <p:nvPr>
            <p:custDataLst>
              <p:custData r:id="rId5"/>
            </p:custDataLst>
          </p:nvPr>
        </p:nvGrpSpPr>
        <p:grpSpPr>
          <a:xfrm>
            <a:off x="4046194" y="1827637"/>
            <a:ext cx="281067" cy="349097"/>
            <a:chOff x="3025507" y="3822483"/>
            <a:chExt cx="370524" cy="494837"/>
          </a:xfrm>
          <a:solidFill>
            <a:schemeClr val="accent2">
              <a:lumMod val="75000"/>
            </a:schemeClr>
          </a:solidFill>
        </p:grpSpPr>
        <p:sp>
          <p:nvSpPr>
            <p:cNvPr id="134" name="Freeform 8">
              <a:extLst>
                <a:ext uri="{FF2B5EF4-FFF2-40B4-BE49-F238E27FC236}">
                  <a16:creationId xmlns:a16="http://schemas.microsoft.com/office/drawing/2014/main" id="{9F9EC5BE-7058-44F8-86FE-3EB4E3B06DEE}"/>
                </a:ext>
              </a:extLst>
            </p:cNvPr>
            <p:cNvSpPr>
              <a:spLocks noEditPoints="1"/>
            </p:cNvSpPr>
            <p:nvPr/>
          </p:nvSpPr>
          <p:spPr bwMode="auto">
            <a:xfrm flipH="1">
              <a:off x="3025507" y="3822483"/>
              <a:ext cx="370524" cy="494837"/>
            </a:xfrm>
            <a:custGeom>
              <a:avLst/>
              <a:gdLst>
                <a:gd name="T0" fmla="*/ 717 w 2458"/>
                <a:gd name="T1" fmla="*/ 175 h 3277"/>
                <a:gd name="T2" fmla="*/ 175 w 2458"/>
                <a:gd name="T3" fmla="*/ 717 h 3277"/>
                <a:gd name="T4" fmla="*/ 717 w 2458"/>
                <a:gd name="T5" fmla="*/ 717 h 3277"/>
                <a:gd name="T6" fmla="*/ 717 w 2458"/>
                <a:gd name="T7" fmla="*/ 175 h 3277"/>
                <a:gd name="T8" fmla="*/ 819 w 2458"/>
                <a:gd name="T9" fmla="*/ 103 h 3277"/>
                <a:gd name="T10" fmla="*/ 819 w 2458"/>
                <a:gd name="T11" fmla="*/ 820 h 3277"/>
                <a:gd name="T12" fmla="*/ 103 w 2458"/>
                <a:gd name="T13" fmla="*/ 820 h 3277"/>
                <a:gd name="T14" fmla="*/ 103 w 2458"/>
                <a:gd name="T15" fmla="*/ 3174 h 3277"/>
                <a:gd name="T16" fmla="*/ 2355 w 2458"/>
                <a:gd name="T17" fmla="*/ 3174 h 3277"/>
                <a:gd name="T18" fmla="*/ 2355 w 2458"/>
                <a:gd name="T19" fmla="*/ 103 h 3277"/>
                <a:gd name="T20" fmla="*/ 819 w 2458"/>
                <a:gd name="T21" fmla="*/ 103 h 3277"/>
                <a:gd name="T22" fmla="*/ 746 w 2458"/>
                <a:gd name="T23" fmla="*/ 0 h 3277"/>
                <a:gd name="T24" fmla="*/ 2458 w 2458"/>
                <a:gd name="T25" fmla="*/ 0 h 3277"/>
                <a:gd name="T26" fmla="*/ 2458 w 2458"/>
                <a:gd name="T27" fmla="*/ 3277 h 3277"/>
                <a:gd name="T28" fmla="*/ 0 w 2458"/>
                <a:gd name="T29" fmla="*/ 3277 h 3277"/>
                <a:gd name="T30" fmla="*/ 0 w 2458"/>
                <a:gd name="T31" fmla="*/ 747 h 3277"/>
                <a:gd name="T32" fmla="*/ 746 w 2458"/>
                <a:gd name="T33" fmla="*/ 0 h 3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58" h="3277">
                  <a:moveTo>
                    <a:pt x="717" y="175"/>
                  </a:moveTo>
                  <a:lnTo>
                    <a:pt x="175" y="717"/>
                  </a:lnTo>
                  <a:lnTo>
                    <a:pt x="717" y="717"/>
                  </a:lnTo>
                  <a:lnTo>
                    <a:pt x="717" y="175"/>
                  </a:lnTo>
                  <a:close/>
                  <a:moveTo>
                    <a:pt x="819" y="103"/>
                  </a:moveTo>
                  <a:lnTo>
                    <a:pt x="819" y="820"/>
                  </a:lnTo>
                  <a:lnTo>
                    <a:pt x="103" y="820"/>
                  </a:lnTo>
                  <a:lnTo>
                    <a:pt x="103" y="3174"/>
                  </a:lnTo>
                  <a:lnTo>
                    <a:pt x="2355" y="3174"/>
                  </a:lnTo>
                  <a:lnTo>
                    <a:pt x="2355" y="103"/>
                  </a:lnTo>
                  <a:lnTo>
                    <a:pt x="819" y="103"/>
                  </a:lnTo>
                  <a:close/>
                  <a:moveTo>
                    <a:pt x="746" y="0"/>
                  </a:moveTo>
                  <a:lnTo>
                    <a:pt x="2458" y="0"/>
                  </a:lnTo>
                  <a:lnTo>
                    <a:pt x="2458" y="3277"/>
                  </a:lnTo>
                  <a:lnTo>
                    <a:pt x="0" y="3277"/>
                  </a:lnTo>
                  <a:lnTo>
                    <a:pt x="0" y="747"/>
                  </a:lnTo>
                  <a:lnTo>
                    <a:pt x="74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09DABC94-EFF3-419A-9D7C-939EFA4A7AF0}"/>
                </a:ext>
              </a:extLst>
            </p:cNvPr>
            <p:cNvGrpSpPr/>
            <p:nvPr/>
          </p:nvGrpSpPr>
          <p:grpSpPr>
            <a:xfrm>
              <a:off x="3080090" y="3971733"/>
              <a:ext cx="261359" cy="74407"/>
              <a:chOff x="3080090" y="3971733"/>
              <a:chExt cx="261359" cy="74407"/>
            </a:xfrm>
            <a:grpFill/>
          </p:grpSpPr>
          <p:sp>
            <p:nvSpPr>
              <p:cNvPr id="142" name="Freeform 15">
                <a:extLst>
                  <a:ext uri="{FF2B5EF4-FFF2-40B4-BE49-F238E27FC236}">
                    <a16:creationId xmlns:a16="http://schemas.microsoft.com/office/drawing/2014/main" id="{44D43A85-B131-42C6-8EDB-21F6CCB500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80090" y="3971733"/>
                <a:ext cx="90777" cy="74407"/>
              </a:xfrm>
              <a:custGeom>
                <a:avLst/>
                <a:gdLst>
                  <a:gd name="T0" fmla="*/ 75 w 546"/>
                  <a:gd name="T1" fmla="*/ 68 h 454"/>
                  <a:gd name="T2" fmla="*/ 60 w 546"/>
                  <a:gd name="T3" fmla="*/ 83 h 454"/>
                  <a:gd name="T4" fmla="*/ 58 w 546"/>
                  <a:gd name="T5" fmla="*/ 368 h 454"/>
                  <a:gd name="T6" fmla="*/ 66 w 546"/>
                  <a:gd name="T7" fmla="*/ 389 h 454"/>
                  <a:gd name="T8" fmla="*/ 86 w 546"/>
                  <a:gd name="T9" fmla="*/ 396 h 454"/>
                  <a:gd name="T10" fmla="*/ 345 w 546"/>
                  <a:gd name="T11" fmla="*/ 394 h 454"/>
                  <a:gd name="T12" fmla="*/ 361 w 546"/>
                  <a:gd name="T13" fmla="*/ 379 h 454"/>
                  <a:gd name="T14" fmla="*/ 363 w 546"/>
                  <a:gd name="T15" fmla="*/ 290 h 454"/>
                  <a:gd name="T16" fmla="*/ 292 w 546"/>
                  <a:gd name="T17" fmla="*/ 373 h 454"/>
                  <a:gd name="T18" fmla="*/ 265 w 546"/>
                  <a:gd name="T19" fmla="*/ 381 h 454"/>
                  <a:gd name="T20" fmla="*/ 249 w 546"/>
                  <a:gd name="T21" fmla="*/ 380 h 454"/>
                  <a:gd name="T22" fmla="*/ 225 w 546"/>
                  <a:gd name="T23" fmla="*/ 367 h 454"/>
                  <a:gd name="T24" fmla="*/ 91 w 546"/>
                  <a:gd name="T25" fmla="*/ 238 h 454"/>
                  <a:gd name="T26" fmla="*/ 84 w 546"/>
                  <a:gd name="T27" fmla="*/ 206 h 454"/>
                  <a:gd name="T28" fmla="*/ 98 w 546"/>
                  <a:gd name="T29" fmla="*/ 176 h 454"/>
                  <a:gd name="T30" fmla="*/ 127 w 546"/>
                  <a:gd name="T31" fmla="*/ 160 h 454"/>
                  <a:gd name="T32" fmla="*/ 159 w 546"/>
                  <a:gd name="T33" fmla="*/ 164 h 454"/>
                  <a:gd name="T34" fmla="*/ 218 w 546"/>
                  <a:gd name="T35" fmla="*/ 215 h 454"/>
                  <a:gd name="T36" fmla="*/ 248 w 546"/>
                  <a:gd name="T37" fmla="*/ 228 h 454"/>
                  <a:gd name="T38" fmla="*/ 279 w 546"/>
                  <a:gd name="T39" fmla="*/ 221 h 454"/>
                  <a:gd name="T40" fmla="*/ 363 w 546"/>
                  <a:gd name="T41" fmla="*/ 125 h 454"/>
                  <a:gd name="T42" fmla="*/ 361 w 546"/>
                  <a:gd name="T43" fmla="*/ 83 h 454"/>
                  <a:gd name="T44" fmla="*/ 345 w 546"/>
                  <a:gd name="T45" fmla="*/ 68 h 454"/>
                  <a:gd name="T46" fmla="*/ 86 w 546"/>
                  <a:gd name="T47" fmla="*/ 66 h 454"/>
                  <a:gd name="T48" fmla="*/ 513 w 546"/>
                  <a:gd name="T49" fmla="*/ 3 h 454"/>
                  <a:gd name="T50" fmla="*/ 539 w 546"/>
                  <a:gd name="T51" fmla="*/ 24 h 454"/>
                  <a:gd name="T52" fmla="*/ 546 w 546"/>
                  <a:gd name="T53" fmla="*/ 56 h 454"/>
                  <a:gd name="T54" fmla="*/ 533 w 546"/>
                  <a:gd name="T55" fmla="*/ 86 h 454"/>
                  <a:gd name="T56" fmla="*/ 421 w 546"/>
                  <a:gd name="T57" fmla="*/ 368 h 454"/>
                  <a:gd name="T58" fmla="*/ 409 w 546"/>
                  <a:gd name="T59" fmla="*/ 411 h 454"/>
                  <a:gd name="T60" fmla="*/ 378 w 546"/>
                  <a:gd name="T61" fmla="*/ 442 h 454"/>
                  <a:gd name="T62" fmla="*/ 335 w 546"/>
                  <a:gd name="T63" fmla="*/ 454 h 454"/>
                  <a:gd name="T64" fmla="*/ 63 w 546"/>
                  <a:gd name="T65" fmla="*/ 451 h 454"/>
                  <a:gd name="T66" fmla="*/ 26 w 546"/>
                  <a:gd name="T67" fmla="*/ 429 h 454"/>
                  <a:gd name="T68" fmla="*/ 3 w 546"/>
                  <a:gd name="T69" fmla="*/ 391 h 454"/>
                  <a:gd name="T70" fmla="*/ 0 w 546"/>
                  <a:gd name="T71" fmla="*/ 95 h 454"/>
                  <a:gd name="T72" fmla="*/ 12 w 546"/>
                  <a:gd name="T73" fmla="*/ 51 h 454"/>
                  <a:gd name="T74" fmla="*/ 43 w 546"/>
                  <a:gd name="T75" fmla="*/ 20 h 454"/>
                  <a:gd name="T76" fmla="*/ 86 w 546"/>
                  <a:gd name="T77" fmla="*/ 8 h 454"/>
                  <a:gd name="T78" fmla="*/ 356 w 546"/>
                  <a:gd name="T79" fmla="*/ 10 h 454"/>
                  <a:gd name="T80" fmla="*/ 391 w 546"/>
                  <a:gd name="T81" fmla="*/ 30 h 454"/>
                  <a:gd name="T82" fmla="*/ 415 w 546"/>
                  <a:gd name="T83" fmla="*/ 63 h 454"/>
                  <a:gd name="T84" fmla="*/ 465 w 546"/>
                  <a:gd name="T85" fmla="*/ 7 h 454"/>
                  <a:gd name="T86" fmla="*/ 497 w 546"/>
                  <a:gd name="T87" fmla="*/ 0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46" h="454">
                    <a:moveTo>
                      <a:pt x="86" y="66"/>
                    </a:moveTo>
                    <a:lnTo>
                      <a:pt x="75" y="68"/>
                    </a:lnTo>
                    <a:lnTo>
                      <a:pt x="66" y="74"/>
                    </a:lnTo>
                    <a:lnTo>
                      <a:pt x="60" y="83"/>
                    </a:lnTo>
                    <a:lnTo>
                      <a:pt x="58" y="95"/>
                    </a:lnTo>
                    <a:lnTo>
                      <a:pt x="58" y="368"/>
                    </a:lnTo>
                    <a:lnTo>
                      <a:pt x="60" y="379"/>
                    </a:lnTo>
                    <a:lnTo>
                      <a:pt x="66" y="389"/>
                    </a:lnTo>
                    <a:lnTo>
                      <a:pt x="75" y="394"/>
                    </a:lnTo>
                    <a:lnTo>
                      <a:pt x="86" y="396"/>
                    </a:lnTo>
                    <a:lnTo>
                      <a:pt x="335" y="396"/>
                    </a:lnTo>
                    <a:lnTo>
                      <a:pt x="345" y="394"/>
                    </a:lnTo>
                    <a:lnTo>
                      <a:pt x="355" y="389"/>
                    </a:lnTo>
                    <a:lnTo>
                      <a:pt x="361" y="379"/>
                    </a:lnTo>
                    <a:lnTo>
                      <a:pt x="363" y="368"/>
                    </a:lnTo>
                    <a:lnTo>
                      <a:pt x="363" y="290"/>
                    </a:lnTo>
                    <a:lnTo>
                      <a:pt x="302" y="363"/>
                    </a:lnTo>
                    <a:lnTo>
                      <a:pt x="292" y="373"/>
                    </a:lnTo>
                    <a:lnTo>
                      <a:pt x="279" y="379"/>
                    </a:lnTo>
                    <a:lnTo>
                      <a:pt x="265" y="381"/>
                    </a:lnTo>
                    <a:lnTo>
                      <a:pt x="262" y="381"/>
                    </a:lnTo>
                    <a:lnTo>
                      <a:pt x="249" y="380"/>
                    </a:lnTo>
                    <a:lnTo>
                      <a:pt x="236" y="375"/>
                    </a:lnTo>
                    <a:lnTo>
                      <a:pt x="225" y="367"/>
                    </a:lnTo>
                    <a:lnTo>
                      <a:pt x="101" y="252"/>
                    </a:lnTo>
                    <a:lnTo>
                      <a:pt x="91" y="238"/>
                    </a:lnTo>
                    <a:lnTo>
                      <a:pt x="85" y="223"/>
                    </a:lnTo>
                    <a:lnTo>
                      <a:pt x="84" y="206"/>
                    </a:lnTo>
                    <a:lnTo>
                      <a:pt x="89" y="191"/>
                    </a:lnTo>
                    <a:lnTo>
                      <a:pt x="98" y="176"/>
                    </a:lnTo>
                    <a:lnTo>
                      <a:pt x="112" y="166"/>
                    </a:lnTo>
                    <a:lnTo>
                      <a:pt x="127" y="160"/>
                    </a:lnTo>
                    <a:lnTo>
                      <a:pt x="143" y="160"/>
                    </a:lnTo>
                    <a:lnTo>
                      <a:pt x="159" y="164"/>
                    </a:lnTo>
                    <a:lnTo>
                      <a:pt x="173" y="174"/>
                    </a:lnTo>
                    <a:lnTo>
                      <a:pt x="218" y="215"/>
                    </a:lnTo>
                    <a:lnTo>
                      <a:pt x="232" y="224"/>
                    </a:lnTo>
                    <a:lnTo>
                      <a:pt x="248" y="228"/>
                    </a:lnTo>
                    <a:lnTo>
                      <a:pt x="264" y="227"/>
                    </a:lnTo>
                    <a:lnTo>
                      <a:pt x="279" y="221"/>
                    </a:lnTo>
                    <a:lnTo>
                      <a:pt x="292" y="210"/>
                    </a:lnTo>
                    <a:lnTo>
                      <a:pt x="363" y="125"/>
                    </a:lnTo>
                    <a:lnTo>
                      <a:pt x="363" y="95"/>
                    </a:lnTo>
                    <a:lnTo>
                      <a:pt x="361" y="83"/>
                    </a:lnTo>
                    <a:lnTo>
                      <a:pt x="355" y="74"/>
                    </a:lnTo>
                    <a:lnTo>
                      <a:pt x="345" y="68"/>
                    </a:lnTo>
                    <a:lnTo>
                      <a:pt x="335" y="66"/>
                    </a:lnTo>
                    <a:lnTo>
                      <a:pt x="86" y="66"/>
                    </a:lnTo>
                    <a:close/>
                    <a:moveTo>
                      <a:pt x="497" y="0"/>
                    </a:moveTo>
                    <a:lnTo>
                      <a:pt x="513" y="3"/>
                    </a:lnTo>
                    <a:lnTo>
                      <a:pt x="527" y="11"/>
                    </a:lnTo>
                    <a:lnTo>
                      <a:pt x="539" y="24"/>
                    </a:lnTo>
                    <a:lnTo>
                      <a:pt x="545" y="40"/>
                    </a:lnTo>
                    <a:lnTo>
                      <a:pt x="546" y="56"/>
                    </a:lnTo>
                    <a:lnTo>
                      <a:pt x="543" y="72"/>
                    </a:lnTo>
                    <a:lnTo>
                      <a:pt x="533" y="86"/>
                    </a:lnTo>
                    <a:lnTo>
                      <a:pt x="421" y="221"/>
                    </a:lnTo>
                    <a:lnTo>
                      <a:pt x="421" y="368"/>
                    </a:lnTo>
                    <a:lnTo>
                      <a:pt x="418" y="391"/>
                    </a:lnTo>
                    <a:lnTo>
                      <a:pt x="409" y="411"/>
                    </a:lnTo>
                    <a:lnTo>
                      <a:pt x="396" y="429"/>
                    </a:lnTo>
                    <a:lnTo>
                      <a:pt x="378" y="442"/>
                    </a:lnTo>
                    <a:lnTo>
                      <a:pt x="357" y="451"/>
                    </a:lnTo>
                    <a:lnTo>
                      <a:pt x="335" y="454"/>
                    </a:lnTo>
                    <a:lnTo>
                      <a:pt x="86" y="454"/>
                    </a:lnTo>
                    <a:lnTo>
                      <a:pt x="63" y="451"/>
                    </a:lnTo>
                    <a:lnTo>
                      <a:pt x="43" y="442"/>
                    </a:lnTo>
                    <a:lnTo>
                      <a:pt x="26" y="429"/>
                    </a:lnTo>
                    <a:lnTo>
                      <a:pt x="12" y="411"/>
                    </a:lnTo>
                    <a:lnTo>
                      <a:pt x="3" y="391"/>
                    </a:lnTo>
                    <a:lnTo>
                      <a:pt x="0" y="368"/>
                    </a:lnTo>
                    <a:lnTo>
                      <a:pt x="0" y="95"/>
                    </a:lnTo>
                    <a:lnTo>
                      <a:pt x="3" y="71"/>
                    </a:lnTo>
                    <a:lnTo>
                      <a:pt x="12" y="51"/>
                    </a:lnTo>
                    <a:lnTo>
                      <a:pt x="26" y="33"/>
                    </a:lnTo>
                    <a:lnTo>
                      <a:pt x="43" y="20"/>
                    </a:lnTo>
                    <a:lnTo>
                      <a:pt x="63" y="11"/>
                    </a:lnTo>
                    <a:lnTo>
                      <a:pt x="86" y="8"/>
                    </a:lnTo>
                    <a:lnTo>
                      <a:pt x="335" y="8"/>
                    </a:lnTo>
                    <a:lnTo>
                      <a:pt x="356" y="10"/>
                    </a:lnTo>
                    <a:lnTo>
                      <a:pt x="375" y="18"/>
                    </a:lnTo>
                    <a:lnTo>
                      <a:pt x="391" y="30"/>
                    </a:lnTo>
                    <a:lnTo>
                      <a:pt x="405" y="45"/>
                    </a:lnTo>
                    <a:lnTo>
                      <a:pt x="415" y="63"/>
                    </a:lnTo>
                    <a:lnTo>
                      <a:pt x="452" y="19"/>
                    </a:lnTo>
                    <a:lnTo>
                      <a:pt x="465" y="7"/>
                    </a:lnTo>
                    <a:lnTo>
                      <a:pt x="480" y="1"/>
                    </a:lnTo>
                    <a:lnTo>
                      <a:pt x="4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44" name="Freeform 18">
                <a:extLst>
                  <a:ext uri="{FF2B5EF4-FFF2-40B4-BE49-F238E27FC236}">
                    <a16:creationId xmlns:a16="http://schemas.microsoft.com/office/drawing/2014/main" id="{CFFC71AD-A7B3-4F4F-B518-1CC09564D7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4676" y="4002983"/>
                <a:ext cx="146773" cy="17858"/>
              </a:xfrm>
              <a:custGeom>
                <a:avLst/>
                <a:gdLst>
                  <a:gd name="T0" fmla="*/ 53 w 969"/>
                  <a:gd name="T1" fmla="*/ 0 h 107"/>
                  <a:gd name="T2" fmla="*/ 916 w 969"/>
                  <a:gd name="T3" fmla="*/ 0 h 107"/>
                  <a:gd name="T4" fmla="*/ 933 w 969"/>
                  <a:gd name="T5" fmla="*/ 3 h 107"/>
                  <a:gd name="T6" fmla="*/ 947 w 969"/>
                  <a:gd name="T7" fmla="*/ 11 h 107"/>
                  <a:gd name="T8" fmla="*/ 959 w 969"/>
                  <a:gd name="T9" fmla="*/ 23 h 107"/>
                  <a:gd name="T10" fmla="*/ 966 w 969"/>
                  <a:gd name="T11" fmla="*/ 38 h 107"/>
                  <a:gd name="T12" fmla="*/ 969 w 969"/>
                  <a:gd name="T13" fmla="*/ 55 h 107"/>
                  <a:gd name="T14" fmla="*/ 966 w 969"/>
                  <a:gd name="T15" fmla="*/ 71 h 107"/>
                  <a:gd name="T16" fmla="*/ 959 w 969"/>
                  <a:gd name="T17" fmla="*/ 86 h 107"/>
                  <a:gd name="T18" fmla="*/ 947 w 969"/>
                  <a:gd name="T19" fmla="*/ 98 h 107"/>
                  <a:gd name="T20" fmla="*/ 933 w 969"/>
                  <a:gd name="T21" fmla="*/ 105 h 107"/>
                  <a:gd name="T22" fmla="*/ 916 w 969"/>
                  <a:gd name="T23" fmla="*/ 107 h 107"/>
                  <a:gd name="T24" fmla="*/ 53 w 969"/>
                  <a:gd name="T25" fmla="*/ 107 h 107"/>
                  <a:gd name="T26" fmla="*/ 36 w 969"/>
                  <a:gd name="T27" fmla="*/ 105 h 107"/>
                  <a:gd name="T28" fmla="*/ 22 w 969"/>
                  <a:gd name="T29" fmla="*/ 98 h 107"/>
                  <a:gd name="T30" fmla="*/ 10 w 969"/>
                  <a:gd name="T31" fmla="*/ 86 h 107"/>
                  <a:gd name="T32" fmla="*/ 3 w 969"/>
                  <a:gd name="T33" fmla="*/ 71 h 107"/>
                  <a:gd name="T34" fmla="*/ 0 w 969"/>
                  <a:gd name="T35" fmla="*/ 55 h 107"/>
                  <a:gd name="T36" fmla="*/ 3 w 969"/>
                  <a:gd name="T37" fmla="*/ 38 h 107"/>
                  <a:gd name="T38" fmla="*/ 10 w 969"/>
                  <a:gd name="T39" fmla="*/ 23 h 107"/>
                  <a:gd name="T40" fmla="*/ 22 w 969"/>
                  <a:gd name="T41" fmla="*/ 11 h 107"/>
                  <a:gd name="T42" fmla="*/ 36 w 969"/>
                  <a:gd name="T43" fmla="*/ 3 h 107"/>
                  <a:gd name="T44" fmla="*/ 53 w 969"/>
                  <a:gd name="T45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69" h="107">
                    <a:moveTo>
                      <a:pt x="53" y="0"/>
                    </a:moveTo>
                    <a:lnTo>
                      <a:pt x="916" y="0"/>
                    </a:lnTo>
                    <a:lnTo>
                      <a:pt x="933" y="3"/>
                    </a:lnTo>
                    <a:lnTo>
                      <a:pt x="947" y="11"/>
                    </a:lnTo>
                    <a:lnTo>
                      <a:pt x="959" y="23"/>
                    </a:lnTo>
                    <a:lnTo>
                      <a:pt x="966" y="38"/>
                    </a:lnTo>
                    <a:lnTo>
                      <a:pt x="969" y="55"/>
                    </a:lnTo>
                    <a:lnTo>
                      <a:pt x="966" y="71"/>
                    </a:lnTo>
                    <a:lnTo>
                      <a:pt x="959" y="86"/>
                    </a:lnTo>
                    <a:lnTo>
                      <a:pt x="947" y="98"/>
                    </a:lnTo>
                    <a:lnTo>
                      <a:pt x="933" y="105"/>
                    </a:lnTo>
                    <a:lnTo>
                      <a:pt x="916" y="107"/>
                    </a:lnTo>
                    <a:lnTo>
                      <a:pt x="53" y="107"/>
                    </a:lnTo>
                    <a:lnTo>
                      <a:pt x="36" y="105"/>
                    </a:lnTo>
                    <a:lnTo>
                      <a:pt x="22" y="98"/>
                    </a:lnTo>
                    <a:lnTo>
                      <a:pt x="10" y="86"/>
                    </a:lnTo>
                    <a:lnTo>
                      <a:pt x="3" y="71"/>
                    </a:lnTo>
                    <a:lnTo>
                      <a:pt x="0" y="55"/>
                    </a:lnTo>
                    <a:lnTo>
                      <a:pt x="3" y="38"/>
                    </a:lnTo>
                    <a:lnTo>
                      <a:pt x="10" y="23"/>
                    </a:lnTo>
                    <a:lnTo>
                      <a:pt x="22" y="11"/>
                    </a:lnTo>
                    <a:lnTo>
                      <a:pt x="36" y="3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000E0FA7-0EF3-4B43-AA94-DA1BEED0D83A}"/>
                </a:ext>
              </a:extLst>
            </p:cNvPr>
            <p:cNvGrpSpPr/>
            <p:nvPr/>
          </p:nvGrpSpPr>
          <p:grpSpPr>
            <a:xfrm>
              <a:off x="3080090" y="4081862"/>
              <a:ext cx="261359" cy="74407"/>
              <a:chOff x="3080090" y="3971733"/>
              <a:chExt cx="261359" cy="74407"/>
            </a:xfrm>
            <a:grpFill/>
          </p:grpSpPr>
          <p:sp>
            <p:nvSpPr>
              <p:cNvPr id="140" name="Freeform 15">
                <a:extLst>
                  <a:ext uri="{FF2B5EF4-FFF2-40B4-BE49-F238E27FC236}">
                    <a16:creationId xmlns:a16="http://schemas.microsoft.com/office/drawing/2014/main" id="{A463ABAC-A486-4684-B3F4-368E23F74FD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80090" y="3971733"/>
                <a:ext cx="90777" cy="74407"/>
              </a:xfrm>
              <a:custGeom>
                <a:avLst/>
                <a:gdLst>
                  <a:gd name="T0" fmla="*/ 75 w 546"/>
                  <a:gd name="T1" fmla="*/ 68 h 454"/>
                  <a:gd name="T2" fmla="*/ 60 w 546"/>
                  <a:gd name="T3" fmla="*/ 83 h 454"/>
                  <a:gd name="T4" fmla="*/ 58 w 546"/>
                  <a:gd name="T5" fmla="*/ 368 h 454"/>
                  <a:gd name="T6" fmla="*/ 66 w 546"/>
                  <a:gd name="T7" fmla="*/ 389 h 454"/>
                  <a:gd name="T8" fmla="*/ 86 w 546"/>
                  <a:gd name="T9" fmla="*/ 396 h 454"/>
                  <a:gd name="T10" fmla="*/ 345 w 546"/>
                  <a:gd name="T11" fmla="*/ 394 h 454"/>
                  <a:gd name="T12" fmla="*/ 361 w 546"/>
                  <a:gd name="T13" fmla="*/ 379 h 454"/>
                  <a:gd name="T14" fmla="*/ 363 w 546"/>
                  <a:gd name="T15" fmla="*/ 290 h 454"/>
                  <a:gd name="T16" fmla="*/ 292 w 546"/>
                  <a:gd name="T17" fmla="*/ 373 h 454"/>
                  <a:gd name="T18" fmla="*/ 265 w 546"/>
                  <a:gd name="T19" fmla="*/ 381 h 454"/>
                  <a:gd name="T20" fmla="*/ 249 w 546"/>
                  <a:gd name="T21" fmla="*/ 380 h 454"/>
                  <a:gd name="T22" fmla="*/ 225 w 546"/>
                  <a:gd name="T23" fmla="*/ 367 h 454"/>
                  <a:gd name="T24" fmla="*/ 91 w 546"/>
                  <a:gd name="T25" fmla="*/ 238 h 454"/>
                  <a:gd name="T26" fmla="*/ 84 w 546"/>
                  <a:gd name="T27" fmla="*/ 206 h 454"/>
                  <a:gd name="T28" fmla="*/ 98 w 546"/>
                  <a:gd name="T29" fmla="*/ 176 h 454"/>
                  <a:gd name="T30" fmla="*/ 127 w 546"/>
                  <a:gd name="T31" fmla="*/ 160 h 454"/>
                  <a:gd name="T32" fmla="*/ 159 w 546"/>
                  <a:gd name="T33" fmla="*/ 164 h 454"/>
                  <a:gd name="T34" fmla="*/ 218 w 546"/>
                  <a:gd name="T35" fmla="*/ 215 h 454"/>
                  <a:gd name="T36" fmla="*/ 248 w 546"/>
                  <a:gd name="T37" fmla="*/ 228 h 454"/>
                  <a:gd name="T38" fmla="*/ 279 w 546"/>
                  <a:gd name="T39" fmla="*/ 221 h 454"/>
                  <a:gd name="T40" fmla="*/ 363 w 546"/>
                  <a:gd name="T41" fmla="*/ 125 h 454"/>
                  <a:gd name="T42" fmla="*/ 361 w 546"/>
                  <a:gd name="T43" fmla="*/ 83 h 454"/>
                  <a:gd name="T44" fmla="*/ 345 w 546"/>
                  <a:gd name="T45" fmla="*/ 68 h 454"/>
                  <a:gd name="T46" fmla="*/ 86 w 546"/>
                  <a:gd name="T47" fmla="*/ 66 h 454"/>
                  <a:gd name="T48" fmla="*/ 513 w 546"/>
                  <a:gd name="T49" fmla="*/ 3 h 454"/>
                  <a:gd name="T50" fmla="*/ 539 w 546"/>
                  <a:gd name="T51" fmla="*/ 24 h 454"/>
                  <a:gd name="T52" fmla="*/ 546 w 546"/>
                  <a:gd name="T53" fmla="*/ 56 h 454"/>
                  <a:gd name="T54" fmla="*/ 533 w 546"/>
                  <a:gd name="T55" fmla="*/ 86 h 454"/>
                  <a:gd name="T56" fmla="*/ 421 w 546"/>
                  <a:gd name="T57" fmla="*/ 368 h 454"/>
                  <a:gd name="T58" fmla="*/ 409 w 546"/>
                  <a:gd name="T59" fmla="*/ 411 h 454"/>
                  <a:gd name="T60" fmla="*/ 378 w 546"/>
                  <a:gd name="T61" fmla="*/ 442 h 454"/>
                  <a:gd name="T62" fmla="*/ 335 w 546"/>
                  <a:gd name="T63" fmla="*/ 454 h 454"/>
                  <a:gd name="T64" fmla="*/ 63 w 546"/>
                  <a:gd name="T65" fmla="*/ 451 h 454"/>
                  <a:gd name="T66" fmla="*/ 26 w 546"/>
                  <a:gd name="T67" fmla="*/ 429 h 454"/>
                  <a:gd name="T68" fmla="*/ 3 w 546"/>
                  <a:gd name="T69" fmla="*/ 391 h 454"/>
                  <a:gd name="T70" fmla="*/ 0 w 546"/>
                  <a:gd name="T71" fmla="*/ 95 h 454"/>
                  <a:gd name="T72" fmla="*/ 12 w 546"/>
                  <a:gd name="T73" fmla="*/ 51 h 454"/>
                  <a:gd name="T74" fmla="*/ 43 w 546"/>
                  <a:gd name="T75" fmla="*/ 20 h 454"/>
                  <a:gd name="T76" fmla="*/ 86 w 546"/>
                  <a:gd name="T77" fmla="*/ 8 h 454"/>
                  <a:gd name="T78" fmla="*/ 356 w 546"/>
                  <a:gd name="T79" fmla="*/ 10 h 454"/>
                  <a:gd name="T80" fmla="*/ 391 w 546"/>
                  <a:gd name="T81" fmla="*/ 30 h 454"/>
                  <a:gd name="T82" fmla="*/ 415 w 546"/>
                  <a:gd name="T83" fmla="*/ 63 h 454"/>
                  <a:gd name="T84" fmla="*/ 465 w 546"/>
                  <a:gd name="T85" fmla="*/ 7 h 454"/>
                  <a:gd name="T86" fmla="*/ 497 w 546"/>
                  <a:gd name="T87" fmla="*/ 0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46" h="454">
                    <a:moveTo>
                      <a:pt x="86" y="66"/>
                    </a:moveTo>
                    <a:lnTo>
                      <a:pt x="75" y="68"/>
                    </a:lnTo>
                    <a:lnTo>
                      <a:pt x="66" y="74"/>
                    </a:lnTo>
                    <a:lnTo>
                      <a:pt x="60" y="83"/>
                    </a:lnTo>
                    <a:lnTo>
                      <a:pt x="58" y="95"/>
                    </a:lnTo>
                    <a:lnTo>
                      <a:pt x="58" y="368"/>
                    </a:lnTo>
                    <a:lnTo>
                      <a:pt x="60" y="379"/>
                    </a:lnTo>
                    <a:lnTo>
                      <a:pt x="66" y="389"/>
                    </a:lnTo>
                    <a:lnTo>
                      <a:pt x="75" y="394"/>
                    </a:lnTo>
                    <a:lnTo>
                      <a:pt x="86" y="396"/>
                    </a:lnTo>
                    <a:lnTo>
                      <a:pt x="335" y="396"/>
                    </a:lnTo>
                    <a:lnTo>
                      <a:pt x="345" y="394"/>
                    </a:lnTo>
                    <a:lnTo>
                      <a:pt x="355" y="389"/>
                    </a:lnTo>
                    <a:lnTo>
                      <a:pt x="361" y="379"/>
                    </a:lnTo>
                    <a:lnTo>
                      <a:pt x="363" y="368"/>
                    </a:lnTo>
                    <a:lnTo>
                      <a:pt x="363" y="290"/>
                    </a:lnTo>
                    <a:lnTo>
                      <a:pt x="302" y="363"/>
                    </a:lnTo>
                    <a:lnTo>
                      <a:pt x="292" y="373"/>
                    </a:lnTo>
                    <a:lnTo>
                      <a:pt x="279" y="379"/>
                    </a:lnTo>
                    <a:lnTo>
                      <a:pt x="265" y="381"/>
                    </a:lnTo>
                    <a:lnTo>
                      <a:pt x="262" y="381"/>
                    </a:lnTo>
                    <a:lnTo>
                      <a:pt x="249" y="380"/>
                    </a:lnTo>
                    <a:lnTo>
                      <a:pt x="236" y="375"/>
                    </a:lnTo>
                    <a:lnTo>
                      <a:pt x="225" y="367"/>
                    </a:lnTo>
                    <a:lnTo>
                      <a:pt x="101" y="252"/>
                    </a:lnTo>
                    <a:lnTo>
                      <a:pt x="91" y="238"/>
                    </a:lnTo>
                    <a:lnTo>
                      <a:pt x="85" y="223"/>
                    </a:lnTo>
                    <a:lnTo>
                      <a:pt x="84" y="206"/>
                    </a:lnTo>
                    <a:lnTo>
                      <a:pt x="89" y="191"/>
                    </a:lnTo>
                    <a:lnTo>
                      <a:pt x="98" y="176"/>
                    </a:lnTo>
                    <a:lnTo>
                      <a:pt x="112" y="166"/>
                    </a:lnTo>
                    <a:lnTo>
                      <a:pt x="127" y="160"/>
                    </a:lnTo>
                    <a:lnTo>
                      <a:pt x="143" y="160"/>
                    </a:lnTo>
                    <a:lnTo>
                      <a:pt x="159" y="164"/>
                    </a:lnTo>
                    <a:lnTo>
                      <a:pt x="173" y="174"/>
                    </a:lnTo>
                    <a:lnTo>
                      <a:pt x="218" y="215"/>
                    </a:lnTo>
                    <a:lnTo>
                      <a:pt x="232" y="224"/>
                    </a:lnTo>
                    <a:lnTo>
                      <a:pt x="248" y="228"/>
                    </a:lnTo>
                    <a:lnTo>
                      <a:pt x="264" y="227"/>
                    </a:lnTo>
                    <a:lnTo>
                      <a:pt x="279" y="221"/>
                    </a:lnTo>
                    <a:lnTo>
                      <a:pt x="292" y="210"/>
                    </a:lnTo>
                    <a:lnTo>
                      <a:pt x="363" y="125"/>
                    </a:lnTo>
                    <a:lnTo>
                      <a:pt x="363" y="95"/>
                    </a:lnTo>
                    <a:lnTo>
                      <a:pt x="361" y="83"/>
                    </a:lnTo>
                    <a:lnTo>
                      <a:pt x="355" y="74"/>
                    </a:lnTo>
                    <a:lnTo>
                      <a:pt x="345" y="68"/>
                    </a:lnTo>
                    <a:lnTo>
                      <a:pt x="335" y="66"/>
                    </a:lnTo>
                    <a:lnTo>
                      <a:pt x="86" y="66"/>
                    </a:lnTo>
                    <a:close/>
                    <a:moveTo>
                      <a:pt x="497" y="0"/>
                    </a:moveTo>
                    <a:lnTo>
                      <a:pt x="513" y="3"/>
                    </a:lnTo>
                    <a:lnTo>
                      <a:pt x="527" y="11"/>
                    </a:lnTo>
                    <a:lnTo>
                      <a:pt x="539" y="24"/>
                    </a:lnTo>
                    <a:lnTo>
                      <a:pt x="545" y="40"/>
                    </a:lnTo>
                    <a:lnTo>
                      <a:pt x="546" y="56"/>
                    </a:lnTo>
                    <a:lnTo>
                      <a:pt x="543" y="72"/>
                    </a:lnTo>
                    <a:lnTo>
                      <a:pt x="533" y="86"/>
                    </a:lnTo>
                    <a:lnTo>
                      <a:pt x="421" y="221"/>
                    </a:lnTo>
                    <a:lnTo>
                      <a:pt x="421" y="368"/>
                    </a:lnTo>
                    <a:lnTo>
                      <a:pt x="418" y="391"/>
                    </a:lnTo>
                    <a:lnTo>
                      <a:pt x="409" y="411"/>
                    </a:lnTo>
                    <a:lnTo>
                      <a:pt x="396" y="429"/>
                    </a:lnTo>
                    <a:lnTo>
                      <a:pt x="378" y="442"/>
                    </a:lnTo>
                    <a:lnTo>
                      <a:pt x="357" y="451"/>
                    </a:lnTo>
                    <a:lnTo>
                      <a:pt x="335" y="454"/>
                    </a:lnTo>
                    <a:lnTo>
                      <a:pt x="86" y="454"/>
                    </a:lnTo>
                    <a:lnTo>
                      <a:pt x="63" y="451"/>
                    </a:lnTo>
                    <a:lnTo>
                      <a:pt x="43" y="442"/>
                    </a:lnTo>
                    <a:lnTo>
                      <a:pt x="26" y="429"/>
                    </a:lnTo>
                    <a:lnTo>
                      <a:pt x="12" y="411"/>
                    </a:lnTo>
                    <a:lnTo>
                      <a:pt x="3" y="391"/>
                    </a:lnTo>
                    <a:lnTo>
                      <a:pt x="0" y="368"/>
                    </a:lnTo>
                    <a:lnTo>
                      <a:pt x="0" y="95"/>
                    </a:lnTo>
                    <a:lnTo>
                      <a:pt x="3" y="71"/>
                    </a:lnTo>
                    <a:lnTo>
                      <a:pt x="12" y="51"/>
                    </a:lnTo>
                    <a:lnTo>
                      <a:pt x="26" y="33"/>
                    </a:lnTo>
                    <a:lnTo>
                      <a:pt x="43" y="20"/>
                    </a:lnTo>
                    <a:lnTo>
                      <a:pt x="63" y="11"/>
                    </a:lnTo>
                    <a:lnTo>
                      <a:pt x="86" y="8"/>
                    </a:lnTo>
                    <a:lnTo>
                      <a:pt x="335" y="8"/>
                    </a:lnTo>
                    <a:lnTo>
                      <a:pt x="356" y="10"/>
                    </a:lnTo>
                    <a:lnTo>
                      <a:pt x="375" y="18"/>
                    </a:lnTo>
                    <a:lnTo>
                      <a:pt x="391" y="30"/>
                    </a:lnTo>
                    <a:lnTo>
                      <a:pt x="405" y="45"/>
                    </a:lnTo>
                    <a:lnTo>
                      <a:pt x="415" y="63"/>
                    </a:lnTo>
                    <a:lnTo>
                      <a:pt x="452" y="19"/>
                    </a:lnTo>
                    <a:lnTo>
                      <a:pt x="465" y="7"/>
                    </a:lnTo>
                    <a:lnTo>
                      <a:pt x="480" y="1"/>
                    </a:lnTo>
                    <a:lnTo>
                      <a:pt x="4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41" name="Freeform 18">
                <a:extLst>
                  <a:ext uri="{FF2B5EF4-FFF2-40B4-BE49-F238E27FC236}">
                    <a16:creationId xmlns:a16="http://schemas.microsoft.com/office/drawing/2014/main" id="{BCCBF323-1518-4A19-8D09-30197EF81F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4676" y="4002983"/>
                <a:ext cx="146773" cy="17858"/>
              </a:xfrm>
              <a:custGeom>
                <a:avLst/>
                <a:gdLst>
                  <a:gd name="T0" fmla="*/ 53 w 969"/>
                  <a:gd name="T1" fmla="*/ 0 h 107"/>
                  <a:gd name="T2" fmla="*/ 916 w 969"/>
                  <a:gd name="T3" fmla="*/ 0 h 107"/>
                  <a:gd name="T4" fmla="*/ 933 w 969"/>
                  <a:gd name="T5" fmla="*/ 3 h 107"/>
                  <a:gd name="T6" fmla="*/ 947 w 969"/>
                  <a:gd name="T7" fmla="*/ 11 h 107"/>
                  <a:gd name="T8" fmla="*/ 959 w 969"/>
                  <a:gd name="T9" fmla="*/ 23 h 107"/>
                  <a:gd name="T10" fmla="*/ 966 w 969"/>
                  <a:gd name="T11" fmla="*/ 38 h 107"/>
                  <a:gd name="T12" fmla="*/ 969 w 969"/>
                  <a:gd name="T13" fmla="*/ 55 h 107"/>
                  <a:gd name="T14" fmla="*/ 966 w 969"/>
                  <a:gd name="T15" fmla="*/ 71 h 107"/>
                  <a:gd name="T16" fmla="*/ 959 w 969"/>
                  <a:gd name="T17" fmla="*/ 86 h 107"/>
                  <a:gd name="T18" fmla="*/ 947 w 969"/>
                  <a:gd name="T19" fmla="*/ 98 h 107"/>
                  <a:gd name="T20" fmla="*/ 933 w 969"/>
                  <a:gd name="T21" fmla="*/ 105 h 107"/>
                  <a:gd name="T22" fmla="*/ 916 w 969"/>
                  <a:gd name="T23" fmla="*/ 107 h 107"/>
                  <a:gd name="T24" fmla="*/ 53 w 969"/>
                  <a:gd name="T25" fmla="*/ 107 h 107"/>
                  <a:gd name="T26" fmla="*/ 36 w 969"/>
                  <a:gd name="T27" fmla="*/ 105 h 107"/>
                  <a:gd name="T28" fmla="*/ 22 w 969"/>
                  <a:gd name="T29" fmla="*/ 98 h 107"/>
                  <a:gd name="T30" fmla="*/ 10 w 969"/>
                  <a:gd name="T31" fmla="*/ 86 h 107"/>
                  <a:gd name="T32" fmla="*/ 3 w 969"/>
                  <a:gd name="T33" fmla="*/ 71 h 107"/>
                  <a:gd name="T34" fmla="*/ 0 w 969"/>
                  <a:gd name="T35" fmla="*/ 55 h 107"/>
                  <a:gd name="T36" fmla="*/ 3 w 969"/>
                  <a:gd name="T37" fmla="*/ 38 h 107"/>
                  <a:gd name="T38" fmla="*/ 10 w 969"/>
                  <a:gd name="T39" fmla="*/ 23 h 107"/>
                  <a:gd name="T40" fmla="*/ 22 w 969"/>
                  <a:gd name="T41" fmla="*/ 11 h 107"/>
                  <a:gd name="T42" fmla="*/ 36 w 969"/>
                  <a:gd name="T43" fmla="*/ 3 h 107"/>
                  <a:gd name="T44" fmla="*/ 53 w 969"/>
                  <a:gd name="T45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69" h="107">
                    <a:moveTo>
                      <a:pt x="53" y="0"/>
                    </a:moveTo>
                    <a:lnTo>
                      <a:pt x="916" y="0"/>
                    </a:lnTo>
                    <a:lnTo>
                      <a:pt x="933" y="3"/>
                    </a:lnTo>
                    <a:lnTo>
                      <a:pt x="947" y="11"/>
                    </a:lnTo>
                    <a:lnTo>
                      <a:pt x="959" y="23"/>
                    </a:lnTo>
                    <a:lnTo>
                      <a:pt x="966" y="38"/>
                    </a:lnTo>
                    <a:lnTo>
                      <a:pt x="969" y="55"/>
                    </a:lnTo>
                    <a:lnTo>
                      <a:pt x="966" y="71"/>
                    </a:lnTo>
                    <a:lnTo>
                      <a:pt x="959" y="86"/>
                    </a:lnTo>
                    <a:lnTo>
                      <a:pt x="947" y="98"/>
                    </a:lnTo>
                    <a:lnTo>
                      <a:pt x="933" y="105"/>
                    </a:lnTo>
                    <a:lnTo>
                      <a:pt x="916" y="107"/>
                    </a:lnTo>
                    <a:lnTo>
                      <a:pt x="53" y="107"/>
                    </a:lnTo>
                    <a:lnTo>
                      <a:pt x="36" y="105"/>
                    </a:lnTo>
                    <a:lnTo>
                      <a:pt x="22" y="98"/>
                    </a:lnTo>
                    <a:lnTo>
                      <a:pt x="10" y="86"/>
                    </a:lnTo>
                    <a:lnTo>
                      <a:pt x="3" y="71"/>
                    </a:lnTo>
                    <a:lnTo>
                      <a:pt x="0" y="55"/>
                    </a:lnTo>
                    <a:lnTo>
                      <a:pt x="3" y="38"/>
                    </a:lnTo>
                    <a:lnTo>
                      <a:pt x="10" y="23"/>
                    </a:lnTo>
                    <a:lnTo>
                      <a:pt x="22" y="11"/>
                    </a:lnTo>
                    <a:lnTo>
                      <a:pt x="36" y="3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</p:grp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0458C614-3D87-4B34-A8B9-BB16BF8AE47C}"/>
                </a:ext>
              </a:extLst>
            </p:cNvPr>
            <p:cNvGrpSpPr/>
            <p:nvPr/>
          </p:nvGrpSpPr>
          <p:grpSpPr>
            <a:xfrm>
              <a:off x="3080090" y="4191990"/>
              <a:ext cx="261359" cy="74407"/>
              <a:chOff x="3080090" y="3971733"/>
              <a:chExt cx="261359" cy="74407"/>
            </a:xfrm>
            <a:grpFill/>
          </p:grpSpPr>
          <p:sp>
            <p:nvSpPr>
              <p:cNvPr id="138" name="Freeform 15">
                <a:extLst>
                  <a:ext uri="{FF2B5EF4-FFF2-40B4-BE49-F238E27FC236}">
                    <a16:creationId xmlns:a16="http://schemas.microsoft.com/office/drawing/2014/main" id="{0EF32A9C-2C05-4490-BAE1-27AD6C1227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80090" y="3971733"/>
                <a:ext cx="90777" cy="74407"/>
              </a:xfrm>
              <a:custGeom>
                <a:avLst/>
                <a:gdLst>
                  <a:gd name="T0" fmla="*/ 75 w 546"/>
                  <a:gd name="T1" fmla="*/ 68 h 454"/>
                  <a:gd name="T2" fmla="*/ 60 w 546"/>
                  <a:gd name="T3" fmla="*/ 83 h 454"/>
                  <a:gd name="T4" fmla="*/ 58 w 546"/>
                  <a:gd name="T5" fmla="*/ 368 h 454"/>
                  <a:gd name="T6" fmla="*/ 66 w 546"/>
                  <a:gd name="T7" fmla="*/ 389 h 454"/>
                  <a:gd name="T8" fmla="*/ 86 w 546"/>
                  <a:gd name="T9" fmla="*/ 396 h 454"/>
                  <a:gd name="T10" fmla="*/ 345 w 546"/>
                  <a:gd name="T11" fmla="*/ 394 h 454"/>
                  <a:gd name="T12" fmla="*/ 361 w 546"/>
                  <a:gd name="T13" fmla="*/ 379 h 454"/>
                  <a:gd name="T14" fmla="*/ 363 w 546"/>
                  <a:gd name="T15" fmla="*/ 290 h 454"/>
                  <a:gd name="T16" fmla="*/ 292 w 546"/>
                  <a:gd name="T17" fmla="*/ 373 h 454"/>
                  <a:gd name="T18" fmla="*/ 265 w 546"/>
                  <a:gd name="T19" fmla="*/ 381 h 454"/>
                  <a:gd name="T20" fmla="*/ 249 w 546"/>
                  <a:gd name="T21" fmla="*/ 380 h 454"/>
                  <a:gd name="T22" fmla="*/ 225 w 546"/>
                  <a:gd name="T23" fmla="*/ 367 h 454"/>
                  <a:gd name="T24" fmla="*/ 91 w 546"/>
                  <a:gd name="T25" fmla="*/ 238 h 454"/>
                  <a:gd name="T26" fmla="*/ 84 w 546"/>
                  <a:gd name="T27" fmla="*/ 206 h 454"/>
                  <a:gd name="T28" fmla="*/ 98 w 546"/>
                  <a:gd name="T29" fmla="*/ 176 h 454"/>
                  <a:gd name="T30" fmla="*/ 127 w 546"/>
                  <a:gd name="T31" fmla="*/ 160 h 454"/>
                  <a:gd name="T32" fmla="*/ 159 w 546"/>
                  <a:gd name="T33" fmla="*/ 164 h 454"/>
                  <a:gd name="T34" fmla="*/ 218 w 546"/>
                  <a:gd name="T35" fmla="*/ 215 h 454"/>
                  <a:gd name="T36" fmla="*/ 248 w 546"/>
                  <a:gd name="T37" fmla="*/ 228 h 454"/>
                  <a:gd name="T38" fmla="*/ 279 w 546"/>
                  <a:gd name="T39" fmla="*/ 221 h 454"/>
                  <a:gd name="T40" fmla="*/ 363 w 546"/>
                  <a:gd name="T41" fmla="*/ 125 h 454"/>
                  <a:gd name="T42" fmla="*/ 361 w 546"/>
                  <a:gd name="T43" fmla="*/ 83 h 454"/>
                  <a:gd name="T44" fmla="*/ 345 w 546"/>
                  <a:gd name="T45" fmla="*/ 68 h 454"/>
                  <a:gd name="T46" fmla="*/ 86 w 546"/>
                  <a:gd name="T47" fmla="*/ 66 h 454"/>
                  <a:gd name="T48" fmla="*/ 513 w 546"/>
                  <a:gd name="T49" fmla="*/ 3 h 454"/>
                  <a:gd name="T50" fmla="*/ 539 w 546"/>
                  <a:gd name="T51" fmla="*/ 24 h 454"/>
                  <a:gd name="T52" fmla="*/ 546 w 546"/>
                  <a:gd name="T53" fmla="*/ 56 h 454"/>
                  <a:gd name="T54" fmla="*/ 533 w 546"/>
                  <a:gd name="T55" fmla="*/ 86 h 454"/>
                  <a:gd name="T56" fmla="*/ 421 w 546"/>
                  <a:gd name="T57" fmla="*/ 368 h 454"/>
                  <a:gd name="T58" fmla="*/ 409 w 546"/>
                  <a:gd name="T59" fmla="*/ 411 h 454"/>
                  <a:gd name="T60" fmla="*/ 378 w 546"/>
                  <a:gd name="T61" fmla="*/ 442 h 454"/>
                  <a:gd name="T62" fmla="*/ 335 w 546"/>
                  <a:gd name="T63" fmla="*/ 454 h 454"/>
                  <a:gd name="T64" fmla="*/ 63 w 546"/>
                  <a:gd name="T65" fmla="*/ 451 h 454"/>
                  <a:gd name="T66" fmla="*/ 26 w 546"/>
                  <a:gd name="T67" fmla="*/ 429 h 454"/>
                  <a:gd name="T68" fmla="*/ 3 w 546"/>
                  <a:gd name="T69" fmla="*/ 391 h 454"/>
                  <a:gd name="T70" fmla="*/ 0 w 546"/>
                  <a:gd name="T71" fmla="*/ 95 h 454"/>
                  <a:gd name="T72" fmla="*/ 12 w 546"/>
                  <a:gd name="T73" fmla="*/ 51 h 454"/>
                  <a:gd name="T74" fmla="*/ 43 w 546"/>
                  <a:gd name="T75" fmla="*/ 20 h 454"/>
                  <a:gd name="T76" fmla="*/ 86 w 546"/>
                  <a:gd name="T77" fmla="*/ 8 h 454"/>
                  <a:gd name="T78" fmla="*/ 356 w 546"/>
                  <a:gd name="T79" fmla="*/ 10 h 454"/>
                  <a:gd name="T80" fmla="*/ 391 w 546"/>
                  <a:gd name="T81" fmla="*/ 30 h 454"/>
                  <a:gd name="T82" fmla="*/ 415 w 546"/>
                  <a:gd name="T83" fmla="*/ 63 h 454"/>
                  <a:gd name="T84" fmla="*/ 465 w 546"/>
                  <a:gd name="T85" fmla="*/ 7 h 454"/>
                  <a:gd name="T86" fmla="*/ 497 w 546"/>
                  <a:gd name="T87" fmla="*/ 0 h 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46" h="454">
                    <a:moveTo>
                      <a:pt x="86" y="66"/>
                    </a:moveTo>
                    <a:lnTo>
                      <a:pt x="75" y="68"/>
                    </a:lnTo>
                    <a:lnTo>
                      <a:pt x="66" y="74"/>
                    </a:lnTo>
                    <a:lnTo>
                      <a:pt x="60" y="83"/>
                    </a:lnTo>
                    <a:lnTo>
                      <a:pt x="58" y="95"/>
                    </a:lnTo>
                    <a:lnTo>
                      <a:pt x="58" y="368"/>
                    </a:lnTo>
                    <a:lnTo>
                      <a:pt x="60" y="379"/>
                    </a:lnTo>
                    <a:lnTo>
                      <a:pt x="66" y="389"/>
                    </a:lnTo>
                    <a:lnTo>
                      <a:pt x="75" y="394"/>
                    </a:lnTo>
                    <a:lnTo>
                      <a:pt x="86" y="396"/>
                    </a:lnTo>
                    <a:lnTo>
                      <a:pt x="335" y="396"/>
                    </a:lnTo>
                    <a:lnTo>
                      <a:pt x="345" y="394"/>
                    </a:lnTo>
                    <a:lnTo>
                      <a:pt x="355" y="389"/>
                    </a:lnTo>
                    <a:lnTo>
                      <a:pt x="361" y="379"/>
                    </a:lnTo>
                    <a:lnTo>
                      <a:pt x="363" y="368"/>
                    </a:lnTo>
                    <a:lnTo>
                      <a:pt x="363" y="290"/>
                    </a:lnTo>
                    <a:lnTo>
                      <a:pt x="302" y="363"/>
                    </a:lnTo>
                    <a:lnTo>
                      <a:pt x="292" y="373"/>
                    </a:lnTo>
                    <a:lnTo>
                      <a:pt x="279" y="379"/>
                    </a:lnTo>
                    <a:lnTo>
                      <a:pt x="265" y="381"/>
                    </a:lnTo>
                    <a:lnTo>
                      <a:pt x="262" y="381"/>
                    </a:lnTo>
                    <a:lnTo>
                      <a:pt x="249" y="380"/>
                    </a:lnTo>
                    <a:lnTo>
                      <a:pt x="236" y="375"/>
                    </a:lnTo>
                    <a:lnTo>
                      <a:pt x="225" y="367"/>
                    </a:lnTo>
                    <a:lnTo>
                      <a:pt x="101" y="252"/>
                    </a:lnTo>
                    <a:lnTo>
                      <a:pt x="91" y="238"/>
                    </a:lnTo>
                    <a:lnTo>
                      <a:pt x="85" y="223"/>
                    </a:lnTo>
                    <a:lnTo>
                      <a:pt x="84" y="206"/>
                    </a:lnTo>
                    <a:lnTo>
                      <a:pt x="89" y="191"/>
                    </a:lnTo>
                    <a:lnTo>
                      <a:pt x="98" y="176"/>
                    </a:lnTo>
                    <a:lnTo>
                      <a:pt x="112" y="166"/>
                    </a:lnTo>
                    <a:lnTo>
                      <a:pt x="127" y="160"/>
                    </a:lnTo>
                    <a:lnTo>
                      <a:pt x="143" y="160"/>
                    </a:lnTo>
                    <a:lnTo>
                      <a:pt x="159" y="164"/>
                    </a:lnTo>
                    <a:lnTo>
                      <a:pt x="173" y="174"/>
                    </a:lnTo>
                    <a:lnTo>
                      <a:pt x="218" y="215"/>
                    </a:lnTo>
                    <a:lnTo>
                      <a:pt x="232" y="224"/>
                    </a:lnTo>
                    <a:lnTo>
                      <a:pt x="248" y="228"/>
                    </a:lnTo>
                    <a:lnTo>
                      <a:pt x="264" y="227"/>
                    </a:lnTo>
                    <a:lnTo>
                      <a:pt x="279" y="221"/>
                    </a:lnTo>
                    <a:lnTo>
                      <a:pt x="292" y="210"/>
                    </a:lnTo>
                    <a:lnTo>
                      <a:pt x="363" y="125"/>
                    </a:lnTo>
                    <a:lnTo>
                      <a:pt x="363" y="95"/>
                    </a:lnTo>
                    <a:lnTo>
                      <a:pt x="361" y="83"/>
                    </a:lnTo>
                    <a:lnTo>
                      <a:pt x="355" y="74"/>
                    </a:lnTo>
                    <a:lnTo>
                      <a:pt x="345" y="68"/>
                    </a:lnTo>
                    <a:lnTo>
                      <a:pt x="335" y="66"/>
                    </a:lnTo>
                    <a:lnTo>
                      <a:pt x="86" y="66"/>
                    </a:lnTo>
                    <a:close/>
                    <a:moveTo>
                      <a:pt x="497" y="0"/>
                    </a:moveTo>
                    <a:lnTo>
                      <a:pt x="513" y="3"/>
                    </a:lnTo>
                    <a:lnTo>
                      <a:pt x="527" y="11"/>
                    </a:lnTo>
                    <a:lnTo>
                      <a:pt x="539" y="24"/>
                    </a:lnTo>
                    <a:lnTo>
                      <a:pt x="545" y="40"/>
                    </a:lnTo>
                    <a:lnTo>
                      <a:pt x="546" y="56"/>
                    </a:lnTo>
                    <a:lnTo>
                      <a:pt x="543" y="72"/>
                    </a:lnTo>
                    <a:lnTo>
                      <a:pt x="533" y="86"/>
                    </a:lnTo>
                    <a:lnTo>
                      <a:pt x="421" y="221"/>
                    </a:lnTo>
                    <a:lnTo>
                      <a:pt x="421" y="368"/>
                    </a:lnTo>
                    <a:lnTo>
                      <a:pt x="418" y="391"/>
                    </a:lnTo>
                    <a:lnTo>
                      <a:pt x="409" y="411"/>
                    </a:lnTo>
                    <a:lnTo>
                      <a:pt x="396" y="429"/>
                    </a:lnTo>
                    <a:lnTo>
                      <a:pt x="378" y="442"/>
                    </a:lnTo>
                    <a:lnTo>
                      <a:pt x="357" y="451"/>
                    </a:lnTo>
                    <a:lnTo>
                      <a:pt x="335" y="454"/>
                    </a:lnTo>
                    <a:lnTo>
                      <a:pt x="86" y="454"/>
                    </a:lnTo>
                    <a:lnTo>
                      <a:pt x="63" y="451"/>
                    </a:lnTo>
                    <a:lnTo>
                      <a:pt x="43" y="442"/>
                    </a:lnTo>
                    <a:lnTo>
                      <a:pt x="26" y="429"/>
                    </a:lnTo>
                    <a:lnTo>
                      <a:pt x="12" y="411"/>
                    </a:lnTo>
                    <a:lnTo>
                      <a:pt x="3" y="391"/>
                    </a:lnTo>
                    <a:lnTo>
                      <a:pt x="0" y="368"/>
                    </a:lnTo>
                    <a:lnTo>
                      <a:pt x="0" y="95"/>
                    </a:lnTo>
                    <a:lnTo>
                      <a:pt x="3" y="71"/>
                    </a:lnTo>
                    <a:lnTo>
                      <a:pt x="12" y="51"/>
                    </a:lnTo>
                    <a:lnTo>
                      <a:pt x="26" y="33"/>
                    </a:lnTo>
                    <a:lnTo>
                      <a:pt x="43" y="20"/>
                    </a:lnTo>
                    <a:lnTo>
                      <a:pt x="63" y="11"/>
                    </a:lnTo>
                    <a:lnTo>
                      <a:pt x="86" y="8"/>
                    </a:lnTo>
                    <a:lnTo>
                      <a:pt x="335" y="8"/>
                    </a:lnTo>
                    <a:lnTo>
                      <a:pt x="356" y="10"/>
                    </a:lnTo>
                    <a:lnTo>
                      <a:pt x="375" y="18"/>
                    </a:lnTo>
                    <a:lnTo>
                      <a:pt x="391" y="30"/>
                    </a:lnTo>
                    <a:lnTo>
                      <a:pt x="405" y="45"/>
                    </a:lnTo>
                    <a:lnTo>
                      <a:pt x="415" y="63"/>
                    </a:lnTo>
                    <a:lnTo>
                      <a:pt x="452" y="19"/>
                    </a:lnTo>
                    <a:lnTo>
                      <a:pt x="465" y="7"/>
                    </a:lnTo>
                    <a:lnTo>
                      <a:pt x="480" y="1"/>
                    </a:lnTo>
                    <a:lnTo>
                      <a:pt x="497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39" name="Freeform 18">
                <a:extLst>
                  <a:ext uri="{FF2B5EF4-FFF2-40B4-BE49-F238E27FC236}">
                    <a16:creationId xmlns:a16="http://schemas.microsoft.com/office/drawing/2014/main" id="{F7D1EEDE-0552-4DF5-BA2A-F7EA6844D5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4676" y="4002983"/>
                <a:ext cx="146773" cy="17858"/>
              </a:xfrm>
              <a:custGeom>
                <a:avLst/>
                <a:gdLst>
                  <a:gd name="T0" fmla="*/ 53 w 969"/>
                  <a:gd name="T1" fmla="*/ 0 h 107"/>
                  <a:gd name="T2" fmla="*/ 916 w 969"/>
                  <a:gd name="T3" fmla="*/ 0 h 107"/>
                  <a:gd name="T4" fmla="*/ 933 w 969"/>
                  <a:gd name="T5" fmla="*/ 3 h 107"/>
                  <a:gd name="T6" fmla="*/ 947 w 969"/>
                  <a:gd name="T7" fmla="*/ 11 h 107"/>
                  <a:gd name="T8" fmla="*/ 959 w 969"/>
                  <a:gd name="T9" fmla="*/ 23 h 107"/>
                  <a:gd name="T10" fmla="*/ 966 w 969"/>
                  <a:gd name="T11" fmla="*/ 38 h 107"/>
                  <a:gd name="T12" fmla="*/ 969 w 969"/>
                  <a:gd name="T13" fmla="*/ 55 h 107"/>
                  <a:gd name="T14" fmla="*/ 966 w 969"/>
                  <a:gd name="T15" fmla="*/ 71 h 107"/>
                  <a:gd name="T16" fmla="*/ 959 w 969"/>
                  <a:gd name="T17" fmla="*/ 86 h 107"/>
                  <a:gd name="T18" fmla="*/ 947 w 969"/>
                  <a:gd name="T19" fmla="*/ 98 h 107"/>
                  <a:gd name="T20" fmla="*/ 933 w 969"/>
                  <a:gd name="T21" fmla="*/ 105 h 107"/>
                  <a:gd name="T22" fmla="*/ 916 w 969"/>
                  <a:gd name="T23" fmla="*/ 107 h 107"/>
                  <a:gd name="T24" fmla="*/ 53 w 969"/>
                  <a:gd name="T25" fmla="*/ 107 h 107"/>
                  <a:gd name="T26" fmla="*/ 36 w 969"/>
                  <a:gd name="T27" fmla="*/ 105 h 107"/>
                  <a:gd name="T28" fmla="*/ 22 w 969"/>
                  <a:gd name="T29" fmla="*/ 98 h 107"/>
                  <a:gd name="T30" fmla="*/ 10 w 969"/>
                  <a:gd name="T31" fmla="*/ 86 h 107"/>
                  <a:gd name="T32" fmla="*/ 3 w 969"/>
                  <a:gd name="T33" fmla="*/ 71 h 107"/>
                  <a:gd name="T34" fmla="*/ 0 w 969"/>
                  <a:gd name="T35" fmla="*/ 55 h 107"/>
                  <a:gd name="T36" fmla="*/ 3 w 969"/>
                  <a:gd name="T37" fmla="*/ 38 h 107"/>
                  <a:gd name="T38" fmla="*/ 10 w 969"/>
                  <a:gd name="T39" fmla="*/ 23 h 107"/>
                  <a:gd name="T40" fmla="*/ 22 w 969"/>
                  <a:gd name="T41" fmla="*/ 11 h 107"/>
                  <a:gd name="T42" fmla="*/ 36 w 969"/>
                  <a:gd name="T43" fmla="*/ 3 h 107"/>
                  <a:gd name="T44" fmla="*/ 53 w 969"/>
                  <a:gd name="T45" fmla="*/ 0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69" h="107">
                    <a:moveTo>
                      <a:pt x="53" y="0"/>
                    </a:moveTo>
                    <a:lnTo>
                      <a:pt x="916" y="0"/>
                    </a:lnTo>
                    <a:lnTo>
                      <a:pt x="933" y="3"/>
                    </a:lnTo>
                    <a:lnTo>
                      <a:pt x="947" y="11"/>
                    </a:lnTo>
                    <a:lnTo>
                      <a:pt x="959" y="23"/>
                    </a:lnTo>
                    <a:lnTo>
                      <a:pt x="966" y="38"/>
                    </a:lnTo>
                    <a:lnTo>
                      <a:pt x="969" y="55"/>
                    </a:lnTo>
                    <a:lnTo>
                      <a:pt x="966" y="71"/>
                    </a:lnTo>
                    <a:lnTo>
                      <a:pt x="959" y="86"/>
                    </a:lnTo>
                    <a:lnTo>
                      <a:pt x="947" y="98"/>
                    </a:lnTo>
                    <a:lnTo>
                      <a:pt x="933" y="105"/>
                    </a:lnTo>
                    <a:lnTo>
                      <a:pt x="916" y="107"/>
                    </a:lnTo>
                    <a:lnTo>
                      <a:pt x="53" y="107"/>
                    </a:lnTo>
                    <a:lnTo>
                      <a:pt x="36" y="105"/>
                    </a:lnTo>
                    <a:lnTo>
                      <a:pt x="22" y="98"/>
                    </a:lnTo>
                    <a:lnTo>
                      <a:pt x="10" y="86"/>
                    </a:lnTo>
                    <a:lnTo>
                      <a:pt x="3" y="71"/>
                    </a:lnTo>
                    <a:lnTo>
                      <a:pt x="0" y="55"/>
                    </a:lnTo>
                    <a:lnTo>
                      <a:pt x="3" y="38"/>
                    </a:lnTo>
                    <a:lnTo>
                      <a:pt x="10" y="23"/>
                    </a:lnTo>
                    <a:lnTo>
                      <a:pt x="22" y="11"/>
                    </a:lnTo>
                    <a:lnTo>
                      <a:pt x="36" y="3"/>
                    </a:lnTo>
                    <a:lnTo>
                      <a:pt x="53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00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</p:grpSp>
      </p:grpSp>
      <p:grpSp>
        <p:nvGrpSpPr>
          <p:cNvPr id="145" name="Group 5">
            <a:extLst>
              <a:ext uri="{FF2B5EF4-FFF2-40B4-BE49-F238E27FC236}">
                <a16:creationId xmlns:a16="http://schemas.microsoft.com/office/drawing/2014/main" id="{F496BB8D-E20A-4ACD-A190-172EF80F0377}"/>
              </a:ext>
            </a:extLst>
          </p:cNvPr>
          <p:cNvGrpSpPr>
            <a:grpSpLocks noChangeAspect="1"/>
          </p:cNvGrpSpPr>
          <p:nvPr>
            <p:custDataLst>
              <p:custData r:id="rId6"/>
            </p:custDataLst>
          </p:nvPr>
        </p:nvGrpSpPr>
        <p:grpSpPr bwMode="auto">
          <a:xfrm>
            <a:off x="2297634" y="2467740"/>
            <a:ext cx="260743" cy="387576"/>
            <a:chOff x="852" y="1819"/>
            <a:chExt cx="482" cy="683"/>
          </a:xfrm>
          <a:solidFill>
            <a:schemeClr val="accent2">
              <a:lumMod val="75000"/>
            </a:schemeClr>
          </a:solidFill>
        </p:grpSpPr>
        <p:sp>
          <p:nvSpPr>
            <p:cNvPr id="146" name="Freeform 6">
              <a:extLst>
                <a:ext uri="{FF2B5EF4-FFF2-40B4-BE49-F238E27FC236}">
                  <a16:creationId xmlns:a16="http://schemas.microsoft.com/office/drawing/2014/main" id="{BBEF44C8-5F68-4F56-944A-8E2EEF679BA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" y="2261"/>
              <a:ext cx="258" cy="241"/>
            </a:xfrm>
            <a:custGeom>
              <a:avLst/>
              <a:gdLst>
                <a:gd name="T0" fmla="*/ 379 w 379"/>
                <a:gd name="T1" fmla="*/ 132 h 353"/>
                <a:gd name="T2" fmla="*/ 379 w 379"/>
                <a:gd name="T3" fmla="*/ 301 h 353"/>
                <a:gd name="T4" fmla="*/ 377 w 379"/>
                <a:gd name="T5" fmla="*/ 301 h 353"/>
                <a:gd name="T6" fmla="*/ 366 w 379"/>
                <a:gd name="T7" fmla="*/ 307 h 353"/>
                <a:gd name="T8" fmla="*/ 118 w 379"/>
                <a:gd name="T9" fmla="*/ 353 h 353"/>
                <a:gd name="T10" fmla="*/ 0 w 379"/>
                <a:gd name="T11" fmla="*/ 345 h 353"/>
                <a:gd name="T12" fmla="*/ 332 w 379"/>
                <a:gd name="T13" fmla="*/ 0 h 353"/>
                <a:gd name="T14" fmla="*/ 379 w 379"/>
                <a:gd name="T15" fmla="*/ 132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9" h="353">
                  <a:moveTo>
                    <a:pt x="379" y="132"/>
                  </a:moveTo>
                  <a:cubicBezTo>
                    <a:pt x="379" y="301"/>
                    <a:pt x="379" y="301"/>
                    <a:pt x="379" y="301"/>
                  </a:cubicBezTo>
                  <a:cubicBezTo>
                    <a:pt x="377" y="301"/>
                    <a:pt x="377" y="301"/>
                    <a:pt x="377" y="301"/>
                  </a:cubicBezTo>
                  <a:cubicBezTo>
                    <a:pt x="366" y="307"/>
                    <a:pt x="366" y="307"/>
                    <a:pt x="366" y="307"/>
                  </a:cubicBezTo>
                  <a:cubicBezTo>
                    <a:pt x="361" y="310"/>
                    <a:pt x="272" y="353"/>
                    <a:pt x="118" y="353"/>
                  </a:cubicBezTo>
                  <a:cubicBezTo>
                    <a:pt x="82" y="353"/>
                    <a:pt x="43" y="351"/>
                    <a:pt x="0" y="345"/>
                  </a:cubicBezTo>
                  <a:cubicBezTo>
                    <a:pt x="89" y="282"/>
                    <a:pt x="265" y="145"/>
                    <a:pt x="332" y="0"/>
                  </a:cubicBezTo>
                  <a:cubicBezTo>
                    <a:pt x="361" y="36"/>
                    <a:pt x="379" y="82"/>
                    <a:pt x="379" y="13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7" name="Freeform 7">
              <a:extLst>
                <a:ext uri="{FF2B5EF4-FFF2-40B4-BE49-F238E27FC236}">
                  <a16:creationId xmlns:a16="http://schemas.microsoft.com/office/drawing/2014/main" id="{9F9C6D73-CC67-42C0-8CA6-A0C4975A9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" y="2209"/>
              <a:ext cx="287" cy="281"/>
            </a:xfrm>
            <a:custGeom>
              <a:avLst/>
              <a:gdLst>
                <a:gd name="T0" fmla="*/ 421 w 421"/>
                <a:gd name="T1" fmla="*/ 48 h 413"/>
                <a:gd name="T2" fmla="*/ 287 w 421"/>
                <a:gd name="T3" fmla="*/ 0 h 413"/>
                <a:gd name="T4" fmla="*/ 149 w 421"/>
                <a:gd name="T5" fmla="*/ 0 h 413"/>
                <a:gd name="T6" fmla="*/ 0 w 421"/>
                <a:gd name="T7" fmla="*/ 62 h 413"/>
                <a:gd name="T8" fmla="*/ 9 w 421"/>
                <a:gd name="T9" fmla="*/ 62 h 413"/>
                <a:gd name="T10" fmla="*/ 9 w 421"/>
                <a:gd name="T11" fmla="*/ 401 h 413"/>
                <a:gd name="T12" fmla="*/ 64 w 421"/>
                <a:gd name="T13" fmla="*/ 413 h 413"/>
                <a:gd name="T14" fmla="*/ 421 w 421"/>
                <a:gd name="T15" fmla="*/ 48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1" h="413">
                  <a:moveTo>
                    <a:pt x="421" y="48"/>
                  </a:moveTo>
                  <a:cubicBezTo>
                    <a:pt x="385" y="18"/>
                    <a:pt x="338" y="0"/>
                    <a:pt x="28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91" y="0"/>
                    <a:pt x="38" y="23"/>
                    <a:pt x="0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9" y="401"/>
                    <a:pt x="9" y="401"/>
                    <a:pt x="9" y="401"/>
                  </a:cubicBezTo>
                  <a:cubicBezTo>
                    <a:pt x="28" y="406"/>
                    <a:pt x="46" y="410"/>
                    <a:pt x="64" y="413"/>
                  </a:cubicBezTo>
                  <a:cubicBezTo>
                    <a:pt x="131" y="368"/>
                    <a:pt x="357" y="208"/>
                    <a:pt x="421" y="4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8" name="Freeform 8">
              <a:extLst>
                <a:ext uri="{FF2B5EF4-FFF2-40B4-BE49-F238E27FC236}">
                  <a16:creationId xmlns:a16="http://schemas.microsoft.com/office/drawing/2014/main" id="{0BF0ABB9-0317-4768-B83C-34313ADF7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5" y="2081"/>
              <a:ext cx="218" cy="120"/>
            </a:xfrm>
            <a:custGeom>
              <a:avLst/>
              <a:gdLst>
                <a:gd name="T0" fmla="*/ 0 w 320"/>
                <a:gd name="T1" fmla="*/ 16 h 176"/>
                <a:gd name="T2" fmla="*/ 160 w 320"/>
                <a:gd name="T3" fmla="*/ 176 h 176"/>
                <a:gd name="T4" fmla="*/ 320 w 320"/>
                <a:gd name="T5" fmla="*/ 16 h 176"/>
                <a:gd name="T6" fmla="*/ 319 w 320"/>
                <a:gd name="T7" fmla="*/ 0 h 176"/>
                <a:gd name="T8" fmla="*/ 1 w 320"/>
                <a:gd name="T9" fmla="*/ 0 h 176"/>
                <a:gd name="T10" fmla="*/ 0 w 320"/>
                <a:gd name="T11" fmla="*/ 16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0" h="176">
                  <a:moveTo>
                    <a:pt x="0" y="16"/>
                  </a:moveTo>
                  <a:cubicBezTo>
                    <a:pt x="0" y="104"/>
                    <a:pt x="72" y="176"/>
                    <a:pt x="160" y="176"/>
                  </a:cubicBezTo>
                  <a:cubicBezTo>
                    <a:pt x="249" y="176"/>
                    <a:pt x="320" y="104"/>
                    <a:pt x="320" y="16"/>
                  </a:cubicBezTo>
                  <a:cubicBezTo>
                    <a:pt x="320" y="10"/>
                    <a:pt x="320" y="5"/>
                    <a:pt x="319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5"/>
                    <a:pt x="0" y="10"/>
                    <a:pt x="0" y="1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9" name="Freeform 9">
              <a:extLst>
                <a:ext uri="{FF2B5EF4-FFF2-40B4-BE49-F238E27FC236}">
                  <a16:creationId xmlns:a16="http://schemas.microsoft.com/office/drawing/2014/main" id="{C958D76F-2DBA-41E2-932C-3D26E58778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8" y="1819"/>
              <a:ext cx="252" cy="250"/>
            </a:xfrm>
            <a:custGeom>
              <a:avLst/>
              <a:gdLst>
                <a:gd name="T0" fmla="*/ 368 w 368"/>
                <a:gd name="T1" fmla="*/ 63 h 366"/>
                <a:gd name="T2" fmla="*/ 305 w 368"/>
                <a:gd name="T3" fmla="*/ 0 h 366"/>
                <a:gd name="T4" fmla="*/ 63 w 368"/>
                <a:gd name="T5" fmla="*/ 0 h 366"/>
                <a:gd name="T6" fmla="*/ 0 w 368"/>
                <a:gd name="T7" fmla="*/ 63 h 366"/>
                <a:gd name="T8" fmla="*/ 0 w 368"/>
                <a:gd name="T9" fmla="*/ 366 h 366"/>
                <a:gd name="T10" fmla="*/ 368 w 368"/>
                <a:gd name="T11" fmla="*/ 366 h 366"/>
                <a:gd name="T12" fmla="*/ 368 w 368"/>
                <a:gd name="T13" fmla="*/ 63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8" h="366">
                  <a:moveTo>
                    <a:pt x="368" y="63"/>
                  </a:moveTo>
                  <a:cubicBezTo>
                    <a:pt x="368" y="28"/>
                    <a:pt x="340" y="0"/>
                    <a:pt x="305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28" y="0"/>
                    <a:pt x="0" y="28"/>
                    <a:pt x="0" y="63"/>
                  </a:cubicBezTo>
                  <a:cubicBezTo>
                    <a:pt x="0" y="366"/>
                    <a:pt x="0" y="366"/>
                    <a:pt x="0" y="366"/>
                  </a:cubicBezTo>
                  <a:cubicBezTo>
                    <a:pt x="368" y="366"/>
                    <a:pt x="368" y="366"/>
                    <a:pt x="368" y="366"/>
                  </a:cubicBezTo>
                  <a:lnTo>
                    <a:pt x="368" y="6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50" name="Freeform 10">
              <a:extLst>
                <a:ext uri="{FF2B5EF4-FFF2-40B4-BE49-F238E27FC236}">
                  <a16:creationId xmlns:a16="http://schemas.microsoft.com/office/drawing/2014/main" id="{C9C6400C-F41D-4560-9A7D-4F0593BCA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" y="1908"/>
              <a:ext cx="136" cy="571"/>
            </a:xfrm>
            <a:custGeom>
              <a:avLst/>
              <a:gdLst>
                <a:gd name="T0" fmla="*/ 179 w 200"/>
                <a:gd name="T1" fmla="*/ 444 h 838"/>
                <a:gd name="T2" fmla="*/ 184 w 200"/>
                <a:gd name="T3" fmla="*/ 444 h 838"/>
                <a:gd name="T4" fmla="*/ 184 w 200"/>
                <a:gd name="T5" fmla="*/ 0 h 838"/>
                <a:gd name="T6" fmla="*/ 142 w 200"/>
                <a:gd name="T7" fmla="*/ 0 h 838"/>
                <a:gd name="T8" fmla="*/ 142 w 200"/>
                <a:gd name="T9" fmla="*/ 220 h 838"/>
                <a:gd name="T10" fmla="*/ 137 w 200"/>
                <a:gd name="T11" fmla="*/ 219 h 838"/>
                <a:gd name="T12" fmla="*/ 94 w 200"/>
                <a:gd name="T13" fmla="*/ 262 h 838"/>
                <a:gd name="T14" fmla="*/ 94 w 200"/>
                <a:gd name="T15" fmla="*/ 444 h 838"/>
                <a:gd name="T16" fmla="*/ 46 w 200"/>
                <a:gd name="T17" fmla="*/ 444 h 838"/>
                <a:gd name="T18" fmla="*/ 46 w 200"/>
                <a:gd name="T19" fmla="*/ 513 h 838"/>
                <a:gd name="T20" fmla="*/ 94 w 200"/>
                <a:gd name="T21" fmla="*/ 513 h 838"/>
                <a:gd name="T22" fmla="*/ 94 w 200"/>
                <a:gd name="T23" fmla="*/ 675 h 838"/>
                <a:gd name="T24" fmla="*/ 0 w 200"/>
                <a:gd name="T25" fmla="*/ 675 h 838"/>
                <a:gd name="T26" fmla="*/ 0 w 200"/>
                <a:gd name="T27" fmla="*/ 736 h 838"/>
                <a:gd name="T28" fmla="*/ 94 w 200"/>
                <a:gd name="T29" fmla="*/ 736 h 838"/>
                <a:gd name="T30" fmla="*/ 94 w 200"/>
                <a:gd name="T31" fmla="*/ 838 h 838"/>
                <a:gd name="T32" fmla="*/ 200 w 200"/>
                <a:gd name="T33" fmla="*/ 838 h 838"/>
                <a:gd name="T34" fmla="*/ 200 w 200"/>
                <a:gd name="T35" fmla="*/ 513 h 838"/>
                <a:gd name="T36" fmla="*/ 179 w 200"/>
                <a:gd name="T37" fmla="*/ 513 h 838"/>
                <a:gd name="T38" fmla="*/ 179 w 200"/>
                <a:gd name="T39" fmla="*/ 444 h 8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0" h="838">
                  <a:moveTo>
                    <a:pt x="179" y="444"/>
                  </a:moveTo>
                  <a:cubicBezTo>
                    <a:pt x="184" y="444"/>
                    <a:pt x="184" y="444"/>
                    <a:pt x="184" y="444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42" y="0"/>
                    <a:pt x="142" y="0"/>
                    <a:pt x="142" y="0"/>
                  </a:cubicBezTo>
                  <a:cubicBezTo>
                    <a:pt x="142" y="220"/>
                    <a:pt x="142" y="220"/>
                    <a:pt x="142" y="220"/>
                  </a:cubicBezTo>
                  <a:cubicBezTo>
                    <a:pt x="140" y="220"/>
                    <a:pt x="138" y="219"/>
                    <a:pt x="137" y="219"/>
                  </a:cubicBezTo>
                  <a:cubicBezTo>
                    <a:pt x="113" y="219"/>
                    <a:pt x="94" y="238"/>
                    <a:pt x="94" y="262"/>
                  </a:cubicBezTo>
                  <a:cubicBezTo>
                    <a:pt x="94" y="444"/>
                    <a:pt x="94" y="444"/>
                    <a:pt x="94" y="444"/>
                  </a:cubicBezTo>
                  <a:cubicBezTo>
                    <a:pt x="46" y="444"/>
                    <a:pt x="46" y="444"/>
                    <a:pt x="46" y="444"/>
                  </a:cubicBezTo>
                  <a:cubicBezTo>
                    <a:pt x="46" y="513"/>
                    <a:pt x="46" y="513"/>
                    <a:pt x="46" y="513"/>
                  </a:cubicBezTo>
                  <a:cubicBezTo>
                    <a:pt x="94" y="513"/>
                    <a:pt x="94" y="513"/>
                    <a:pt x="94" y="513"/>
                  </a:cubicBezTo>
                  <a:cubicBezTo>
                    <a:pt x="94" y="675"/>
                    <a:pt x="94" y="675"/>
                    <a:pt x="94" y="675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0" y="736"/>
                    <a:pt x="0" y="736"/>
                    <a:pt x="0" y="736"/>
                  </a:cubicBezTo>
                  <a:cubicBezTo>
                    <a:pt x="94" y="736"/>
                    <a:pt x="94" y="736"/>
                    <a:pt x="94" y="736"/>
                  </a:cubicBezTo>
                  <a:cubicBezTo>
                    <a:pt x="94" y="838"/>
                    <a:pt x="94" y="838"/>
                    <a:pt x="94" y="838"/>
                  </a:cubicBezTo>
                  <a:cubicBezTo>
                    <a:pt x="200" y="838"/>
                    <a:pt x="200" y="838"/>
                    <a:pt x="200" y="838"/>
                  </a:cubicBezTo>
                  <a:cubicBezTo>
                    <a:pt x="200" y="513"/>
                    <a:pt x="200" y="513"/>
                    <a:pt x="200" y="513"/>
                  </a:cubicBezTo>
                  <a:cubicBezTo>
                    <a:pt x="179" y="513"/>
                    <a:pt x="179" y="513"/>
                    <a:pt x="179" y="513"/>
                  </a:cubicBezTo>
                  <a:lnTo>
                    <a:pt x="179" y="4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pic>
        <p:nvPicPr>
          <p:cNvPr id="151" name="Graphic 3" descr="Gauge">
            <a:extLst>
              <a:ext uri="{FF2B5EF4-FFF2-40B4-BE49-F238E27FC236}">
                <a16:creationId xmlns:a16="http://schemas.microsoft.com/office/drawing/2014/main" id="{A78E41AC-451A-45DD-997E-227BC93C3C8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88805" y="1659744"/>
            <a:ext cx="435850" cy="457200"/>
          </a:xfrm>
          <a:prstGeom prst="rect">
            <a:avLst/>
          </a:prstGeom>
        </p:spPr>
      </p:pic>
      <p:sp>
        <p:nvSpPr>
          <p:cNvPr id="152" name="Oval 2">
            <a:extLst>
              <a:ext uri="{FF2B5EF4-FFF2-40B4-BE49-F238E27FC236}">
                <a16:creationId xmlns:a16="http://schemas.microsoft.com/office/drawing/2014/main" id="{4C048617-13BF-482B-B691-66FDBE3357CF}"/>
              </a:ext>
            </a:extLst>
          </p:cNvPr>
          <p:cNvSpPr>
            <a:spLocks noChangeAspect="1"/>
          </p:cNvSpPr>
          <p:nvPr/>
        </p:nvSpPr>
        <p:spPr>
          <a:xfrm>
            <a:off x="4028610" y="4002533"/>
            <a:ext cx="312589" cy="217774"/>
          </a:xfrm>
          <a:custGeom>
            <a:avLst/>
            <a:gdLst/>
            <a:ahLst/>
            <a:cxnLst/>
            <a:rect l="l" t="t" r="r" b="b"/>
            <a:pathLst>
              <a:path w="927299" h="820522">
                <a:moveTo>
                  <a:pt x="707639" y="500090"/>
                </a:moveTo>
                <a:cubicBezTo>
                  <a:pt x="703896" y="500090"/>
                  <a:pt x="700862" y="503124"/>
                  <a:pt x="700862" y="506867"/>
                </a:cubicBezTo>
                <a:lnTo>
                  <a:pt x="700862" y="525409"/>
                </a:lnTo>
                <a:cubicBezTo>
                  <a:pt x="668324" y="528068"/>
                  <a:pt x="647456" y="543000"/>
                  <a:pt x="647297" y="570162"/>
                </a:cubicBezTo>
                <a:cubicBezTo>
                  <a:pt x="646571" y="646406"/>
                  <a:pt x="758032" y="621355"/>
                  <a:pt x="752949" y="658387"/>
                </a:cubicBezTo>
                <a:cubicBezTo>
                  <a:pt x="742239" y="699232"/>
                  <a:pt x="678157" y="686162"/>
                  <a:pt x="676705" y="646951"/>
                </a:cubicBezTo>
                <a:lnTo>
                  <a:pt x="640762" y="650763"/>
                </a:lnTo>
                <a:cubicBezTo>
                  <a:pt x="640762" y="687876"/>
                  <a:pt x="669764" y="708138"/>
                  <a:pt x="700862" y="712369"/>
                </a:cubicBezTo>
                <a:lnTo>
                  <a:pt x="700862" y="728544"/>
                </a:lnTo>
                <a:cubicBezTo>
                  <a:pt x="700862" y="732287"/>
                  <a:pt x="703896" y="735321"/>
                  <a:pt x="707639" y="735321"/>
                </a:cubicBezTo>
                <a:lnTo>
                  <a:pt x="726035" y="735321"/>
                </a:lnTo>
                <a:cubicBezTo>
                  <a:pt x="729778" y="735321"/>
                  <a:pt x="732812" y="732287"/>
                  <a:pt x="732812" y="728544"/>
                </a:cubicBezTo>
                <a:lnTo>
                  <a:pt x="732812" y="711368"/>
                </a:lnTo>
                <a:cubicBezTo>
                  <a:pt x="755254" y="707361"/>
                  <a:pt x="787804" y="695686"/>
                  <a:pt x="787804" y="662199"/>
                </a:cubicBezTo>
                <a:cubicBezTo>
                  <a:pt x="788348" y="575063"/>
                  <a:pt x="685963" y="613185"/>
                  <a:pt x="683240" y="570707"/>
                </a:cubicBezTo>
                <a:cubicBezTo>
                  <a:pt x="683241" y="548378"/>
                  <a:pt x="743146" y="544566"/>
                  <a:pt x="748592" y="580509"/>
                </a:cubicBezTo>
                <a:lnTo>
                  <a:pt x="783447" y="580509"/>
                </a:lnTo>
                <a:cubicBezTo>
                  <a:pt x="785685" y="550253"/>
                  <a:pt x="764295" y="530367"/>
                  <a:pt x="732812" y="525371"/>
                </a:cubicBezTo>
                <a:lnTo>
                  <a:pt x="732812" y="506867"/>
                </a:lnTo>
                <a:cubicBezTo>
                  <a:pt x="732812" y="503124"/>
                  <a:pt x="729778" y="500090"/>
                  <a:pt x="726035" y="500090"/>
                </a:cubicBezTo>
                <a:close/>
                <a:moveTo>
                  <a:pt x="716837" y="399598"/>
                </a:moveTo>
                <a:cubicBezTo>
                  <a:pt x="833072" y="399598"/>
                  <a:pt x="927299" y="493825"/>
                  <a:pt x="927299" y="610060"/>
                </a:cubicBezTo>
                <a:cubicBezTo>
                  <a:pt x="927299" y="726295"/>
                  <a:pt x="833072" y="820522"/>
                  <a:pt x="716837" y="820522"/>
                </a:cubicBezTo>
                <a:cubicBezTo>
                  <a:pt x="600602" y="820522"/>
                  <a:pt x="506375" y="726295"/>
                  <a:pt x="506375" y="610060"/>
                </a:cubicBezTo>
                <a:cubicBezTo>
                  <a:pt x="506375" y="493825"/>
                  <a:pt x="600602" y="399598"/>
                  <a:pt x="716837" y="399598"/>
                </a:cubicBezTo>
                <a:close/>
                <a:moveTo>
                  <a:pt x="203818" y="273072"/>
                </a:moveTo>
                <a:lnTo>
                  <a:pt x="222213" y="273072"/>
                </a:lnTo>
                <a:cubicBezTo>
                  <a:pt x="225956" y="273072"/>
                  <a:pt x="228990" y="276106"/>
                  <a:pt x="228990" y="279849"/>
                </a:cubicBezTo>
                <a:lnTo>
                  <a:pt x="228990" y="298353"/>
                </a:lnTo>
                <a:cubicBezTo>
                  <a:pt x="260474" y="303349"/>
                  <a:pt x="281864" y="323235"/>
                  <a:pt x="279625" y="353491"/>
                </a:cubicBezTo>
                <a:lnTo>
                  <a:pt x="244771" y="353491"/>
                </a:lnTo>
                <a:cubicBezTo>
                  <a:pt x="239325" y="317548"/>
                  <a:pt x="179419" y="321360"/>
                  <a:pt x="179419" y="343688"/>
                </a:cubicBezTo>
                <a:cubicBezTo>
                  <a:pt x="182142" y="386167"/>
                  <a:pt x="284527" y="348045"/>
                  <a:pt x="283982" y="435181"/>
                </a:cubicBezTo>
                <a:cubicBezTo>
                  <a:pt x="283982" y="468668"/>
                  <a:pt x="251433" y="480343"/>
                  <a:pt x="228990" y="484350"/>
                </a:cubicBezTo>
                <a:lnTo>
                  <a:pt x="228990" y="501525"/>
                </a:lnTo>
                <a:cubicBezTo>
                  <a:pt x="228990" y="505268"/>
                  <a:pt x="225956" y="508303"/>
                  <a:pt x="222213" y="508303"/>
                </a:cubicBezTo>
                <a:lnTo>
                  <a:pt x="203818" y="508303"/>
                </a:lnTo>
                <a:cubicBezTo>
                  <a:pt x="200075" y="508303"/>
                  <a:pt x="197041" y="505268"/>
                  <a:pt x="197041" y="501525"/>
                </a:cubicBezTo>
                <a:lnTo>
                  <a:pt x="197041" y="485350"/>
                </a:lnTo>
                <a:cubicBezTo>
                  <a:pt x="165942" y="481119"/>
                  <a:pt x="136940" y="460858"/>
                  <a:pt x="136940" y="423745"/>
                </a:cubicBezTo>
                <a:lnTo>
                  <a:pt x="172883" y="419933"/>
                </a:lnTo>
                <a:cubicBezTo>
                  <a:pt x="174336" y="459144"/>
                  <a:pt x="238417" y="472214"/>
                  <a:pt x="249127" y="431369"/>
                </a:cubicBezTo>
                <a:cubicBezTo>
                  <a:pt x="254211" y="394336"/>
                  <a:pt x="142749" y="419388"/>
                  <a:pt x="143475" y="343144"/>
                </a:cubicBezTo>
                <a:cubicBezTo>
                  <a:pt x="143634" y="315982"/>
                  <a:pt x="164502" y="301050"/>
                  <a:pt x="197041" y="298391"/>
                </a:cubicBezTo>
                <a:lnTo>
                  <a:pt x="197041" y="279849"/>
                </a:lnTo>
                <a:cubicBezTo>
                  <a:pt x="197041" y="276106"/>
                  <a:pt x="200075" y="273072"/>
                  <a:pt x="203818" y="273072"/>
                </a:cubicBezTo>
                <a:close/>
                <a:moveTo>
                  <a:pt x="210462" y="219910"/>
                </a:moveTo>
                <a:cubicBezTo>
                  <a:pt x="116144" y="219910"/>
                  <a:pt x="39685" y="296369"/>
                  <a:pt x="39685" y="390687"/>
                </a:cubicBezTo>
                <a:cubicBezTo>
                  <a:pt x="39685" y="485005"/>
                  <a:pt x="116144" y="561465"/>
                  <a:pt x="210462" y="561465"/>
                </a:cubicBezTo>
                <a:cubicBezTo>
                  <a:pt x="304780" y="561465"/>
                  <a:pt x="381240" y="485005"/>
                  <a:pt x="381240" y="390687"/>
                </a:cubicBezTo>
                <a:cubicBezTo>
                  <a:pt x="381240" y="296369"/>
                  <a:pt x="304780" y="219910"/>
                  <a:pt x="210462" y="219910"/>
                </a:cubicBezTo>
                <a:close/>
                <a:moveTo>
                  <a:pt x="411726" y="100492"/>
                </a:moveTo>
                <a:cubicBezTo>
                  <a:pt x="407983" y="100492"/>
                  <a:pt x="404949" y="103526"/>
                  <a:pt x="404949" y="107269"/>
                </a:cubicBezTo>
                <a:lnTo>
                  <a:pt x="404949" y="125811"/>
                </a:lnTo>
                <a:cubicBezTo>
                  <a:pt x="372411" y="128470"/>
                  <a:pt x="351543" y="143402"/>
                  <a:pt x="351384" y="170564"/>
                </a:cubicBezTo>
                <a:cubicBezTo>
                  <a:pt x="350658" y="246808"/>
                  <a:pt x="462119" y="221757"/>
                  <a:pt x="457036" y="258789"/>
                </a:cubicBezTo>
                <a:cubicBezTo>
                  <a:pt x="446326" y="299634"/>
                  <a:pt x="382244" y="286564"/>
                  <a:pt x="380792" y="247353"/>
                </a:cubicBezTo>
                <a:lnTo>
                  <a:pt x="364168" y="249116"/>
                </a:lnTo>
                <a:cubicBezTo>
                  <a:pt x="387823" y="272580"/>
                  <a:pt x="404647" y="302418"/>
                  <a:pt x="412753" y="335723"/>
                </a:cubicBezTo>
                <a:lnTo>
                  <a:pt x="430122" y="335723"/>
                </a:lnTo>
                <a:cubicBezTo>
                  <a:pt x="433865" y="335723"/>
                  <a:pt x="436899" y="332688"/>
                  <a:pt x="436899" y="328946"/>
                </a:cubicBezTo>
                <a:lnTo>
                  <a:pt x="436899" y="311770"/>
                </a:lnTo>
                <a:cubicBezTo>
                  <a:pt x="459341" y="307763"/>
                  <a:pt x="491891" y="296088"/>
                  <a:pt x="491891" y="262601"/>
                </a:cubicBezTo>
                <a:cubicBezTo>
                  <a:pt x="492435" y="175465"/>
                  <a:pt x="390050" y="213587"/>
                  <a:pt x="387327" y="171109"/>
                </a:cubicBezTo>
                <a:cubicBezTo>
                  <a:pt x="387328" y="148780"/>
                  <a:pt x="447233" y="144968"/>
                  <a:pt x="452679" y="180911"/>
                </a:cubicBezTo>
                <a:lnTo>
                  <a:pt x="487534" y="180911"/>
                </a:lnTo>
                <a:cubicBezTo>
                  <a:pt x="489772" y="150655"/>
                  <a:pt x="468382" y="130769"/>
                  <a:pt x="436899" y="125773"/>
                </a:cubicBezTo>
                <a:lnTo>
                  <a:pt x="436899" y="107269"/>
                </a:lnTo>
                <a:cubicBezTo>
                  <a:pt x="436899" y="103526"/>
                  <a:pt x="433865" y="100492"/>
                  <a:pt x="430122" y="100492"/>
                </a:cubicBezTo>
                <a:close/>
                <a:moveTo>
                  <a:pt x="420924" y="0"/>
                </a:moveTo>
                <a:cubicBezTo>
                  <a:pt x="537159" y="0"/>
                  <a:pt x="631386" y="94227"/>
                  <a:pt x="631386" y="210462"/>
                </a:cubicBezTo>
                <a:cubicBezTo>
                  <a:pt x="631386" y="326697"/>
                  <a:pt x="537159" y="420924"/>
                  <a:pt x="420924" y="420924"/>
                </a:cubicBezTo>
                <a:lnTo>
                  <a:pt x="417906" y="420620"/>
                </a:lnTo>
                <a:cubicBezTo>
                  <a:pt x="404207" y="522743"/>
                  <a:pt x="316491" y="601149"/>
                  <a:pt x="210462" y="601149"/>
                </a:cubicBezTo>
                <a:cubicBezTo>
                  <a:pt x="94227" y="601149"/>
                  <a:pt x="0" y="506922"/>
                  <a:pt x="0" y="390687"/>
                </a:cubicBezTo>
                <a:cubicBezTo>
                  <a:pt x="0" y="274452"/>
                  <a:pt x="94227" y="180225"/>
                  <a:pt x="210462" y="180225"/>
                </a:cubicBezTo>
                <a:lnTo>
                  <a:pt x="213800" y="180561"/>
                </a:lnTo>
                <a:cubicBezTo>
                  <a:pt x="227168" y="78417"/>
                  <a:pt x="314888" y="0"/>
                  <a:pt x="420924" y="0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000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153" name="Graphic 5" descr="Gears">
            <a:extLst>
              <a:ext uri="{FF2B5EF4-FFF2-40B4-BE49-F238E27FC236}">
                <a16:creationId xmlns:a16="http://schemas.microsoft.com/office/drawing/2014/main" id="{C2B941AD-44F7-4731-A2E9-30732ACACA3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646681">
            <a:off x="2232927" y="3653229"/>
            <a:ext cx="350414" cy="367580"/>
          </a:xfrm>
          <a:prstGeom prst="rect">
            <a:avLst/>
          </a:prstGeom>
        </p:spPr>
      </p:pic>
      <p:sp>
        <p:nvSpPr>
          <p:cNvPr id="154" name="Freeform: Shape 153">
            <a:extLst>
              <a:ext uri="{FF2B5EF4-FFF2-40B4-BE49-F238E27FC236}">
                <a16:creationId xmlns:a16="http://schemas.microsoft.com/office/drawing/2014/main" id="{57665D9C-A8F8-483F-86F2-65440EDB8072}"/>
              </a:ext>
            </a:extLst>
          </p:cNvPr>
          <p:cNvSpPr/>
          <p:nvPr/>
        </p:nvSpPr>
        <p:spPr>
          <a:xfrm>
            <a:off x="5533170" y="2779832"/>
            <a:ext cx="284164" cy="539751"/>
          </a:xfrm>
          <a:custGeom>
            <a:avLst/>
            <a:gdLst/>
            <a:ahLst/>
            <a:cxnLst/>
            <a:rect l="0" t="0" r="0" b="0"/>
            <a:pathLst>
              <a:path w="284164" h="539751">
                <a:moveTo>
                  <a:pt x="0" y="0"/>
                </a:moveTo>
                <a:lnTo>
                  <a:pt x="0" y="133350"/>
                </a:lnTo>
                <a:lnTo>
                  <a:pt x="138113" y="269875"/>
                </a:lnTo>
                <a:lnTo>
                  <a:pt x="0" y="412750"/>
                </a:lnTo>
                <a:lnTo>
                  <a:pt x="0" y="539750"/>
                </a:lnTo>
                <a:lnTo>
                  <a:pt x="284163" y="269875"/>
                </a:lnTo>
                <a:close/>
              </a:path>
            </a:pathLst>
          </a:cu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6B2B1FB-4B49-4152-B824-A2981483DB72}"/>
              </a:ext>
            </a:extLst>
          </p:cNvPr>
          <p:cNvGrpSpPr>
            <a:grpSpLocks noChangeAspect="1"/>
          </p:cNvGrpSpPr>
          <p:nvPr/>
        </p:nvGrpSpPr>
        <p:grpSpPr>
          <a:xfrm>
            <a:off x="8784093" y="56364"/>
            <a:ext cx="384048" cy="384048"/>
            <a:chOff x="676331" y="2546807"/>
            <a:chExt cx="951614" cy="951614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0E8285D3-6550-4CA0-97A6-C9CF4579156E}"/>
                </a:ext>
              </a:extLst>
            </p:cNvPr>
            <p:cNvSpPr/>
            <p:nvPr/>
          </p:nvSpPr>
          <p:spPr bwMode="gray">
            <a:xfrm>
              <a:off x="676331" y="2546807"/>
              <a:ext cx="951614" cy="95161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sp>
          <p:nvSpPr>
            <p:cNvPr id="59" name="Oval 93">
              <a:extLst>
                <a:ext uri="{FF2B5EF4-FFF2-40B4-BE49-F238E27FC236}">
                  <a16:creationId xmlns:a16="http://schemas.microsoft.com/office/drawing/2014/main" id="{631FFD87-C937-4057-B313-3FC34F59099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90929" y="2668279"/>
              <a:ext cx="114203" cy="116261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0" name="Freeform 94">
              <a:extLst>
                <a:ext uri="{FF2B5EF4-FFF2-40B4-BE49-F238E27FC236}">
                  <a16:creationId xmlns:a16="http://schemas.microsoft.com/office/drawing/2014/main" id="{4ABFF4D0-07EC-465E-A3A1-C4306D1A09B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2867877"/>
              <a:ext cx="23664" cy="23664"/>
            </a:xfrm>
            <a:custGeom>
              <a:avLst/>
              <a:gdLst>
                <a:gd name="T0" fmla="*/ 10 w 11"/>
                <a:gd name="T1" fmla="*/ 0 h 11"/>
                <a:gd name="T2" fmla="*/ 1 w 11"/>
                <a:gd name="T3" fmla="*/ 0 h 11"/>
                <a:gd name="T4" fmla="*/ 0 w 11"/>
                <a:gd name="T5" fmla="*/ 1 h 11"/>
                <a:gd name="T6" fmla="*/ 0 w 11"/>
                <a:gd name="T7" fmla="*/ 10 h 11"/>
                <a:gd name="T8" fmla="*/ 1 w 11"/>
                <a:gd name="T9" fmla="*/ 11 h 11"/>
                <a:gd name="T10" fmla="*/ 10 w 11"/>
                <a:gd name="T11" fmla="*/ 11 h 11"/>
                <a:gd name="T12" fmla="*/ 11 w 11"/>
                <a:gd name="T13" fmla="*/ 10 h 11"/>
                <a:gd name="T14" fmla="*/ 11 w 11"/>
                <a:gd name="T15" fmla="*/ 1 h 11"/>
                <a:gd name="T16" fmla="*/ 10 w 11"/>
                <a:gd name="T17" fmla="*/ 0 h 11"/>
                <a:gd name="T18" fmla="*/ 9 w 11"/>
                <a:gd name="T19" fmla="*/ 9 h 11"/>
                <a:gd name="T20" fmla="*/ 3 w 11"/>
                <a:gd name="T21" fmla="*/ 9 h 11"/>
                <a:gd name="T22" fmla="*/ 3 w 11"/>
                <a:gd name="T23" fmla="*/ 3 h 11"/>
                <a:gd name="T24" fmla="*/ 9 w 11"/>
                <a:gd name="T25" fmla="*/ 3 h 11"/>
                <a:gd name="T26" fmla="*/ 9 w 11"/>
                <a:gd name="T27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1"/>
                    <a:pt x="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1"/>
                    <a:pt x="11" y="1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0"/>
                    <a:pt x="10" y="0"/>
                  </a:cubicBezTo>
                  <a:close/>
                  <a:moveTo>
                    <a:pt x="9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9" y="3"/>
                    <a:pt x="9" y="3"/>
                    <a:pt x="9" y="3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1" name="Freeform 95">
              <a:extLst>
                <a:ext uri="{FF2B5EF4-FFF2-40B4-BE49-F238E27FC236}">
                  <a16:creationId xmlns:a16="http://schemas.microsoft.com/office/drawing/2014/main" id="{0DE3BD62-DACF-4DB1-AC05-392B89B1D8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2942983"/>
              <a:ext cx="23664" cy="25721"/>
            </a:xfrm>
            <a:custGeom>
              <a:avLst/>
              <a:gdLst>
                <a:gd name="T0" fmla="*/ 10 w 11"/>
                <a:gd name="T1" fmla="*/ 0 h 12"/>
                <a:gd name="T2" fmla="*/ 1 w 11"/>
                <a:gd name="T3" fmla="*/ 0 h 12"/>
                <a:gd name="T4" fmla="*/ 0 w 11"/>
                <a:gd name="T5" fmla="*/ 2 h 12"/>
                <a:gd name="T6" fmla="*/ 0 w 11"/>
                <a:gd name="T7" fmla="*/ 10 h 12"/>
                <a:gd name="T8" fmla="*/ 1 w 11"/>
                <a:gd name="T9" fmla="*/ 12 h 12"/>
                <a:gd name="T10" fmla="*/ 10 w 11"/>
                <a:gd name="T11" fmla="*/ 12 h 12"/>
                <a:gd name="T12" fmla="*/ 11 w 11"/>
                <a:gd name="T13" fmla="*/ 10 h 12"/>
                <a:gd name="T14" fmla="*/ 11 w 11"/>
                <a:gd name="T15" fmla="*/ 2 h 12"/>
                <a:gd name="T16" fmla="*/ 10 w 11"/>
                <a:gd name="T17" fmla="*/ 0 h 12"/>
                <a:gd name="T18" fmla="*/ 9 w 11"/>
                <a:gd name="T19" fmla="*/ 9 h 12"/>
                <a:gd name="T20" fmla="*/ 3 w 11"/>
                <a:gd name="T21" fmla="*/ 9 h 12"/>
                <a:gd name="T22" fmla="*/ 3 w 11"/>
                <a:gd name="T23" fmla="*/ 3 h 12"/>
                <a:gd name="T24" fmla="*/ 9 w 11"/>
                <a:gd name="T25" fmla="*/ 3 h 12"/>
                <a:gd name="T26" fmla="*/ 9 w 11"/>
                <a:gd name="T2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2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1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1" y="11"/>
                    <a:pt x="11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0"/>
                    <a:pt x="10" y="0"/>
                  </a:cubicBezTo>
                  <a:close/>
                  <a:moveTo>
                    <a:pt x="9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9" y="3"/>
                    <a:pt x="9" y="3"/>
                    <a:pt x="9" y="3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2" name="Freeform 96">
              <a:extLst>
                <a:ext uri="{FF2B5EF4-FFF2-40B4-BE49-F238E27FC236}">
                  <a16:creationId xmlns:a16="http://schemas.microsoft.com/office/drawing/2014/main" id="{65F507D0-DCDF-4342-8D0B-D408935A8BC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3021176"/>
              <a:ext cx="23664" cy="23664"/>
            </a:xfrm>
            <a:custGeom>
              <a:avLst/>
              <a:gdLst>
                <a:gd name="T0" fmla="*/ 10 w 11"/>
                <a:gd name="T1" fmla="*/ 0 h 11"/>
                <a:gd name="T2" fmla="*/ 1 w 11"/>
                <a:gd name="T3" fmla="*/ 0 h 11"/>
                <a:gd name="T4" fmla="*/ 0 w 11"/>
                <a:gd name="T5" fmla="*/ 1 h 11"/>
                <a:gd name="T6" fmla="*/ 0 w 11"/>
                <a:gd name="T7" fmla="*/ 10 h 11"/>
                <a:gd name="T8" fmla="*/ 1 w 11"/>
                <a:gd name="T9" fmla="*/ 11 h 11"/>
                <a:gd name="T10" fmla="*/ 10 w 11"/>
                <a:gd name="T11" fmla="*/ 11 h 11"/>
                <a:gd name="T12" fmla="*/ 11 w 11"/>
                <a:gd name="T13" fmla="*/ 10 h 11"/>
                <a:gd name="T14" fmla="*/ 11 w 11"/>
                <a:gd name="T15" fmla="*/ 1 h 11"/>
                <a:gd name="T16" fmla="*/ 10 w 11"/>
                <a:gd name="T17" fmla="*/ 0 h 11"/>
                <a:gd name="T18" fmla="*/ 9 w 11"/>
                <a:gd name="T19" fmla="*/ 8 h 11"/>
                <a:gd name="T20" fmla="*/ 3 w 11"/>
                <a:gd name="T21" fmla="*/ 8 h 11"/>
                <a:gd name="T22" fmla="*/ 3 w 11"/>
                <a:gd name="T23" fmla="*/ 2 h 11"/>
                <a:gd name="T24" fmla="*/ 9 w 11"/>
                <a:gd name="T25" fmla="*/ 2 h 11"/>
                <a:gd name="T26" fmla="*/ 9 w 11"/>
                <a:gd name="T27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11"/>
                    <a:pt x="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0" y="0"/>
                  </a:cubicBezTo>
                  <a:close/>
                  <a:moveTo>
                    <a:pt x="9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9" y="2"/>
                    <a:pt x="9" y="2"/>
                    <a:pt x="9" y="2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3" name="Rectangle 97">
              <a:extLst>
                <a:ext uri="{FF2B5EF4-FFF2-40B4-BE49-F238E27FC236}">
                  <a16:creationId xmlns:a16="http://schemas.microsoft.com/office/drawing/2014/main" id="{1FF16C76-A162-4377-B73F-D128CF6AE28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869935"/>
              <a:ext cx="139924" cy="7202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4" name="Rectangle 98">
              <a:extLst>
                <a:ext uri="{FF2B5EF4-FFF2-40B4-BE49-F238E27FC236}">
                  <a16:creationId xmlns:a16="http://schemas.microsoft.com/office/drawing/2014/main" id="{D097CA7C-D92E-43C4-BF7E-65B516DF2F3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885367"/>
              <a:ext cx="49385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5" name="Rectangle 99">
              <a:extLst>
                <a:ext uri="{FF2B5EF4-FFF2-40B4-BE49-F238E27FC236}">
                  <a16:creationId xmlns:a16="http://schemas.microsoft.com/office/drawing/2014/main" id="{2E01E83E-7732-4EF7-9152-9FD87A86195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948128"/>
              <a:ext cx="139924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7" name="Rectangle 100">
              <a:extLst>
                <a:ext uri="{FF2B5EF4-FFF2-40B4-BE49-F238E27FC236}">
                  <a16:creationId xmlns:a16="http://schemas.microsoft.com/office/drawing/2014/main" id="{90E20891-A0F2-4AE0-B6C4-DB899A84228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960474"/>
              <a:ext cx="49385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8" name="Rectangle 101">
              <a:extLst>
                <a:ext uri="{FF2B5EF4-FFF2-40B4-BE49-F238E27FC236}">
                  <a16:creationId xmlns:a16="http://schemas.microsoft.com/office/drawing/2014/main" id="{895490CA-ACCD-4B77-BEE3-3D68B7DC242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3023234"/>
              <a:ext cx="139924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9" name="Rectangle 102">
              <a:extLst>
                <a:ext uri="{FF2B5EF4-FFF2-40B4-BE49-F238E27FC236}">
                  <a16:creationId xmlns:a16="http://schemas.microsoft.com/office/drawing/2014/main" id="{38B4790F-4522-4079-A77A-2319F4E1A2A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3035580"/>
              <a:ext cx="49385" cy="6173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0" name="Freeform 103">
              <a:extLst>
                <a:ext uri="{FF2B5EF4-FFF2-40B4-BE49-F238E27FC236}">
                  <a16:creationId xmlns:a16="http://schemas.microsoft.com/office/drawing/2014/main" id="{95171AC0-D7D7-4BAF-8BBA-40F119887765}"/>
                </a:ext>
              </a:extLst>
            </p:cNvPr>
            <p:cNvSpPr>
              <a:spLocks/>
            </p:cNvSpPr>
            <p:nvPr/>
          </p:nvSpPr>
          <p:spPr bwMode="gray">
            <a:xfrm>
              <a:off x="1217277" y="2749559"/>
              <a:ext cx="77164" cy="32923"/>
            </a:xfrm>
            <a:custGeom>
              <a:avLst/>
              <a:gdLst>
                <a:gd name="T0" fmla="*/ 5 w 36"/>
                <a:gd name="T1" fmla="*/ 14 h 15"/>
                <a:gd name="T2" fmla="*/ 9 w 36"/>
                <a:gd name="T3" fmla="*/ 12 h 15"/>
                <a:gd name="T4" fmla="*/ 21 w 36"/>
                <a:gd name="T5" fmla="*/ 15 h 15"/>
                <a:gd name="T6" fmla="*/ 36 w 36"/>
                <a:gd name="T7" fmla="*/ 8 h 15"/>
                <a:gd name="T8" fmla="*/ 21 w 36"/>
                <a:gd name="T9" fmla="*/ 0 h 15"/>
                <a:gd name="T10" fmla="*/ 7 w 36"/>
                <a:gd name="T11" fmla="*/ 5 h 15"/>
                <a:gd name="T12" fmla="*/ 5 w 36"/>
                <a:gd name="T13" fmla="*/ 4 h 15"/>
                <a:gd name="T14" fmla="*/ 0 w 36"/>
                <a:gd name="T15" fmla="*/ 9 h 15"/>
                <a:gd name="T16" fmla="*/ 5 w 36"/>
                <a:gd name="T1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5">
                  <a:moveTo>
                    <a:pt x="5" y="14"/>
                  </a:moveTo>
                  <a:cubicBezTo>
                    <a:pt x="7" y="14"/>
                    <a:pt x="8" y="13"/>
                    <a:pt x="9" y="12"/>
                  </a:cubicBezTo>
                  <a:cubicBezTo>
                    <a:pt x="11" y="14"/>
                    <a:pt x="16" y="15"/>
                    <a:pt x="21" y="15"/>
                  </a:cubicBezTo>
                  <a:cubicBezTo>
                    <a:pt x="29" y="15"/>
                    <a:pt x="36" y="12"/>
                    <a:pt x="36" y="8"/>
                  </a:cubicBezTo>
                  <a:cubicBezTo>
                    <a:pt x="36" y="3"/>
                    <a:pt x="29" y="0"/>
                    <a:pt x="21" y="0"/>
                  </a:cubicBezTo>
                  <a:cubicBezTo>
                    <a:pt x="15" y="0"/>
                    <a:pt x="9" y="2"/>
                    <a:pt x="7" y="5"/>
                  </a:cubicBezTo>
                  <a:cubicBezTo>
                    <a:pt x="6" y="5"/>
                    <a:pt x="6" y="4"/>
                    <a:pt x="5" y="4"/>
                  </a:cubicBezTo>
                  <a:cubicBezTo>
                    <a:pt x="2" y="4"/>
                    <a:pt x="0" y="7"/>
                    <a:pt x="0" y="9"/>
                  </a:cubicBezTo>
                  <a:cubicBezTo>
                    <a:pt x="0" y="12"/>
                    <a:pt x="2" y="14"/>
                    <a:pt x="5" y="1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1" name="Freeform 104">
              <a:extLst>
                <a:ext uri="{FF2B5EF4-FFF2-40B4-BE49-F238E27FC236}">
                  <a16:creationId xmlns:a16="http://schemas.microsoft.com/office/drawing/2014/main" id="{46ECF864-AEE4-4273-92FF-4B9EEEB9573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09247" y="2769107"/>
              <a:ext cx="312772" cy="404340"/>
            </a:xfrm>
            <a:custGeom>
              <a:avLst/>
              <a:gdLst>
                <a:gd name="T0" fmla="*/ 141 w 145"/>
                <a:gd name="T1" fmla="*/ 0 h 188"/>
                <a:gd name="T2" fmla="*/ 117 w 145"/>
                <a:gd name="T3" fmla="*/ 0 h 188"/>
                <a:gd name="T4" fmla="*/ 93 w 145"/>
                <a:gd name="T5" fmla="*/ 0 h 188"/>
                <a:gd name="T6" fmla="*/ 90 w 145"/>
                <a:gd name="T7" fmla="*/ 0 h 188"/>
                <a:gd name="T8" fmla="*/ 71 w 145"/>
                <a:gd name="T9" fmla="*/ 10 h 188"/>
                <a:gd name="T10" fmla="*/ 59 w 145"/>
                <a:gd name="T11" fmla="*/ 8 h 188"/>
                <a:gd name="T12" fmla="*/ 55 w 145"/>
                <a:gd name="T13" fmla="*/ 9 h 188"/>
                <a:gd name="T14" fmla="*/ 46 w 145"/>
                <a:gd name="T15" fmla="*/ 0 h 188"/>
                <a:gd name="T16" fmla="*/ 46 w 145"/>
                <a:gd name="T17" fmla="*/ 0 h 188"/>
                <a:gd name="T18" fmla="*/ 35 w 145"/>
                <a:gd name="T19" fmla="*/ 0 h 188"/>
                <a:gd name="T20" fmla="*/ 5 w 145"/>
                <a:gd name="T21" fmla="*/ 0 h 188"/>
                <a:gd name="T22" fmla="*/ 0 w 145"/>
                <a:gd name="T23" fmla="*/ 5 h 188"/>
                <a:gd name="T24" fmla="*/ 0 w 145"/>
                <a:gd name="T25" fmla="*/ 183 h 188"/>
                <a:gd name="T26" fmla="*/ 5 w 145"/>
                <a:gd name="T27" fmla="*/ 188 h 188"/>
                <a:gd name="T28" fmla="*/ 141 w 145"/>
                <a:gd name="T29" fmla="*/ 188 h 188"/>
                <a:gd name="T30" fmla="*/ 145 w 145"/>
                <a:gd name="T31" fmla="*/ 183 h 188"/>
                <a:gd name="T32" fmla="*/ 145 w 145"/>
                <a:gd name="T33" fmla="*/ 5 h 188"/>
                <a:gd name="T34" fmla="*/ 141 w 145"/>
                <a:gd name="T35" fmla="*/ 0 h 188"/>
                <a:gd name="T36" fmla="*/ 130 w 145"/>
                <a:gd name="T37" fmla="*/ 175 h 188"/>
                <a:gd name="T38" fmla="*/ 15 w 145"/>
                <a:gd name="T39" fmla="*/ 175 h 188"/>
                <a:gd name="T40" fmla="*/ 15 w 145"/>
                <a:gd name="T41" fmla="*/ 13 h 188"/>
                <a:gd name="T42" fmla="*/ 52 w 145"/>
                <a:gd name="T43" fmla="*/ 13 h 188"/>
                <a:gd name="T44" fmla="*/ 52 w 145"/>
                <a:gd name="T45" fmla="*/ 17 h 188"/>
                <a:gd name="T46" fmla="*/ 93 w 145"/>
                <a:gd name="T47" fmla="*/ 17 h 188"/>
                <a:gd name="T48" fmla="*/ 93 w 145"/>
                <a:gd name="T49" fmla="*/ 13 h 188"/>
                <a:gd name="T50" fmla="*/ 130 w 145"/>
                <a:gd name="T51" fmla="*/ 13 h 188"/>
                <a:gd name="T52" fmla="*/ 130 w 145"/>
                <a:gd name="T53" fmla="*/ 17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5" h="188">
                  <a:moveTo>
                    <a:pt x="141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89" y="6"/>
                    <a:pt x="81" y="10"/>
                    <a:pt x="71" y="10"/>
                  </a:cubicBezTo>
                  <a:cubicBezTo>
                    <a:pt x="67" y="10"/>
                    <a:pt x="63" y="9"/>
                    <a:pt x="59" y="8"/>
                  </a:cubicBezTo>
                  <a:cubicBezTo>
                    <a:pt x="58" y="9"/>
                    <a:pt x="56" y="9"/>
                    <a:pt x="55" y="9"/>
                  </a:cubicBezTo>
                  <a:cubicBezTo>
                    <a:pt x="50" y="9"/>
                    <a:pt x="46" y="5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86"/>
                    <a:pt x="2" y="188"/>
                    <a:pt x="5" y="188"/>
                  </a:cubicBezTo>
                  <a:cubicBezTo>
                    <a:pt x="141" y="188"/>
                    <a:pt x="141" y="188"/>
                    <a:pt x="141" y="188"/>
                  </a:cubicBezTo>
                  <a:cubicBezTo>
                    <a:pt x="143" y="188"/>
                    <a:pt x="145" y="186"/>
                    <a:pt x="145" y="183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2"/>
                    <a:pt x="143" y="0"/>
                    <a:pt x="141" y="0"/>
                  </a:cubicBezTo>
                  <a:close/>
                  <a:moveTo>
                    <a:pt x="130" y="175"/>
                  </a:moveTo>
                  <a:cubicBezTo>
                    <a:pt x="15" y="175"/>
                    <a:pt x="15" y="175"/>
                    <a:pt x="15" y="175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130" y="13"/>
                    <a:pt x="130" y="13"/>
                    <a:pt x="130" y="13"/>
                  </a:cubicBezTo>
                  <a:lnTo>
                    <a:pt x="130" y="17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2" name="Freeform 105">
              <a:extLst>
                <a:ext uri="{FF2B5EF4-FFF2-40B4-BE49-F238E27FC236}">
                  <a16:creationId xmlns:a16="http://schemas.microsoft.com/office/drawing/2014/main" id="{035BD410-575A-457D-B701-BBC09268F6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89072" y="2790713"/>
              <a:ext cx="235608" cy="601880"/>
            </a:xfrm>
            <a:custGeom>
              <a:avLst/>
              <a:gdLst>
                <a:gd name="T0" fmla="*/ 96 w 109"/>
                <a:gd name="T1" fmla="*/ 7 h 280"/>
                <a:gd name="T2" fmla="*/ 89 w 109"/>
                <a:gd name="T3" fmla="*/ 6 h 280"/>
                <a:gd name="T4" fmla="*/ 75 w 109"/>
                <a:gd name="T5" fmla="*/ 1 h 280"/>
                <a:gd name="T6" fmla="*/ 74 w 109"/>
                <a:gd name="T7" fmla="*/ 1 h 280"/>
                <a:gd name="T8" fmla="*/ 73 w 109"/>
                <a:gd name="T9" fmla="*/ 1 h 280"/>
                <a:gd name="T10" fmla="*/ 58 w 109"/>
                <a:gd name="T11" fmla="*/ 6 h 280"/>
                <a:gd name="T12" fmla="*/ 1 w 109"/>
                <a:gd name="T13" fmla="*/ 43 h 280"/>
                <a:gd name="T14" fmla="*/ 1 w 109"/>
                <a:gd name="T15" fmla="*/ 54 h 280"/>
                <a:gd name="T16" fmla="*/ 38 w 109"/>
                <a:gd name="T17" fmla="*/ 96 h 280"/>
                <a:gd name="T18" fmla="*/ 39 w 109"/>
                <a:gd name="T19" fmla="*/ 111 h 280"/>
                <a:gd name="T20" fmla="*/ 41 w 109"/>
                <a:gd name="T21" fmla="*/ 263 h 280"/>
                <a:gd name="T22" fmla="*/ 43 w 109"/>
                <a:gd name="T23" fmla="*/ 268 h 280"/>
                <a:gd name="T24" fmla="*/ 54 w 109"/>
                <a:gd name="T25" fmla="*/ 280 h 280"/>
                <a:gd name="T26" fmla="*/ 64 w 109"/>
                <a:gd name="T27" fmla="*/ 264 h 280"/>
                <a:gd name="T28" fmla="*/ 68 w 109"/>
                <a:gd name="T29" fmla="*/ 161 h 280"/>
                <a:gd name="T30" fmla="*/ 69 w 109"/>
                <a:gd name="T31" fmla="*/ 148 h 280"/>
                <a:gd name="T32" fmla="*/ 80 w 109"/>
                <a:gd name="T33" fmla="*/ 263 h 280"/>
                <a:gd name="T34" fmla="*/ 82 w 109"/>
                <a:gd name="T35" fmla="*/ 267 h 280"/>
                <a:gd name="T36" fmla="*/ 93 w 109"/>
                <a:gd name="T37" fmla="*/ 280 h 280"/>
                <a:gd name="T38" fmla="*/ 103 w 109"/>
                <a:gd name="T39" fmla="*/ 264 h 280"/>
                <a:gd name="T40" fmla="*/ 109 w 109"/>
                <a:gd name="T41" fmla="*/ 184 h 280"/>
                <a:gd name="T42" fmla="*/ 96 w 109"/>
                <a:gd name="T43" fmla="*/ 173 h 280"/>
                <a:gd name="T44" fmla="*/ 36 w 109"/>
                <a:gd name="T45" fmla="*/ 74 h 280"/>
                <a:gd name="T46" fmla="*/ 36 w 109"/>
                <a:gd name="T47" fmla="*/ 74 h 280"/>
                <a:gd name="T48" fmla="*/ 35 w 109"/>
                <a:gd name="T49" fmla="*/ 81 h 280"/>
                <a:gd name="T50" fmla="*/ 27 w 109"/>
                <a:gd name="T51" fmla="*/ 42 h 280"/>
                <a:gd name="T52" fmla="*/ 37 w 109"/>
                <a:gd name="T53" fmla="*/ 70 h 280"/>
                <a:gd name="T54" fmla="*/ 58 w 109"/>
                <a:gd name="T55" fmla="*/ 6 h 280"/>
                <a:gd name="T56" fmla="*/ 74 w 109"/>
                <a:gd name="T57" fmla="*/ 73 h 280"/>
                <a:gd name="T58" fmla="*/ 70 w 109"/>
                <a:gd name="T59" fmla="*/ 10 h 280"/>
                <a:gd name="T60" fmla="*/ 74 w 109"/>
                <a:gd name="T61" fmla="*/ 3 h 280"/>
                <a:gd name="T62" fmla="*/ 78 w 109"/>
                <a:gd name="T63" fmla="*/ 10 h 280"/>
                <a:gd name="T64" fmla="*/ 74 w 109"/>
                <a:gd name="T65" fmla="*/ 73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9" h="280">
                  <a:moveTo>
                    <a:pt x="96" y="173"/>
                  </a:moveTo>
                  <a:cubicBezTo>
                    <a:pt x="96" y="7"/>
                    <a:pt x="96" y="7"/>
                    <a:pt x="96" y="7"/>
                  </a:cubicBezTo>
                  <a:cubicBezTo>
                    <a:pt x="92" y="6"/>
                    <a:pt x="90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6" y="5"/>
                    <a:pt x="10" y="17"/>
                    <a:pt x="1" y="43"/>
                  </a:cubicBezTo>
                  <a:cubicBezTo>
                    <a:pt x="0" y="44"/>
                    <a:pt x="0" y="45"/>
                    <a:pt x="1" y="46"/>
                  </a:cubicBezTo>
                  <a:cubicBezTo>
                    <a:pt x="0" y="48"/>
                    <a:pt x="0" y="51"/>
                    <a:pt x="1" y="54"/>
                  </a:cubicBezTo>
                  <a:cubicBezTo>
                    <a:pt x="1" y="54"/>
                    <a:pt x="29" y="102"/>
                    <a:pt x="37" y="97"/>
                  </a:cubicBezTo>
                  <a:cubicBezTo>
                    <a:pt x="38" y="97"/>
                    <a:pt x="38" y="96"/>
                    <a:pt x="38" y="96"/>
                  </a:cubicBezTo>
                  <a:cubicBezTo>
                    <a:pt x="39" y="96"/>
                    <a:pt x="39" y="97"/>
                    <a:pt x="39" y="98"/>
                  </a:cubicBezTo>
                  <a:cubicBezTo>
                    <a:pt x="40" y="107"/>
                    <a:pt x="39" y="111"/>
                    <a:pt x="39" y="111"/>
                  </a:cubicBezTo>
                  <a:cubicBezTo>
                    <a:pt x="39" y="111"/>
                    <a:pt x="39" y="111"/>
                    <a:pt x="39" y="111"/>
                  </a:cubicBezTo>
                  <a:cubicBezTo>
                    <a:pt x="37" y="127"/>
                    <a:pt x="34" y="167"/>
                    <a:pt x="41" y="263"/>
                  </a:cubicBezTo>
                  <a:cubicBezTo>
                    <a:pt x="41" y="263"/>
                    <a:pt x="42" y="264"/>
                    <a:pt x="43" y="264"/>
                  </a:cubicBezTo>
                  <a:cubicBezTo>
                    <a:pt x="43" y="268"/>
                    <a:pt x="43" y="268"/>
                    <a:pt x="43" y="268"/>
                  </a:cubicBezTo>
                  <a:cubicBezTo>
                    <a:pt x="43" y="274"/>
                    <a:pt x="48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cubicBezTo>
                    <a:pt x="60" y="280"/>
                    <a:pt x="64" y="274"/>
                    <a:pt x="64" y="268"/>
                  </a:cubicBezTo>
                  <a:cubicBezTo>
                    <a:pt x="64" y="264"/>
                    <a:pt x="64" y="264"/>
                    <a:pt x="64" y="264"/>
                  </a:cubicBezTo>
                  <a:cubicBezTo>
                    <a:pt x="65" y="264"/>
                    <a:pt x="66" y="264"/>
                    <a:pt x="66" y="263"/>
                  </a:cubicBezTo>
                  <a:cubicBezTo>
                    <a:pt x="68" y="228"/>
                    <a:pt x="66" y="190"/>
                    <a:pt x="68" y="161"/>
                  </a:cubicBezTo>
                  <a:cubicBezTo>
                    <a:pt x="68" y="160"/>
                    <a:pt x="68" y="160"/>
                    <a:pt x="68" y="159"/>
                  </a:cubicBezTo>
                  <a:cubicBezTo>
                    <a:pt x="68" y="156"/>
                    <a:pt x="68" y="152"/>
                    <a:pt x="69" y="148"/>
                  </a:cubicBezTo>
                  <a:cubicBezTo>
                    <a:pt x="70" y="139"/>
                    <a:pt x="71" y="131"/>
                    <a:pt x="73" y="126"/>
                  </a:cubicBezTo>
                  <a:cubicBezTo>
                    <a:pt x="82" y="148"/>
                    <a:pt x="78" y="210"/>
                    <a:pt x="80" y="263"/>
                  </a:cubicBezTo>
                  <a:cubicBezTo>
                    <a:pt x="81" y="264"/>
                    <a:pt x="81" y="264"/>
                    <a:pt x="82" y="264"/>
                  </a:cubicBezTo>
                  <a:cubicBezTo>
                    <a:pt x="82" y="267"/>
                    <a:pt x="82" y="267"/>
                    <a:pt x="82" y="267"/>
                  </a:cubicBezTo>
                  <a:cubicBezTo>
                    <a:pt x="82" y="274"/>
                    <a:pt x="87" y="280"/>
                    <a:pt x="93" y="280"/>
                  </a:cubicBezTo>
                  <a:cubicBezTo>
                    <a:pt x="93" y="280"/>
                    <a:pt x="93" y="280"/>
                    <a:pt x="93" y="280"/>
                  </a:cubicBezTo>
                  <a:cubicBezTo>
                    <a:pt x="99" y="280"/>
                    <a:pt x="103" y="274"/>
                    <a:pt x="103" y="267"/>
                  </a:cubicBezTo>
                  <a:cubicBezTo>
                    <a:pt x="103" y="264"/>
                    <a:pt x="103" y="264"/>
                    <a:pt x="103" y="264"/>
                  </a:cubicBezTo>
                  <a:cubicBezTo>
                    <a:pt x="104" y="263"/>
                    <a:pt x="105" y="263"/>
                    <a:pt x="105" y="263"/>
                  </a:cubicBezTo>
                  <a:cubicBezTo>
                    <a:pt x="107" y="231"/>
                    <a:pt x="109" y="205"/>
                    <a:pt x="109" y="18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1" y="184"/>
                    <a:pt x="96" y="179"/>
                    <a:pt x="96" y="173"/>
                  </a:cubicBezTo>
                  <a:close/>
                  <a:moveTo>
                    <a:pt x="37" y="70"/>
                  </a:moveTo>
                  <a:cubicBezTo>
                    <a:pt x="36" y="71"/>
                    <a:pt x="36" y="72"/>
                    <a:pt x="36" y="74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5" y="76"/>
                    <a:pt x="35" y="78"/>
                    <a:pt x="35" y="80"/>
                  </a:cubicBezTo>
                  <a:cubicBezTo>
                    <a:pt x="35" y="80"/>
                    <a:pt x="35" y="80"/>
                    <a:pt x="35" y="81"/>
                  </a:cubicBezTo>
                  <a:cubicBezTo>
                    <a:pt x="30" y="67"/>
                    <a:pt x="21" y="51"/>
                    <a:pt x="19" y="46"/>
                  </a:cubicBezTo>
                  <a:cubicBezTo>
                    <a:pt x="22" y="45"/>
                    <a:pt x="25" y="43"/>
                    <a:pt x="27" y="42"/>
                  </a:cubicBezTo>
                  <a:cubicBezTo>
                    <a:pt x="31" y="40"/>
                    <a:pt x="39" y="36"/>
                    <a:pt x="45" y="33"/>
                  </a:cubicBezTo>
                  <a:lnTo>
                    <a:pt x="37" y="70"/>
                  </a:lnTo>
                  <a:close/>
                  <a:moveTo>
                    <a:pt x="58" y="6"/>
                  </a:move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lose/>
                  <a:moveTo>
                    <a:pt x="74" y="73"/>
                  </a:moveTo>
                  <a:cubicBezTo>
                    <a:pt x="69" y="68"/>
                    <a:pt x="69" y="68"/>
                    <a:pt x="69" y="68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69" y="9"/>
                    <a:pt x="69" y="9"/>
                    <a:pt x="69" y="8"/>
                  </a:cubicBezTo>
                  <a:cubicBezTo>
                    <a:pt x="69" y="5"/>
                    <a:pt x="71" y="3"/>
                    <a:pt x="74" y="3"/>
                  </a:cubicBezTo>
                  <a:cubicBezTo>
                    <a:pt x="76" y="3"/>
                    <a:pt x="78" y="5"/>
                    <a:pt x="78" y="8"/>
                  </a:cubicBezTo>
                  <a:cubicBezTo>
                    <a:pt x="78" y="9"/>
                    <a:pt x="78" y="9"/>
                    <a:pt x="78" y="10"/>
                  </a:cubicBezTo>
                  <a:cubicBezTo>
                    <a:pt x="79" y="68"/>
                    <a:pt x="79" y="68"/>
                    <a:pt x="79" y="68"/>
                  </a:cubicBezTo>
                  <a:lnTo>
                    <a:pt x="74" y="7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2848765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62CD4DC-D7CF-493A-AB67-6E2DDF693D1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3645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62CD4DC-D7CF-493A-AB67-6E2DDF693D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uadroTexto 6">
            <a:extLst>
              <a:ext uri="{FF2B5EF4-FFF2-40B4-BE49-F238E27FC236}">
                <a16:creationId xmlns:a16="http://schemas.microsoft.com/office/drawing/2014/main" id="{601326CF-6541-4C88-8AA3-91DB06F4DAA4}"/>
              </a:ext>
            </a:extLst>
          </p:cNvPr>
          <p:cNvSpPr txBox="1"/>
          <p:nvPr/>
        </p:nvSpPr>
        <p:spPr>
          <a:xfrm>
            <a:off x="619160" y="338006"/>
            <a:ext cx="8315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cap="all" dirty="0">
                <a:solidFill>
                  <a:srgbClr val="092566"/>
                </a:solidFill>
                <a:latin typeface="Helvetica" pitchFamily="2" charset="0"/>
              </a:rPr>
              <a:t>Third party risk management</a:t>
            </a:r>
            <a:endParaRPr lang="es-ES_tradnl" sz="3600" b="1" cap="all" dirty="0">
              <a:solidFill>
                <a:srgbClr val="092566"/>
              </a:solidFill>
              <a:latin typeface="Helvetica" pitchFamily="2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40A54F1-9079-4EBC-94CB-DFBE093E0089}"/>
              </a:ext>
            </a:extLst>
          </p:cNvPr>
          <p:cNvSpPr/>
          <p:nvPr/>
        </p:nvSpPr>
        <p:spPr>
          <a:xfrm>
            <a:off x="5668108" y="1352363"/>
            <a:ext cx="3059069" cy="307776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Bef>
                <a:spcPts val="1800"/>
              </a:spcBef>
              <a:buSzPts val="1200"/>
            </a:pPr>
            <a:r>
              <a:rPr lang="en-US" sz="1400" kern="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mprehensive </a:t>
            </a:r>
            <a:r>
              <a:rPr lang="en-US" sz="1400" b="1" kern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ventory and linkage </a:t>
            </a:r>
            <a:r>
              <a:rPr lang="en-US" sz="1400" kern="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o business services</a:t>
            </a:r>
          </a:p>
          <a:p>
            <a:pPr>
              <a:spcBef>
                <a:spcPts val="1800"/>
              </a:spcBef>
              <a:buSzPts val="1200"/>
            </a:pPr>
            <a:r>
              <a:rPr lang="en-US" sz="1400" kern="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  <a:sym typeface="Arial" panose="020B0604020202020204" pitchFamily="34" charset="0"/>
              </a:rPr>
              <a:t>Understanding of third party </a:t>
            </a:r>
            <a:r>
              <a:rPr lang="en-US" sz="1400" b="1" kern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Arial" panose="020B0604020202020204" pitchFamily="34" charset="0"/>
              </a:rPr>
              <a:t>services and dependencies</a:t>
            </a:r>
          </a:p>
          <a:p>
            <a:pPr>
              <a:spcBef>
                <a:spcPts val="1800"/>
              </a:spcBef>
              <a:buSzPts val="1200"/>
            </a:pPr>
            <a:r>
              <a:rPr lang="en-US" sz="1400" kern="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isk-based </a:t>
            </a:r>
            <a:r>
              <a:rPr lang="en-US" sz="1400" b="1" kern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yber control framework </a:t>
            </a:r>
            <a:r>
              <a:rPr lang="en-US" sz="1400" kern="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(e.g. diligence, continuous monitoring)</a:t>
            </a:r>
          </a:p>
          <a:p>
            <a:pPr>
              <a:spcBef>
                <a:spcPts val="1800"/>
              </a:spcBef>
              <a:buSzPts val="1200"/>
            </a:pP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  <a:sym typeface="Arial" panose="020B0604020202020204" pitchFamily="34" charset="0"/>
              </a:rPr>
              <a:t>Coordinated </a:t>
            </a:r>
            <a:r>
              <a:rPr lang="en-US" sz="14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  <a:sym typeface="Arial" panose="020B0604020202020204" pitchFamily="34" charset="0"/>
              </a:rPr>
              <a:t>cyber preparedness testing </a:t>
            </a: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  <a:sym typeface="Arial" panose="020B0604020202020204" pitchFamily="34" charset="0"/>
              </a:rPr>
              <a:t>with third parties</a:t>
            </a:r>
            <a:endParaRPr lang="en-US" sz="1400" kern="0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Bef>
                <a:spcPts val="1800"/>
              </a:spcBef>
              <a:buSzPts val="1200"/>
            </a:pPr>
            <a:r>
              <a:rPr lang="en-US" sz="1400" b="1" kern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tractual security provisions </a:t>
            </a:r>
            <a:r>
              <a:rPr lang="en-US" sz="1400" kern="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nd recourse mechanisms</a:t>
            </a: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3C6A09E5-682D-4BC7-9212-647A1BDD28CE}"/>
              </a:ext>
            </a:extLst>
          </p:cNvPr>
          <p:cNvSpPr/>
          <p:nvPr/>
        </p:nvSpPr>
        <p:spPr>
          <a:xfrm>
            <a:off x="619160" y="1414630"/>
            <a:ext cx="3286413" cy="2705694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2B69E8A0-37BA-4C0E-90F1-DB74CB54896A}"/>
              </a:ext>
            </a:extLst>
          </p:cNvPr>
          <p:cNvSpPr/>
          <p:nvPr/>
        </p:nvSpPr>
        <p:spPr>
          <a:xfrm>
            <a:off x="1238273" y="2709535"/>
            <a:ext cx="2081576" cy="1330689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CC70B74-5E47-4552-877A-2939E5861E2D}"/>
              </a:ext>
            </a:extLst>
          </p:cNvPr>
          <p:cNvSpPr txBox="1"/>
          <p:nvPr/>
        </p:nvSpPr>
        <p:spPr>
          <a:xfrm>
            <a:off x="1500553" y="2803249"/>
            <a:ext cx="15793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Vendors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04C1D2D2-34BA-47E6-8511-510613FD2C0A}"/>
              </a:ext>
            </a:extLst>
          </p:cNvPr>
          <p:cNvSpPr/>
          <p:nvPr/>
        </p:nvSpPr>
        <p:spPr>
          <a:xfrm>
            <a:off x="1308478" y="3095351"/>
            <a:ext cx="1887851" cy="879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ts val="750"/>
              </a:spcBef>
              <a:buSzPct val="100000"/>
            </a:pP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ata providers </a:t>
            </a:r>
          </a:p>
          <a:p>
            <a:pPr algn="ctr">
              <a:lnSpc>
                <a:spcPct val="90000"/>
              </a:lnSpc>
              <a:spcBef>
                <a:spcPts val="750"/>
              </a:spcBef>
              <a:buSzPct val="100000"/>
            </a:pP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echnology providers</a:t>
            </a:r>
          </a:p>
          <a:p>
            <a:pPr algn="ctr">
              <a:lnSpc>
                <a:spcPct val="90000"/>
              </a:lnSpc>
              <a:spcBef>
                <a:spcPts val="750"/>
              </a:spcBef>
              <a:buSzPct val="100000"/>
            </a:pP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ervice providers</a:t>
            </a:r>
          </a:p>
        </p:txBody>
      </p:sp>
      <p:sp>
        <p:nvSpPr>
          <p:cNvPr id="85" name="Rectangle: Rounded Corners 84">
            <a:extLst>
              <a:ext uri="{FF2B5EF4-FFF2-40B4-BE49-F238E27FC236}">
                <a16:creationId xmlns:a16="http://schemas.microsoft.com/office/drawing/2014/main" id="{780030A9-3D12-4030-AB7F-25F317A389BA}"/>
              </a:ext>
            </a:extLst>
          </p:cNvPr>
          <p:cNvSpPr/>
          <p:nvPr/>
        </p:nvSpPr>
        <p:spPr>
          <a:xfrm>
            <a:off x="619160" y="4430578"/>
            <a:ext cx="182880" cy="18288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5760" rtlCol="0" anchor="ctr"/>
          <a:lstStyle/>
          <a:p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raditional scope</a:t>
            </a:r>
          </a:p>
        </p:txBody>
      </p:sp>
      <p:sp>
        <p:nvSpPr>
          <p:cNvPr id="86" name="Rectangle: Rounded Corners 85">
            <a:extLst>
              <a:ext uri="{FF2B5EF4-FFF2-40B4-BE49-F238E27FC236}">
                <a16:creationId xmlns:a16="http://schemas.microsoft.com/office/drawing/2014/main" id="{D6E39EA6-452E-40B6-8C92-95907E6D4F78}"/>
              </a:ext>
            </a:extLst>
          </p:cNvPr>
          <p:cNvSpPr/>
          <p:nvPr/>
        </p:nvSpPr>
        <p:spPr>
          <a:xfrm>
            <a:off x="2465377" y="4430578"/>
            <a:ext cx="182880" cy="182880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365760" rtlCol="0" anchor="ctr"/>
          <a:lstStyle/>
          <a:p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merging scope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DEE627A2-64F8-4CEE-80A4-928ED48E1868}"/>
              </a:ext>
            </a:extLst>
          </p:cNvPr>
          <p:cNvSpPr/>
          <p:nvPr/>
        </p:nvSpPr>
        <p:spPr>
          <a:xfrm>
            <a:off x="935288" y="1548993"/>
            <a:ext cx="1166097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750"/>
              </a:spcBef>
              <a:buSzPct val="100000"/>
            </a:pPr>
            <a:r>
              <a:rPr lang="en-US" sz="14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ffiliates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AA577E5-5642-4D29-9697-4D8830629595}"/>
              </a:ext>
            </a:extLst>
          </p:cNvPr>
          <p:cNvSpPr/>
          <p:nvPr/>
        </p:nvSpPr>
        <p:spPr>
          <a:xfrm>
            <a:off x="1486328" y="1901299"/>
            <a:ext cx="1552076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750"/>
              </a:spcBef>
              <a:buSzPct val="100000"/>
            </a:pPr>
            <a:r>
              <a:rPr lang="en-US" sz="14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unterparties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6D77F19-3A65-4490-B706-7F8A719D4FC2}"/>
              </a:ext>
            </a:extLst>
          </p:cNvPr>
          <p:cNvSpPr/>
          <p:nvPr/>
        </p:nvSpPr>
        <p:spPr>
          <a:xfrm>
            <a:off x="726502" y="2268176"/>
            <a:ext cx="1552076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750"/>
              </a:spcBef>
              <a:buSzPct val="100000"/>
            </a:pPr>
            <a:r>
              <a:rPr lang="en-US" sz="14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ourth parties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36FFA3FA-EC14-448D-96BA-01A60B6C1A25}"/>
              </a:ext>
            </a:extLst>
          </p:cNvPr>
          <p:cNvSpPr/>
          <p:nvPr/>
        </p:nvSpPr>
        <p:spPr>
          <a:xfrm>
            <a:off x="2615184" y="1548993"/>
            <a:ext cx="1552076" cy="2862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750"/>
              </a:spcBef>
              <a:buSzPct val="100000"/>
            </a:pPr>
            <a:r>
              <a:rPr lang="en-US" sz="14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artners 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C8525785-297B-4E9E-943F-65C3ED82654D}"/>
              </a:ext>
            </a:extLst>
          </p:cNvPr>
          <p:cNvSpPr/>
          <p:nvPr/>
        </p:nvSpPr>
        <p:spPr>
          <a:xfrm>
            <a:off x="2311566" y="2268176"/>
            <a:ext cx="1707284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750"/>
              </a:spcBef>
              <a:buSzPct val="100000"/>
            </a:pPr>
            <a:r>
              <a:rPr lang="en-US" sz="14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ata purchasers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2B658CA-E22A-4DDC-A1E2-841E8E725449}"/>
              </a:ext>
            </a:extLst>
          </p:cNvPr>
          <p:cNvSpPr/>
          <p:nvPr/>
        </p:nvSpPr>
        <p:spPr>
          <a:xfrm>
            <a:off x="4558672" y="2557987"/>
            <a:ext cx="284164" cy="539751"/>
          </a:xfrm>
          <a:custGeom>
            <a:avLst/>
            <a:gdLst/>
            <a:ahLst/>
            <a:cxnLst/>
            <a:rect l="0" t="0" r="0" b="0"/>
            <a:pathLst>
              <a:path w="284164" h="539751">
                <a:moveTo>
                  <a:pt x="0" y="0"/>
                </a:moveTo>
                <a:lnTo>
                  <a:pt x="0" y="133350"/>
                </a:lnTo>
                <a:lnTo>
                  <a:pt x="138113" y="269875"/>
                </a:lnTo>
                <a:lnTo>
                  <a:pt x="0" y="412750"/>
                </a:lnTo>
                <a:lnTo>
                  <a:pt x="0" y="539750"/>
                </a:lnTo>
                <a:lnTo>
                  <a:pt x="284163" y="269875"/>
                </a:lnTo>
                <a:close/>
              </a:path>
            </a:pathLst>
          </a:cu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78EAB94-FC2D-436E-96C2-F8B70947F4EE}"/>
              </a:ext>
            </a:extLst>
          </p:cNvPr>
          <p:cNvGrpSpPr>
            <a:grpSpLocks noChangeAspect="1"/>
          </p:cNvGrpSpPr>
          <p:nvPr/>
        </p:nvGrpSpPr>
        <p:grpSpPr>
          <a:xfrm>
            <a:off x="8784093" y="56364"/>
            <a:ext cx="384048" cy="384048"/>
            <a:chOff x="676331" y="2546807"/>
            <a:chExt cx="951614" cy="951614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2FB17D9-B4A4-4ED1-B6DD-078E141303B0}"/>
                </a:ext>
              </a:extLst>
            </p:cNvPr>
            <p:cNvSpPr/>
            <p:nvPr/>
          </p:nvSpPr>
          <p:spPr bwMode="gray">
            <a:xfrm>
              <a:off x="676331" y="2546807"/>
              <a:ext cx="951614" cy="95161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sp>
          <p:nvSpPr>
            <p:cNvPr id="20" name="Oval 93">
              <a:extLst>
                <a:ext uri="{FF2B5EF4-FFF2-40B4-BE49-F238E27FC236}">
                  <a16:creationId xmlns:a16="http://schemas.microsoft.com/office/drawing/2014/main" id="{36AF0BB9-DBC0-4C4F-B369-B7A6E3E095D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90929" y="2668279"/>
              <a:ext cx="114203" cy="116261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3" name="Freeform 94">
              <a:extLst>
                <a:ext uri="{FF2B5EF4-FFF2-40B4-BE49-F238E27FC236}">
                  <a16:creationId xmlns:a16="http://schemas.microsoft.com/office/drawing/2014/main" id="{DEAE7A42-565D-4997-98E4-4AA5C27B889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2867877"/>
              <a:ext cx="23664" cy="23664"/>
            </a:xfrm>
            <a:custGeom>
              <a:avLst/>
              <a:gdLst>
                <a:gd name="T0" fmla="*/ 10 w 11"/>
                <a:gd name="T1" fmla="*/ 0 h 11"/>
                <a:gd name="T2" fmla="*/ 1 w 11"/>
                <a:gd name="T3" fmla="*/ 0 h 11"/>
                <a:gd name="T4" fmla="*/ 0 w 11"/>
                <a:gd name="T5" fmla="*/ 1 h 11"/>
                <a:gd name="T6" fmla="*/ 0 w 11"/>
                <a:gd name="T7" fmla="*/ 10 h 11"/>
                <a:gd name="T8" fmla="*/ 1 w 11"/>
                <a:gd name="T9" fmla="*/ 11 h 11"/>
                <a:gd name="T10" fmla="*/ 10 w 11"/>
                <a:gd name="T11" fmla="*/ 11 h 11"/>
                <a:gd name="T12" fmla="*/ 11 w 11"/>
                <a:gd name="T13" fmla="*/ 10 h 11"/>
                <a:gd name="T14" fmla="*/ 11 w 11"/>
                <a:gd name="T15" fmla="*/ 1 h 11"/>
                <a:gd name="T16" fmla="*/ 10 w 11"/>
                <a:gd name="T17" fmla="*/ 0 h 11"/>
                <a:gd name="T18" fmla="*/ 9 w 11"/>
                <a:gd name="T19" fmla="*/ 9 h 11"/>
                <a:gd name="T20" fmla="*/ 3 w 11"/>
                <a:gd name="T21" fmla="*/ 9 h 11"/>
                <a:gd name="T22" fmla="*/ 3 w 11"/>
                <a:gd name="T23" fmla="*/ 3 h 11"/>
                <a:gd name="T24" fmla="*/ 9 w 11"/>
                <a:gd name="T25" fmla="*/ 3 h 11"/>
                <a:gd name="T26" fmla="*/ 9 w 11"/>
                <a:gd name="T27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1"/>
                    <a:pt x="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1"/>
                    <a:pt x="11" y="1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0"/>
                    <a:pt x="10" y="0"/>
                  </a:cubicBezTo>
                  <a:close/>
                  <a:moveTo>
                    <a:pt x="9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9" y="3"/>
                    <a:pt x="9" y="3"/>
                    <a:pt x="9" y="3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95">
              <a:extLst>
                <a:ext uri="{FF2B5EF4-FFF2-40B4-BE49-F238E27FC236}">
                  <a16:creationId xmlns:a16="http://schemas.microsoft.com/office/drawing/2014/main" id="{2F987147-B464-48EF-93BB-7ED78E27C5D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2942983"/>
              <a:ext cx="23664" cy="25721"/>
            </a:xfrm>
            <a:custGeom>
              <a:avLst/>
              <a:gdLst>
                <a:gd name="T0" fmla="*/ 10 w 11"/>
                <a:gd name="T1" fmla="*/ 0 h 12"/>
                <a:gd name="T2" fmla="*/ 1 w 11"/>
                <a:gd name="T3" fmla="*/ 0 h 12"/>
                <a:gd name="T4" fmla="*/ 0 w 11"/>
                <a:gd name="T5" fmla="*/ 2 h 12"/>
                <a:gd name="T6" fmla="*/ 0 w 11"/>
                <a:gd name="T7" fmla="*/ 10 h 12"/>
                <a:gd name="T8" fmla="*/ 1 w 11"/>
                <a:gd name="T9" fmla="*/ 12 h 12"/>
                <a:gd name="T10" fmla="*/ 10 w 11"/>
                <a:gd name="T11" fmla="*/ 12 h 12"/>
                <a:gd name="T12" fmla="*/ 11 w 11"/>
                <a:gd name="T13" fmla="*/ 10 h 12"/>
                <a:gd name="T14" fmla="*/ 11 w 11"/>
                <a:gd name="T15" fmla="*/ 2 h 12"/>
                <a:gd name="T16" fmla="*/ 10 w 11"/>
                <a:gd name="T17" fmla="*/ 0 h 12"/>
                <a:gd name="T18" fmla="*/ 9 w 11"/>
                <a:gd name="T19" fmla="*/ 9 h 12"/>
                <a:gd name="T20" fmla="*/ 3 w 11"/>
                <a:gd name="T21" fmla="*/ 9 h 12"/>
                <a:gd name="T22" fmla="*/ 3 w 11"/>
                <a:gd name="T23" fmla="*/ 3 h 12"/>
                <a:gd name="T24" fmla="*/ 9 w 11"/>
                <a:gd name="T25" fmla="*/ 3 h 12"/>
                <a:gd name="T26" fmla="*/ 9 w 11"/>
                <a:gd name="T2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2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1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1" y="11"/>
                    <a:pt x="11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0"/>
                    <a:pt x="10" y="0"/>
                  </a:cubicBezTo>
                  <a:close/>
                  <a:moveTo>
                    <a:pt x="9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9" y="3"/>
                    <a:pt x="9" y="3"/>
                    <a:pt x="9" y="3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96">
              <a:extLst>
                <a:ext uri="{FF2B5EF4-FFF2-40B4-BE49-F238E27FC236}">
                  <a16:creationId xmlns:a16="http://schemas.microsoft.com/office/drawing/2014/main" id="{65A708D3-1A27-42F3-B88E-A20B3CB194D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3021176"/>
              <a:ext cx="23664" cy="23664"/>
            </a:xfrm>
            <a:custGeom>
              <a:avLst/>
              <a:gdLst>
                <a:gd name="T0" fmla="*/ 10 w 11"/>
                <a:gd name="T1" fmla="*/ 0 h 11"/>
                <a:gd name="T2" fmla="*/ 1 w 11"/>
                <a:gd name="T3" fmla="*/ 0 h 11"/>
                <a:gd name="T4" fmla="*/ 0 w 11"/>
                <a:gd name="T5" fmla="*/ 1 h 11"/>
                <a:gd name="T6" fmla="*/ 0 w 11"/>
                <a:gd name="T7" fmla="*/ 10 h 11"/>
                <a:gd name="T8" fmla="*/ 1 w 11"/>
                <a:gd name="T9" fmla="*/ 11 h 11"/>
                <a:gd name="T10" fmla="*/ 10 w 11"/>
                <a:gd name="T11" fmla="*/ 11 h 11"/>
                <a:gd name="T12" fmla="*/ 11 w 11"/>
                <a:gd name="T13" fmla="*/ 10 h 11"/>
                <a:gd name="T14" fmla="*/ 11 w 11"/>
                <a:gd name="T15" fmla="*/ 1 h 11"/>
                <a:gd name="T16" fmla="*/ 10 w 11"/>
                <a:gd name="T17" fmla="*/ 0 h 11"/>
                <a:gd name="T18" fmla="*/ 9 w 11"/>
                <a:gd name="T19" fmla="*/ 8 h 11"/>
                <a:gd name="T20" fmla="*/ 3 w 11"/>
                <a:gd name="T21" fmla="*/ 8 h 11"/>
                <a:gd name="T22" fmla="*/ 3 w 11"/>
                <a:gd name="T23" fmla="*/ 2 h 11"/>
                <a:gd name="T24" fmla="*/ 9 w 11"/>
                <a:gd name="T25" fmla="*/ 2 h 11"/>
                <a:gd name="T26" fmla="*/ 9 w 11"/>
                <a:gd name="T27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11"/>
                    <a:pt x="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0" y="0"/>
                  </a:cubicBezTo>
                  <a:close/>
                  <a:moveTo>
                    <a:pt x="9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9" y="2"/>
                    <a:pt x="9" y="2"/>
                    <a:pt x="9" y="2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Rectangle 97">
              <a:extLst>
                <a:ext uri="{FF2B5EF4-FFF2-40B4-BE49-F238E27FC236}">
                  <a16:creationId xmlns:a16="http://schemas.microsoft.com/office/drawing/2014/main" id="{25EC5F38-5D9F-41F3-B820-AB0653508FC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869935"/>
              <a:ext cx="139924" cy="7202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Rectangle 98">
              <a:extLst>
                <a:ext uri="{FF2B5EF4-FFF2-40B4-BE49-F238E27FC236}">
                  <a16:creationId xmlns:a16="http://schemas.microsoft.com/office/drawing/2014/main" id="{AA4032F0-929A-4587-8D39-0E4D09CDCB9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885367"/>
              <a:ext cx="49385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Rectangle 99">
              <a:extLst>
                <a:ext uri="{FF2B5EF4-FFF2-40B4-BE49-F238E27FC236}">
                  <a16:creationId xmlns:a16="http://schemas.microsoft.com/office/drawing/2014/main" id="{1BE6D22F-A2B9-4A7E-941C-612BDE653F2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948128"/>
              <a:ext cx="139924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Rectangle 100">
              <a:extLst>
                <a:ext uri="{FF2B5EF4-FFF2-40B4-BE49-F238E27FC236}">
                  <a16:creationId xmlns:a16="http://schemas.microsoft.com/office/drawing/2014/main" id="{9690DB7F-9E08-44EB-A744-8E815919DF7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960474"/>
              <a:ext cx="49385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0" name="Rectangle 101">
              <a:extLst>
                <a:ext uri="{FF2B5EF4-FFF2-40B4-BE49-F238E27FC236}">
                  <a16:creationId xmlns:a16="http://schemas.microsoft.com/office/drawing/2014/main" id="{805A7DD9-AFC7-4D66-9E6D-D518CCE73CC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3023234"/>
              <a:ext cx="139924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" name="Rectangle 102">
              <a:extLst>
                <a:ext uri="{FF2B5EF4-FFF2-40B4-BE49-F238E27FC236}">
                  <a16:creationId xmlns:a16="http://schemas.microsoft.com/office/drawing/2014/main" id="{8BDBBA7A-E439-4155-85F7-DE9E5FF9CF1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3035580"/>
              <a:ext cx="49385" cy="6173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2" name="Freeform 103">
              <a:extLst>
                <a:ext uri="{FF2B5EF4-FFF2-40B4-BE49-F238E27FC236}">
                  <a16:creationId xmlns:a16="http://schemas.microsoft.com/office/drawing/2014/main" id="{99351C06-54E1-4094-A5D6-1B2C63383502}"/>
                </a:ext>
              </a:extLst>
            </p:cNvPr>
            <p:cNvSpPr>
              <a:spLocks/>
            </p:cNvSpPr>
            <p:nvPr/>
          </p:nvSpPr>
          <p:spPr bwMode="gray">
            <a:xfrm>
              <a:off x="1217277" y="2749559"/>
              <a:ext cx="77164" cy="32923"/>
            </a:xfrm>
            <a:custGeom>
              <a:avLst/>
              <a:gdLst>
                <a:gd name="T0" fmla="*/ 5 w 36"/>
                <a:gd name="T1" fmla="*/ 14 h 15"/>
                <a:gd name="T2" fmla="*/ 9 w 36"/>
                <a:gd name="T3" fmla="*/ 12 h 15"/>
                <a:gd name="T4" fmla="*/ 21 w 36"/>
                <a:gd name="T5" fmla="*/ 15 h 15"/>
                <a:gd name="T6" fmla="*/ 36 w 36"/>
                <a:gd name="T7" fmla="*/ 8 h 15"/>
                <a:gd name="T8" fmla="*/ 21 w 36"/>
                <a:gd name="T9" fmla="*/ 0 h 15"/>
                <a:gd name="T10" fmla="*/ 7 w 36"/>
                <a:gd name="T11" fmla="*/ 5 h 15"/>
                <a:gd name="T12" fmla="*/ 5 w 36"/>
                <a:gd name="T13" fmla="*/ 4 h 15"/>
                <a:gd name="T14" fmla="*/ 0 w 36"/>
                <a:gd name="T15" fmla="*/ 9 h 15"/>
                <a:gd name="T16" fmla="*/ 5 w 36"/>
                <a:gd name="T1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5">
                  <a:moveTo>
                    <a:pt x="5" y="14"/>
                  </a:moveTo>
                  <a:cubicBezTo>
                    <a:pt x="7" y="14"/>
                    <a:pt x="8" y="13"/>
                    <a:pt x="9" y="12"/>
                  </a:cubicBezTo>
                  <a:cubicBezTo>
                    <a:pt x="11" y="14"/>
                    <a:pt x="16" y="15"/>
                    <a:pt x="21" y="15"/>
                  </a:cubicBezTo>
                  <a:cubicBezTo>
                    <a:pt x="29" y="15"/>
                    <a:pt x="36" y="12"/>
                    <a:pt x="36" y="8"/>
                  </a:cubicBezTo>
                  <a:cubicBezTo>
                    <a:pt x="36" y="3"/>
                    <a:pt x="29" y="0"/>
                    <a:pt x="21" y="0"/>
                  </a:cubicBezTo>
                  <a:cubicBezTo>
                    <a:pt x="15" y="0"/>
                    <a:pt x="9" y="2"/>
                    <a:pt x="7" y="5"/>
                  </a:cubicBezTo>
                  <a:cubicBezTo>
                    <a:pt x="6" y="5"/>
                    <a:pt x="6" y="4"/>
                    <a:pt x="5" y="4"/>
                  </a:cubicBezTo>
                  <a:cubicBezTo>
                    <a:pt x="2" y="4"/>
                    <a:pt x="0" y="7"/>
                    <a:pt x="0" y="9"/>
                  </a:cubicBezTo>
                  <a:cubicBezTo>
                    <a:pt x="0" y="12"/>
                    <a:pt x="2" y="14"/>
                    <a:pt x="5" y="1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104">
              <a:extLst>
                <a:ext uri="{FF2B5EF4-FFF2-40B4-BE49-F238E27FC236}">
                  <a16:creationId xmlns:a16="http://schemas.microsoft.com/office/drawing/2014/main" id="{71953583-2083-4BC7-98FC-0BF5A47A38A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09247" y="2769107"/>
              <a:ext cx="312772" cy="404340"/>
            </a:xfrm>
            <a:custGeom>
              <a:avLst/>
              <a:gdLst>
                <a:gd name="T0" fmla="*/ 141 w 145"/>
                <a:gd name="T1" fmla="*/ 0 h 188"/>
                <a:gd name="T2" fmla="*/ 117 w 145"/>
                <a:gd name="T3" fmla="*/ 0 h 188"/>
                <a:gd name="T4" fmla="*/ 93 w 145"/>
                <a:gd name="T5" fmla="*/ 0 h 188"/>
                <a:gd name="T6" fmla="*/ 90 w 145"/>
                <a:gd name="T7" fmla="*/ 0 h 188"/>
                <a:gd name="T8" fmla="*/ 71 w 145"/>
                <a:gd name="T9" fmla="*/ 10 h 188"/>
                <a:gd name="T10" fmla="*/ 59 w 145"/>
                <a:gd name="T11" fmla="*/ 8 h 188"/>
                <a:gd name="T12" fmla="*/ 55 w 145"/>
                <a:gd name="T13" fmla="*/ 9 h 188"/>
                <a:gd name="T14" fmla="*/ 46 w 145"/>
                <a:gd name="T15" fmla="*/ 0 h 188"/>
                <a:gd name="T16" fmla="*/ 46 w 145"/>
                <a:gd name="T17" fmla="*/ 0 h 188"/>
                <a:gd name="T18" fmla="*/ 35 w 145"/>
                <a:gd name="T19" fmla="*/ 0 h 188"/>
                <a:gd name="T20" fmla="*/ 5 w 145"/>
                <a:gd name="T21" fmla="*/ 0 h 188"/>
                <a:gd name="T22" fmla="*/ 0 w 145"/>
                <a:gd name="T23" fmla="*/ 5 h 188"/>
                <a:gd name="T24" fmla="*/ 0 w 145"/>
                <a:gd name="T25" fmla="*/ 183 h 188"/>
                <a:gd name="T26" fmla="*/ 5 w 145"/>
                <a:gd name="T27" fmla="*/ 188 h 188"/>
                <a:gd name="T28" fmla="*/ 141 w 145"/>
                <a:gd name="T29" fmla="*/ 188 h 188"/>
                <a:gd name="T30" fmla="*/ 145 w 145"/>
                <a:gd name="T31" fmla="*/ 183 h 188"/>
                <a:gd name="T32" fmla="*/ 145 w 145"/>
                <a:gd name="T33" fmla="*/ 5 h 188"/>
                <a:gd name="T34" fmla="*/ 141 w 145"/>
                <a:gd name="T35" fmla="*/ 0 h 188"/>
                <a:gd name="T36" fmla="*/ 130 w 145"/>
                <a:gd name="T37" fmla="*/ 175 h 188"/>
                <a:gd name="T38" fmla="*/ 15 w 145"/>
                <a:gd name="T39" fmla="*/ 175 h 188"/>
                <a:gd name="T40" fmla="*/ 15 w 145"/>
                <a:gd name="T41" fmla="*/ 13 h 188"/>
                <a:gd name="T42" fmla="*/ 52 w 145"/>
                <a:gd name="T43" fmla="*/ 13 h 188"/>
                <a:gd name="T44" fmla="*/ 52 w 145"/>
                <a:gd name="T45" fmla="*/ 17 h 188"/>
                <a:gd name="T46" fmla="*/ 93 w 145"/>
                <a:gd name="T47" fmla="*/ 17 h 188"/>
                <a:gd name="T48" fmla="*/ 93 w 145"/>
                <a:gd name="T49" fmla="*/ 13 h 188"/>
                <a:gd name="T50" fmla="*/ 130 w 145"/>
                <a:gd name="T51" fmla="*/ 13 h 188"/>
                <a:gd name="T52" fmla="*/ 130 w 145"/>
                <a:gd name="T53" fmla="*/ 17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5" h="188">
                  <a:moveTo>
                    <a:pt x="141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89" y="6"/>
                    <a:pt x="81" y="10"/>
                    <a:pt x="71" y="10"/>
                  </a:cubicBezTo>
                  <a:cubicBezTo>
                    <a:pt x="67" y="10"/>
                    <a:pt x="63" y="9"/>
                    <a:pt x="59" y="8"/>
                  </a:cubicBezTo>
                  <a:cubicBezTo>
                    <a:pt x="58" y="9"/>
                    <a:pt x="56" y="9"/>
                    <a:pt x="55" y="9"/>
                  </a:cubicBezTo>
                  <a:cubicBezTo>
                    <a:pt x="50" y="9"/>
                    <a:pt x="46" y="5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86"/>
                    <a:pt x="2" y="188"/>
                    <a:pt x="5" y="188"/>
                  </a:cubicBezTo>
                  <a:cubicBezTo>
                    <a:pt x="141" y="188"/>
                    <a:pt x="141" y="188"/>
                    <a:pt x="141" y="188"/>
                  </a:cubicBezTo>
                  <a:cubicBezTo>
                    <a:pt x="143" y="188"/>
                    <a:pt x="145" y="186"/>
                    <a:pt x="145" y="183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2"/>
                    <a:pt x="143" y="0"/>
                    <a:pt x="141" y="0"/>
                  </a:cubicBezTo>
                  <a:close/>
                  <a:moveTo>
                    <a:pt x="130" y="175"/>
                  </a:moveTo>
                  <a:cubicBezTo>
                    <a:pt x="15" y="175"/>
                    <a:pt x="15" y="175"/>
                    <a:pt x="15" y="175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130" y="13"/>
                    <a:pt x="130" y="13"/>
                    <a:pt x="130" y="13"/>
                  </a:cubicBezTo>
                  <a:lnTo>
                    <a:pt x="130" y="17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105">
              <a:extLst>
                <a:ext uri="{FF2B5EF4-FFF2-40B4-BE49-F238E27FC236}">
                  <a16:creationId xmlns:a16="http://schemas.microsoft.com/office/drawing/2014/main" id="{AD57D79F-F79F-413B-AC23-2A19189035C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89072" y="2790713"/>
              <a:ext cx="235608" cy="601880"/>
            </a:xfrm>
            <a:custGeom>
              <a:avLst/>
              <a:gdLst>
                <a:gd name="T0" fmla="*/ 96 w 109"/>
                <a:gd name="T1" fmla="*/ 7 h 280"/>
                <a:gd name="T2" fmla="*/ 89 w 109"/>
                <a:gd name="T3" fmla="*/ 6 h 280"/>
                <a:gd name="T4" fmla="*/ 75 w 109"/>
                <a:gd name="T5" fmla="*/ 1 h 280"/>
                <a:gd name="T6" fmla="*/ 74 w 109"/>
                <a:gd name="T7" fmla="*/ 1 h 280"/>
                <a:gd name="T8" fmla="*/ 73 w 109"/>
                <a:gd name="T9" fmla="*/ 1 h 280"/>
                <a:gd name="T10" fmla="*/ 58 w 109"/>
                <a:gd name="T11" fmla="*/ 6 h 280"/>
                <a:gd name="T12" fmla="*/ 1 w 109"/>
                <a:gd name="T13" fmla="*/ 43 h 280"/>
                <a:gd name="T14" fmla="*/ 1 w 109"/>
                <a:gd name="T15" fmla="*/ 54 h 280"/>
                <a:gd name="T16" fmla="*/ 38 w 109"/>
                <a:gd name="T17" fmla="*/ 96 h 280"/>
                <a:gd name="T18" fmla="*/ 39 w 109"/>
                <a:gd name="T19" fmla="*/ 111 h 280"/>
                <a:gd name="T20" fmla="*/ 41 w 109"/>
                <a:gd name="T21" fmla="*/ 263 h 280"/>
                <a:gd name="T22" fmla="*/ 43 w 109"/>
                <a:gd name="T23" fmla="*/ 268 h 280"/>
                <a:gd name="T24" fmla="*/ 54 w 109"/>
                <a:gd name="T25" fmla="*/ 280 h 280"/>
                <a:gd name="T26" fmla="*/ 64 w 109"/>
                <a:gd name="T27" fmla="*/ 264 h 280"/>
                <a:gd name="T28" fmla="*/ 68 w 109"/>
                <a:gd name="T29" fmla="*/ 161 h 280"/>
                <a:gd name="T30" fmla="*/ 69 w 109"/>
                <a:gd name="T31" fmla="*/ 148 h 280"/>
                <a:gd name="T32" fmla="*/ 80 w 109"/>
                <a:gd name="T33" fmla="*/ 263 h 280"/>
                <a:gd name="T34" fmla="*/ 82 w 109"/>
                <a:gd name="T35" fmla="*/ 267 h 280"/>
                <a:gd name="T36" fmla="*/ 93 w 109"/>
                <a:gd name="T37" fmla="*/ 280 h 280"/>
                <a:gd name="T38" fmla="*/ 103 w 109"/>
                <a:gd name="T39" fmla="*/ 264 h 280"/>
                <a:gd name="T40" fmla="*/ 109 w 109"/>
                <a:gd name="T41" fmla="*/ 184 h 280"/>
                <a:gd name="T42" fmla="*/ 96 w 109"/>
                <a:gd name="T43" fmla="*/ 173 h 280"/>
                <a:gd name="T44" fmla="*/ 36 w 109"/>
                <a:gd name="T45" fmla="*/ 74 h 280"/>
                <a:gd name="T46" fmla="*/ 36 w 109"/>
                <a:gd name="T47" fmla="*/ 74 h 280"/>
                <a:gd name="T48" fmla="*/ 35 w 109"/>
                <a:gd name="T49" fmla="*/ 81 h 280"/>
                <a:gd name="T50" fmla="*/ 27 w 109"/>
                <a:gd name="T51" fmla="*/ 42 h 280"/>
                <a:gd name="T52" fmla="*/ 37 w 109"/>
                <a:gd name="T53" fmla="*/ 70 h 280"/>
                <a:gd name="T54" fmla="*/ 58 w 109"/>
                <a:gd name="T55" fmla="*/ 6 h 280"/>
                <a:gd name="T56" fmla="*/ 74 w 109"/>
                <a:gd name="T57" fmla="*/ 73 h 280"/>
                <a:gd name="T58" fmla="*/ 70 w 109"/>
                <a:gd name="T59" fmla="*/ 10 h 280"/>
                <a:gd name="T60" fmla="*/ 74 w 109"/>
                <a:gd name="T61" fmla="*/ 3 h 280"/>
                <a:gd name="T62" fmla="*/ 78 w 109"/>
                <a:gd name="T63" fmla="*/ 10 h 280"/>
                <a:gd name="T64" fmla="*/ 74 w 109"/>
                <a:gd name="T65" fmla="*/ 73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9" h="280">
                  <a:moveTo>
                    <a:pt x="96" y="173"/>
                  </a:moveTo>
                  <a:cubicBezTo>
                    <a:pt x="96" y="7"/>
                    <a:pt x="96" y="7"/>
                    <a:pt x="96" y="7"/>
                  </a:cubicBezTo>
                  <a:cubicBezTo>
                    <a:pt x="92" y="6"/>
                    <a:pt x="90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6" y="5"/>
                    <a:pt x="10" y="17"/>
                    <a:pt x="1" y="43"/>
                  </a:cubicBezTo>
                  <a:cubicBezTo>
                    <a:pt x="0" y="44"/>
                    <a:pt x="0" y="45"/>
                    <a:pt x="1" y="46"/>
                  </a:cubicBezTo>
                  <a:cubicBezTo>
                    <a:pt x="0" y="48"/>
                    <a:pt x="0" y="51"/>
                    <a:pt x="1" y="54"/>
                  </a:cubicBezTo>
                  <a:cubicBezTo>
                    <a:pt x="1" y="54"/>
                    <a:pt x="29" y="102"/>
                    <a:pt x="37" y="97"/>
                  </a:cubicBezTo>
                  <a:cubicBezTo>
                    <a:pt x="38" y="97"/>
                    <a:pt x="38" y="96"/>
                    <a:pt x="38" y="96"/>
                  </a:cubicBezTo>
                  <a:cubicBezTo>
                    <a:pt x="39" y="96"/>
                    <a:pt x="39" y="97"/>
                    <a:pt x="39" y="98"/>
                  </a:cubicBezTo>
                  <a:cubicBezTo>
                    <a:pt x="40" y="107"/>
                    <a:pt x="39" y="111"/>
                    <a:pt x="39" y="111"/>
                  </a:cubicBezTo>
                  <a:cubicBezTo>
                    <a:pt x="39" y="111"/>
                    <a:pt x="39" y="111"/>
                    <a:pt x="39" y="111"/>
                  </a:cubicBezTo>
                  <a:cubicBezTo>
                    <a:pt x="37" y="127"/>
                    <a:pt x="34" y="167"/>
                    <a:pt x="41" y="263"/>
                  </a:cubicBezTo>
                  <a:cubicBezTo>
                    <a:pt x="41" y="263"/>
                    <a:pt x="42" y="264"/>
                    <a:pt x="43" y="264"/>
                  </a:cubicBezTo>
                  <a:cubicBezTo>
                    <a:pt x="43" y="268"/>
                    <a:pt x="43" y="268"/>
                    <a:pt x="43" y="268"/>
                  </a:cubicBezTo>
                  <a:cubicBezTo>
                    <a:pt x="43" y="274"/>
                    <a:pt x="48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cubicBezTo>
                    <a:pt x="60" y="280"/>
                    <a:pt x="64" y="274"/>
                    <a:pt x="64" y="268"/>
                  </a:cubicBezTo>
                  <a:cubicBezTo>
                    <a:pt x="64" y="264"/>
                    <a:pt x="64" y="264"/>
                    <a:pt x="64" y="264"/>
                  </a:cubicBezTo>
                  <a:cubicBezTo>
                    <a:pt x="65" y="264"/>
                    <a:pt x="66" y="264"/>
                    <a:pt x="66" y="263"/>
                  </a:cubicBezTo>
                  <a:cubicBezTo>
                    <a:pt x="68" y="228"/>
                    <a:pt x="66" y="190"/>
                    <a:pt x="68" y="161"/>
                  </a:cubicBezTo>
                  <a:cubicBezTo>
                    <a:pt x="68" y="160"/>
                    <a:pt x="68" y="160"/>
                    <a:pt x="68" y="159"/>
                  </a:cubicBezTo>
                  <a:cubicBezTo>
                    <a:pt x="68" y="156"/>
                    <a:pt x="68" y="152"/>
                    <a:pt x="69" y="148"/>
                  </a:cubicBezTo>
                  <a:cubicBezTo>
                    <a:pt x="70" y="139"/>
                    <a:pt x="71" y="131"/>
                    <a:pt x="73" y="126"/>
                  </a:cubicBezTo>
                  <a:cubicBezTo>
                    <a:pt x="82" y="148"/>
                    <a:pt x="78" y="210"/>
                    <a:pt x="80" y="263"/>
                  </a:cubicBezTo>
                  <a:cubicBezTo>
                    <a:pt x="81" y="264"/>
                    <a:pt x="81" y="264"/>
                    <a:pt x="82" y="264"/>
                  </a:cubicBezTo>
                  <a:cubicBezTo>
                    <a:pt x="82" y="267"/>
                    <a:pt x="82" y="267"/>
                    <a:pt x="82" y="267"/>
                  </a:cubicBezTo>
                  <a:cubicBezTo>
                    <a:pt x="82" y="274"/>
                    <a:pt x="87" y="280"/>
                    <a:pt x="93" y="280"/>
                  </a:cubicBezTo>
                  <a:cubicBezTo>
                    <a:pt x="93" y="280"/>
                    <a:pt x="93" y="280"/>
                    <a:pt x="93" y="280"/>
                  </a:cubicBezTo>
                  <a:cubicBezTo>
                    <a:pt x="99" y="280"/>
                    <a:pt x="103" y="274"/>
                    <a:pt x="103" y="267"/>
                  </a:cubicBezTo>
                  <a:cubicBezTo>
                    <a:pt x="103" y="264"/>
                    <a:pt x="103" y="264"/>
                    <a:pt x="103" y="264"/>
                  </a:cubicBezTo>
                  <a:cubicBezTo>
                    <a:pt x="104" y="263"/>
                    <a:pt x="105" y="263"/>
                    <a:pt x="105" y="263"/>
                  </a:cubicBezTo>
                  <a:cubicBezTo>
                    <a:pt x="107" y="231"/>
                    <a:pt x="109" y="205"/>
                    <a:pt x="109" y="18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1" y="184"/>
                    <a:pt x="96" y="179"/>
                    <a:pt x="96" y="173"/>
                  </a:cubicBezTo>
                  <a:close/>
                  <a:moveTo>
                    <a:pt x="37" y="70"/>
                  </a:moveTo>
                  <a:cubicBezTo>
                    <a:pt x="36" y="71"/>
                    <a:pt x="36" y="72"/>
                    <a:pt x="36" y="74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5" y="76"/>
                    <a:pt x="35" y="78"/>
                    <a:pt x="35" y="80"/>
                  </a:cubicBezTo>
                  <a:cubicBezTo>
                    <a:pt x="35" y="80"/>
                    <a:pt x="35" y="80"/>
                    <a:pt x="35" y="81"/>
                  </a:cubicBezTo>
                  <a:cubicBezTo>
                    <a:pt x="30" y="67"/>
                    <a:pt x="21" y="51"/>
                    <a:pt x="19" y="46"/>
                  </a:cubicBezTo>
                  <a:cubicBezTo>
                    <a:pt x="22" y="45"/>
                    <a:pt x="25" y="43"/>
                    <a:pt x="27" y="42"/>
                  </a:cubicBezTo>
                  <a:cubicBezTo>
                    <a:pt x="31" y="40"/>
                    <a:pt x="39" y="36"/>
                    <a:pt x="45" y="33"/>
                  </a:cubicBezTo>
                  <a:lnTo>
                    <a:pt x="37" y="70"/>
                  </a:lnTo>
                  <a:close/>
                  <a:moveTo>
                    <a:pt x="58" y="6"/>
                  </a:move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lose/>
                  <a:moveTo>
                    <a:pt x="74" y="73"/>
                  </a:moveTo>
                  <a:cubicBezTo>
                    <a:pt x="69" y="68"/>
                    <a:pt x="69" y="68"/>
                    <a:pt x="69" y="68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69" y="9"/>
                    <a:pt x="69" y="9"/>
                    <a:pt x="69" y="8"/>
                  </a:cubicBezTo>
                  <a:cubicBezTo>
                    <a:pt x="69" y="5"/>
                    <a:pt x="71" y="3"/>
                    <a:pt x="74" y="3"/>
                  </a:cubicBezTo>
                  <a:cubicBezTo>
                    <a:pt x="76" y="3"/>
                    <a:pt x="78" y="5"/>
                    <a:pt x="78" y="8"/>
                  </a:cubicBezTo>
                  <a:cubicBezTo>
                    <a:pt x="78" y="9"/>
                    <a:pt x="78" y="9"/>
                    <a:pt x="78" y="10"/>
                  </a:cubicBezTo>
                  <a:cubicBezTo>
                    <a:pt x="79" y="68"/>
                    <a:pt x="79" y="68"/>
                    <a:pt x="79" y="68"/>
                  </a:cubicBezTo>
                  <a:lnTo>
                    <a:pt x="74" y="7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2337700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" name="Object 75" hidden="1">
            <a:extLst>
              <a:ext uri="{FF2B5EF4-FFF2-40B4-BE49-F238E27FC236}">
                <a16:creationId xmlns:a16="http://schemas.microsoft.com/office/drawing/2014/main" id="{3CD1B301-2096-47C5-84C9-83F626A791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6535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3" name="think-cell Slide" r:id="rId5" imgW="353" imgH="354" progId="TCLayout.ActiveDocument.1">
                  <p:embed/>
                </p:oleObj>
              </mc:Choice>
              <mc:Fallback>
                <p:oleObj name="think-cell Slide" r:id="rId5" imgW="353" imgH="354" progId="TCLayout.ActiveDocument.1">
                  <p:embed/>
                  <p:pic>
                    <p:nvPicPr>
                      <p:cNvPr id="76" name="Object 75" hidden="1">
                        <a:extLst>
                          <a:ext uri="{FF2B5EF4-FFF2-40B4-BE49-F238E27FC236}">
                            <a16:creationId xmlns:a16="http://schemas.microsoft.com/office/drawing/2014/main" id="{3CD1B301-2096-47C5-84C9-83F626A79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Rounded Rectangle 19">
            <a:extLst>
              <a:ext uri="{FF2B5EF4-FFF2-40B4-BE49-F238E27FC236}">
                <a16:creationId xmlns:a16="http://schemas.microsoft.com/office/drawing/2014/main" id="{D25E1BBF-AFC5-42DA-878F-BADCF5B360D1}"/>
              </a:ext>
            </a:extLst>
          </p:cNvPr>
          <p:cNvSpPr/>
          <p:nvPr/>
        </p:nvSpPr>
        <p:spPr>
          <a:xfrm>
            <a:off x="524920" y="1351098"/>
            <a:ext cx="3749505" cy="601013"/>
          </a:xfrm>
          <a:prstGeom prst="roundRect">
            <a:avLst>
              <a:gd name="adj" fmla="val 9812"/>
            </a:avLst>
          </a:prstGeom>
          <a:solidFill>
            <a:schemeClr val="bg1"/>
          </a:solidFill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US" sz="1013" dirty="0">
              <a:solidFill>
                <a:schemeClr val="tx1"/>
              </a:solidFill>
            </a:endParaRPr>
          </a:p>
        </p:txBody>
      </p:sp>
      <p:sp>
        <p:nvSpPr>
          <p:cNvPr id="132" name="Rounded Rectangle 3">
            <a:extLst>
              <a:ext uri="{FF2B5EF4-FFF2-40B4-BE49-F238E27FC236}">
                <a16:creationId xmlns:a16="http://schemas.microsoft.com/office/drawing/2014/main" id="{AA0776E2-4795-47AD-BAF6-5C402EE2E7F0}"/>
              </a:ext>
            </a:extLst>
          </p:cNvPr>
          <p:cNvSpPr/>
          <p:nvPr/>
        </p:nvSpPr>
        <p:spPr>
          <a:xfrm>
            <a:off x="524920" y="4089087"/>
            <a:ext cx="3753450" cy="601013"/>
          </a:xfrm>
          <a:prstGeom prst="roundRect">
            <a:avLst>
              <a:gd name="adj" fmla="val 9812"/>
            </a:avLst>
          </a:prstGeom>
          <a:solidFill>
            <a:schemeClr val="bg1"/>
          </a:solidFill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US" sz="1013" dirty="0">
              <a:solidFill>
                <a:schemeClr val="tx1"/>
              </a:solidFill>
            </a:endParaRPr>
          </a:p>
        </p:txBody>
      </p:sp>
      <p:sp>
        <p:nvSpPr>
          <p:cNvPr id="135" name="Rounded Rectangle 5">
            <a:extLst>
              <a:ext uri="{FF2B5EF4-FFF2-40B4-BE49-F238E27FC236}">
                <a16:creationId xmlns:a16="http://schemas.microsoft.com/office/drawing/2014/main" id="{AA560CC5-DB72-4DED-A821-DDEE4A5CACFA}"/>
              </a:ext>
            </a:extLst>
          </p:cNvPr>
          <p:cNvSpPr/>
          <p:nvPr/>
        </p:nvSpPr>
        <p:spPr>
          <a:xfrm>
            <a:off x="524920" y="3181860"/>
            <a:ext cx="3753450" cy="601013"/>
          </a:xfrm>
          <a:prstGeom prst="roundRect">
            <a:avLst>
              <a:gd name="adj" fmla="val 9812"/>
            </a:avLst>
          </a:prstGeom>
          <a:solidFill>
            <a:schemeClr val="bg1"/>
          </a:solidFill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US" sz="1013" dirty="0">
              <a:solidFill>
                <a:schemeClr val="tx1"/>
              </a:solidFill>
            </a:endParaRPr>
          </a:p>
        </p:txBody>
      </p:sp>
      <p:sp>
        <p:nvSpPr>
          <p:cNvPr id="129" name="Rounded Rectangle 4">
            <a:extLst>
              <a:ext uri="{FF2B5EF4-FFF2-40B4-BE49-F238E27FC236}">
                <a16:creationId xmlns:a16="http://schemas.microsoft.com/office/drawing/2014/main" id="{42D7D1EA-126A-43E8-BBC1-51E61D011039}"/>
              </a:ext>
            </a:extLst>
          </p:cNvPr>
          <p:cNvSpPr/>
          <p:nvPr/>
        </p:nvSpPr>
        <p:spPr>
          <a:xfrm>
            <a:off x="524920" y="2246111"/>
            <a:ext cx="3749505" cy="600381"/>
          </a:xfrm>
          <a:prstGeom prst="roundRect">
            <a:avLst>
              <a:gd name="adj" fmla="val 9812"/>
            </a:avLst>
          </a:prstGeom>
          <a:solidFill>
            <a:schemeClr val="bg1"/>
          </a:solidFill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US" sz="1013" dirty="0">
              <a:solidFill>
                <a:schemeClr val="tx1"/>
              </a:solidFill>
            </a:endParaRPr>
          </a:p>
        </p:txBody>
      </p:sp>
      <p:sp>
        <p:nvSpPr>
          <p:cNvPr id="21" name="CuadroTexto 6">
            <a:extLst>
              <a:ext uri="{FF2B5EF4-FFF2-40B4-BE49-F238E27FC236}">
                <a16:creationId xmlns:a16="http://schemas.microsoft.com/office/drawing/2014/main" id="{601326CF-6541-4C88-8AA3-91DB06F4DAA4}"/>
              </a:ext>
            </a:extLst>
          </p:cNvPr>
          <p:cNvSpPr txBox="1"/>
          <p:nvPr/>
        </p:nvSpPr>
        <p:spPr>
          <a:xfrm>
            <a:off x="619160" y="338006"/>
            <a:ext cx="79057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cap="all" dirty="0">
                <a:solidFill>
                  <a:srgbClr val="092566"/>
                </a:solidFill>
                <a:latin typeface="Helvetica" pitchFamily="2" charset="0"/>
              </a:rPr>
              <a:t>Response &amp; recovery</a:t>
            </a:r>
            <a:endParaRPr lang="es-ES_tradnl" sz="3600" b="1" cap="all" dirty="0">
              <a:solidFill>
                <a:srgbClr val="092566"/>
              </a:solidFill>
              <a:latin typeface="Helvetica" pitchFamily="2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4CB66AD-B2B3-4A95-8219-4BA900CDDD59}"/>
              </a:ext>
            </a:extLst>
          </p:cNvPr>
          <p:cNvSpPr txBox="1"/>
          <p:nvPr/>
        </p:nvSpPr>
        <p:spPr>
          <a:xfrm>
            <a:off x="5223234" y="1203762"/>
            <a:ext cx="3698030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buSzPct val="100000"/>
            </a:pPr>
            <a:r>
              <a:rPr lang="en-CA" sz="14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ecision-making: </a:t>
            </a:r>
            <a:r>
              <a:rPr lang="en-CA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lear articulation of accountabilities for consequential decisions in response to a cyber incident</a:t>
            </a:r>
            <a:endParaRPr lang="en-CA" sz="1400" b="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Bef>
                <a:spcPts val="1200"/>
              </a:spcBef>
              <a:buSzPct val="100000"/>
            </a:pPr>
            <a:r>
              <a:rPr lang="en-CA" sz="14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ata integrity: </a:t>
            </a:r>
            <a:r>
              <a:rPr lang="en-CA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dentifying the “last known good” and restoring data integrity and customer confidence</a:t>
            </a:r>
            <a:endParaRPr lang="en-CA" sz="1400" b="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>
              <a:spcBef>
                <a:spcPts val="1200"/>
              </a:spcBef>
              <a:buSzPct val="100000"/>
            </a:pPr>
            <a:r>
              <a:rPr lang="en-CA" sz="14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hird-parties: </a:t>
            </a:r>
            <a:r>
              <a:rPr lang="en-CA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tegration of third-parties into the response and recovery framework</a:t>
            </a:r>
          </a:p>
          <a:p>
            <a:pPr>
              <a:spcBef>
                <a:spcPts val="1200"/>
              </a:spcBef>
              <a:buSzPct val="100000"/>
            </a:pPr>
            <a:r>
              <a:rPr lang="en-CA" sz="14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cenarios: </a:t>
            </a:r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orward-looking identification of risk scenarios that could impact critical business services</a:t>
            </a:r>
            <a:r>
              <a:rPr lang="en-CA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</a:p>
          <a:p>
            <a:pPr>
              <a:spcBef>
                <a:spcPts val="1200"/>
              </a:spcBef>
              <a:buSzPct val="100000"/>
            </a:pPr>
            <a:r>
              <a:rPr lang="en-CA" sz="14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reach notification:</a:t>
            </a:r>
            <a:r>
              <a:rPr lang="en-CA" sz="1400" b="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  <a:r>
              <a:rPr lang="en-CA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eeting stringent regulatory reporting requirements and identifying all customers impact</a:t>
            </a:r>
            <a:endParaRPr lang="en-CA" sz="1400" b="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85" name="Group 84">
            <a:extLst>
              <a:ext uri="{FF2B5EF4-FFF2-40B4-BE49-F238E27FC236}">
                <a16:creationId xmlns:a16="http://schemas.microsoft.com/office/drawing/2014/main" id="{5A3A5366-8AF2-411A-9CE2-9B8690261CD2}"/>
              </a:ext>
            </a:extLst>
          </p:cNvPr>
          <p:cNvGrpSpPr/>
          <p:nvPr/>
        </p:nvGrpSpPr>
        <p:grpSpPr>
          <a:xfrm>
            <a:off x="675611" y="4201223"/>
            <a:ext cx="597164" cy="386554"/>
            <a:chOff x="9167384" y="3157552"/>
            <a:chExt cx="846087" cy="547687"/>
          </a:xfrm>
          <a:solidFill>
            <a:schemeClr val="accent2">
              <a:lumMod val="75000"/>
            </a:schemeClr>
          </a:solidFill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B1C6E607-7558-42F2-A7E8-3585ED5AC2EE}"/>
                </a:ext>
              </a:extLst>
            </p:cNvPr>
            <p:cNvSpPr/>
            <p:nvPr/>
          </p:nvSpPr>
          <p:spPr>
            <a:xfrm>
              <a:off x="9674962" y="3327144"/>
              <a:ext cx="114300" cy="114300"/>
            </a:xfrm>
            <a:custGeom>
              <a:avLst/>
              <a:gdLst>
                <a:gd name="connsiteX0" fmla="*/ 114967 w 114300"/>
                <a:gd name="connsiteY0" fmla="*/ 61055 h 114300"/>
                <a:gd name="connsiteX1" fmla="*/ 61055 w 114300"/>
                <a:gd name="connsiteY1" fmla="*/ 114967 h 114300"/>
                <a:gd name="connsiteX2" fmla="*/ 7144 w 114300"/>
                <a:gd name="connsiteY2" fmla="*/ 61055 h 114300"/>
                <a:gd name="connsiteX3" fmla="*/ 61055 w 114300"/>
                <a:gd name="connsiteY3" fmla="*/ 7144 h 114300"/>
                <a:gd name="connsiteX4" fmla="*/ 114967 w 114300"/>
                <a:gd name="connsiteY4" fmla="*/ 610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967" y="61055"/>
                  </a:moveTo>
                  <a:cubicBezTo>
                    <a:pt x="114967" y="90830"/>
                    <a:pt x="90830" y="114967"/>
                    <a:pt x="61055" y="114967"/>
                  </a:cubicBezTo>
                  <a:cubicBezTo>
                    <a:pt x="31281" y="114967"/>
                    <a:pt x="7144" y="90830"/>
                    <a:pt x="7144" y="61055"/>
                  </a:cubicBezTo>
                  <a:cubicBezTo>
                    <a:pt x="7144" y="31281"/>
                    <a:pt x="31281" y="7144"/>
                    <a:pt x="61055" y="7144"/>
                  </a:cubicBezTo>
                  <a:cubicBezTo>
                    <a:pt x="90830" y="7144"/>
                    <a:pt x="114967" y="31281"/>
                    <a:pt x="114967" y="610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D5D3CBD4-0E81-4FF2-A10D-74119461E61B}"/>
                </a:ext>
              </a:extLst>
            </p:cNvPr>
            <p:cNvSpPr/>
            <p:nvPr/>
          </p:nvSpPr>
          <p:spPr>
            <a:xfrm>
              <a:off x="9775346" y="3185888"/>
              <a:ext cx="238125" cy="228600"/>
            </a:xfrm>
            <a:custGeom>
              <a:avLst/>
              <a:gdLst>
                <a:gd name="connsiteX0" fmla="*/ 170955 w 238125"/>
                <a:gd name="connsiteY0" fmla="*/ 7144 h 228600"/>
                <a:gd name="connsiteX1" fmla="*/ 74152 w 238125"/>
                <a:gd name="connsiteY1" fmla="*/ 7144 h 228600"/>
                <a:gd name="connsiteX2" fmla="*/ 7144 w 238125"/>
                <a:gd name="connsiteY2" fmla="*/ 74143 h 228600"/>
                <a:gd name="connsiteX3" fmla="*/ 7144 w 238125"/>
                <a:gd name="connsiteY3" fmla="*/ 110442 h 228600"/>
                <a:gd name="connsiteX4" fmla="*/ 68370 w 238125"/>
                <a:gd name="connsiteY4" fmla="*/ 177165 h 228600"/>
                <a:gd name="connsiteX5" fmla="*/ 53950 w 238125"/>
                <a:gd name="connsiteY5" fmla="*/ 230886 h 228600"/>
                <a:gd name="connsiteX6" fmla="*/ 135465 w 238125"/>
                <a:gd name="connsiteY6" fmla="*/ 177460 h 228600"/>
                <a:gd name="connsiteX7" fmla="*/ 170964 w 238125"/>
                <a:gd name="connsiteY7" fmla="*/ 177460 h 228600"/>
                <a:gd name="connsiteX8" fmla="*/ 237982 w 238125"/>
                <a:gd name="connsiteY8" fmla="*/ 110442 h 228600"/>
                <a:gd name="connsiteX9" fmla="*/ 237982 w 238125"/>
                <a:gd name="connsiteY9" fmla="*/ 74143 h 228600"/>
                <a:gd name="connsiteX10" fmla="*/ 170955 w 238125"/>
                <a:gd name="connsiteY10" fmla="*/ 7144 h 228600"/>
                <a:gd name="connsiteX11" fmla="*/ 72238 w 238125"/>
                <a:gd name="connsiteY11" fmla="*/ 109166 h 228600"/>
                <a:gd name="connsiteX12" fmla="*/ 53788 w 238125"/>
                <a:gd name="connsiteY12" fmla="*/ 90716 h 228600"/>
                <a:gd name="connsiteX13" fmla="*/ 72238 w 238125"/>
                <a:gd name="connsiteY13" fmla="*/ 72266 h 228600"/>
                <a:gd name="connsiteX14" fmla="*/ 90688 w 238125"/>
                <a:gd name="connsiteY14" fmla="*/ 90716 h 228600"/>
                <a:gd name="connsiteX15" fmla="*/ 72238 w 238125"/>
                <a:gd name="connsiteY15" fmla="*/ 109166 h 228600"/>
                <a:gd name="connsiteX16" fmla="*/ 122558 w 238125"/>
                <a:gd name="connsiteY16" fmla="*/ 109166 h 228600"/>
                <a:gd name="connsiteX17" fmla="*/ 104099 w 238125"/>
                <a:gd name="connsiteY17" fmla="*/ 90716 h 228600"/>
                <a:gd name="connsiteX18" fmla="*/ 122558 w 238125"/>
                <a:gd name="connsiteY18" fmla="*/ 72266 h 228600"/>
                <a:gd name="connsiteX19" fmla="*/ 141018 w 238125"/>
                <a:gd name="connsiteY19" fmla="*/ 90716 h 228600"/>
                <a:gd name="connsiteX20" fmla="*/ 122558 w 238125"/>
                <a:gd name="connsiteY20" fmla="*/ 109166 h 228600"/>
                <a:gd name="connsiteX21" fmla="*/ 172879 w 238125"/>
                <a:gd name="connsiteY21" fmla="*/ 109166 h 228600"/>
                <a:gd name="connsiteX22" fmla="*/ 154429 w 238125"/>
                <a:gd name="connsiteY22" fmla="*/ 90716 h 228600"/>
                <a:gd name="connsiteX23" fmla="*/ 172879 w 238125"/>
                <a:gd name="connsiteY23" fmla="*/ 72266 h 228600"/>
                <a:gd name="connsiteX24" fmla="*/ 191329 w 238125"/>
                <a:gd name="connsiteY24" fmla="*/ 90716 h 228600"/>
                <a:gd name="connsiteX25" fmla="*/ 172879 w 238125"/>
                <a:gd name="connsiteY25" fmla="*/ 109166 h 22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38125" h="228600">
                  <a:moveTo>
                    <a:pt x="170955" y="7144"/>
                  </a:moveTo>
                  <a:lnTo>
                    <a:pt x="74152" y="7144"/>
                  </a:lnTo>
                  <a:cubicBezTo>
                    <a:pt x="37138" y="7144"/>
                    <a:pt x="7144" y="37147"/>
                    <a:pt x="7144" y="74143"/>
                  </a:cubicBezTo>
                  <a:lnTo>
                    <a:pt x="7144" y="110442"/>
                  </a:lnTo>
                  <a:cubicBezTo>
                    <a:pt x="7144" y="145504"/>
                    <a:pt x="34061" y="174231"/>
                    <a:pt x="68370" y="177165"/>
                  </a:cubicBezTo>
                  <a:lnTo>
                    <a:pt x="53950" y="230886"/>
                  </a:lnTo>
                  <a:lnTo>
                    <a:pt x="135465" y="177460"/>
                  </a:lnTo>
                  <a:lnTo>
                    <a:pt x="170964" y="177460"/>
                  </a:lnTo>
                  <a:cubicBezTo>
                    <a:pt x="207978" y="177460"/>
                    <a:pt x="237982" y="147457"/>
                    <a:pt x="237982" y="110442"/>
                  </a:cubicBezTo>
                  <a:lnTo>
                    <a:pt x="237982" y="74143"/>
                  </a:lnTo>
                  <a:cubicBezTo>
                    <a:pt x="237973" y="37147"/>
                    <a:pt x="207969" y="7144"/>
                    <a:pt x="170955" y="7144"/>
                  </a:cubicBezTo>
                  <a:close/>
                  <a:moveTo>
                    <a:pt x="72238" y="109166"/>
                  </a:moveTo>
                  <a:cubicBezTo>
                    <a:pt x="62055" y="109166"/>
                    <a:pt x="53788" y="100917"/>
                    <a:pt x="53788" y="90716"/>
                  </a:cubicBezTo>
                  <a:cubicBezTo>
                    <a:pt x="53788" y="80524"/>
                    <a:pt x="62046" y="72266"/>
                    <a:pt x="72238" y="72266"/>
                  </a:cubicBezTo>
                  <a:cubicBezTo>
                    <a:pt x="82429" y="72266"/>
                    <a:pt x="90688" y="80524"/>
                    <a:pt x="90688" y="90716"/>
                  </a:cubicBezTo>
                  <a:cubicBezTo>
                    <a:pt x="90678" y="100917"/>
                    <a:pt x="82429" y="109166"/>
                    <a:pt x="72238" y="109166"/>
                  </a:cubicBezTo>
                  <a:close/>
                  <a:moveTo>
                    <a:pt x="122558" y="109166"/>
                  </a:moveTo>
                  <a:cubicBezTo>
                    <a:pt x="112376" y="109166"/>
                    <a:pt x="104099" y="100917"/>
                    <a:pt x="104099" y="90716"/>
                  </a:cubicBezTo>
                  <a:cubicBezTo>
                    <a:pt x="104099" y="80524"/>
                    <a:pt x="112366" y="72266"/>
                    <a:pt x="122558" y="72266"/>
                  </a:cubicBezTo>
                  <a:cubicBezTo>
                    <a:pt x="132750" y="72266"/>
                    <a:pt x="141018" y="80524"/>
                    <a:pt x="141018" y="90716"/>
                  </a:cubicBezTo>
                  <a:cubicBezTo>
                    <a:pt x="141018" y="100917"/>
                    <a:pt x="132750" y="109166"/>
                    <a:pt x="122558" y="109166"/>
                  </a:cubicBezTo>
                  <a:close/>
                  <a:moveTo>
                    <a:pt x="172879" y="109166"/>
                  </a:moveTo>
                  <a:cubicBezTo>
                    <a:pt x="162697" y="109166"/>
                    <a:pt x="154429" y="100917"/>
                    <a:pt x="154429" y="90716"/>
                  </a:cubicBezTo>
                  <a:cubicBezTo>
                    <a:pt x="154429" y="80524"/>
                    <a:pt x="162687" y="72266"/>
                    <a:pt x="172879" y="72266"/>
                  </a:cubicBezTo>
                  <a:cubicBezTo>
                    <a:pt x="183071" y="72266"/>
                    <a:pt x="191329" y="80524"/>
                    <a:pt x="191329" y="90716"/>
                  </a:cubicBezTo>
                  <a:cubicBezTo>
                    <a:pt x="191329" y="100917"/>
                    <a:pt x="183080" y="109166"/>
                    <a:pt x="172879" y="10916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BD9F480C-7D42-4476-9AD3-1936CF817431}"/>
                </a:ext>
              </a:extLst>
            </p:cNvPr>
            <p:cNvSpPr/>
            <p:nvPr/>
          </p:nvSpPr>
          <p:spPr>
            <a:xfrm>
              <a:off x="9558652" y="3638564"/>
              <a:ext cx="171450" cy="66675"/>
            </a:xfrm>
            <a:custGeom>
              <a:avLst/>
              <a:gdLst>
                <a:gd name="connsiteX0" fmla="*/ 88611 w 171450"/>
                <a:gd name="connsiteY0" fmla="*/ 7144 h 66675"/>
                <a:gd name="connsiteX1" fmla="*/ 7144 w 171450"/>
                <a:gd name="connsiteY1" fmla="*/ 65037 h 66675"/>
                <a:gd name="connsiteX2" fmla="*/ 170078 w 171450"/>
                <a:gd name="connsiteY2" fmla="*/ 65037 h 66675"/>
                <a:gd name="connsiteX3" fmla="*/ 88611 w 171450"/>
                <a:gd name="connsiteY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" h="66675">
                  <a:moveTo>
                    <a:pt x="88611" y="7144"/>
                  </a:moveTo>
                  <a:cubicBezTo>
                    <a:pt x="50892" y="7144"/>
                    <a:pt x="18926" y="31347"/>
                    <a:pt x="7144" y="65037"/>
                  </a:cubicBezTo>
                  <a:lnTo>
                    <a:pt x="170078" y="65037"/>
                  </a:lnTo>
                  <a:cubicBezTo>
                    <a:pt x="158286" y="31347"/>
                    <a:pt x="126321" y="7144"/>
                    <a:pt x="88611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D40DFDA-B773-4EF1-B4EB-3E670680DCB2}"/>
                </a:ext>
              </a:extLst>
            </p:cNvPr>
            <p:cNvSpPr/>
            <p:nvPr/>
          </p:nvSpPr>
          <p:spPr>
            <a:xfrm>
              <a:off x="9586208" y="3517254"/>
              <a:ext cx="114300" cy="114300"/>
            </a:xfrm>
            <a:custGeom>
              <a:avLst/>
              <a:gdLst>
                <a:gd name="connsiteX0" fmla="*/ 114967 w 114300"/>
                <a:gd name="connsiteY0" fmla="*/ 61055 h 114300"/>
                <a:gd name="connsiteX1" fmla="*/ 61055 w 114300"/>
                <a:gd name="connsiteY1" fmla="*/ 114967 h 114300"/>
                <a:gd name="connsiteX2" fmla="*/ 7144 w 114300"/>
                <a:gd name="connsiteY2" fmla="*/ 61055 h 114300"/>
                <a:gd name="connsiteX3" fmla="*/ 61055 w 114300"/>
                <a:gd name="connsiteY3" fmla="*/ 7144 h 114300"/>
                <a:gd name="connsiteX4" fmla="*/ 114967 w 114300"/>
                <a:gd name="connsiteY4" fmla="*/ 610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967" y="61055"/>
                  </a:moveTo>
                  <a:cubicBezTo>
                    <a:pt x="114967" y="90830"/>
                    <a:pt x="90830" y="114967"/>
                    <a:pt x="61055" y="114967"/>
                  </a:cubicBezTo>
                  <a:cubicBezTo>
                    <a:pt x="31281" y="114967"/>
                    <a:pt x="7144" y="90830"/>
                    <a:pt x="7144" y="61055"/>
                  </a:cubicBezTo>
                  <a:cubicBezTo>
                    <a:pt x="7144" y="31281"/>
                    <a:pt x="31281" y="7144"/>
                    <a:pt x="61055" y="7144"/>
                  </a:cubicBezTo>
                  <a:cubicBezTo>
                    <a:pt x="90830" y="7144"/>
                    <a:pt x="114967" y="31281"/>
                    <a:pt x="114967" y="610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698F1F8A-1FA9-49C2-A10D-A63DFF18A3A1}"/>
                </a:ext>
              </a:extLst>
            </p:cNvPr>
            <p:cNvSpPr/>
            <p:nvPr/>
          </p:nvSpPr>
          <p:spPr>
            <a:xfrm>
              <a:off x="9376905" y="3638564"/>
              <a:ext cx="171450" cy="66675"/>
            </a:xfrm>
            <a:custGeom>
              <a:avLst/>
              <a:gdLst>
                <a:gd name="connsiteX0" fmla="*/ 88611 w 171450"/>
                <a:gd name="connsiteY0" fmla="*/ 7144 h 66675"/>
                <a:gd name="connsiteX1" fmla="*/ 7144 w 171450"/>
                <a:gd name="connsiteY1" fmla="*/ 65037 h 66675"/>
                <a:gd name="connsiteX2" fmla="*/ 170078 w 171450"/>
                <a:gd name="connsiteY2" fmla="*/ 65037 h 66675"/>
                <a:gd name="connsiteX3" fmla="*/ 88611 w 171450"/>
                <a:gd name="connsiteY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" h="66675">
                  <a:moveTo>
                    <a:pt x="88611" y="7144"/>
                  </a:moveTo>
                  <a:cubicBezTo>
                    <a:pt x="50902" y="7144"/>
                    <a:pt x="18936" y="31347"/>
                    <a:pt x="7144" y="65037"/>
                  </a:cubicBezTo>
                  <a:lnTo>
                    <a:pt x="170078" y="65037"/>
                  </a:lnTo>
                  <a:cubicBezTo>
                    <a:pt x="158296" y="31347"/>
                    <a:pt x="126330" y="7144"/>
                    <a:pt x="88611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0DFDD11F-11B5-4951-A919-1FC76E7353C6}"/>
                </a:ext>
              </a:extLst>
            </p:cNvPr>
            <p:cNvSpPr/>
            <p:nvPr/>
          </p:nvSpPr>
          <p:spPr>
            <a:xfrm>
              <a:off x="9404461" y="3517263"/>
              <a:ext cx="114300" cy="114300"/>
            </a:xfrm>
            <a:custGeom>
              <a:avLst/>
              <a:gdLst>
                <a:gd name="connsiteX0" fmla="*/ 114967 w 114300"/>
                <a:gd name="connsiteY0" fmla="*/ 61055 h 114300"/>
                <a:gd name="connsiteX1" fmla="*/ 61055 w 114300"/>
                <a:gd name="connsiteY1" fmla="*/ 114967 h 114300"/>
                <a:gd name="connsiteX2" fmla="*/ 7144 w 114300"/>
                <a:gd name="connsiteY2" fmla="*/ 61055 h 114300"/>
                <a:gd name="connsiteX3" fmla="*/ 61055 w 114300"/>
                <a:gd name="connsiteY3" fmla="*/ 7144 h 114300"/>
                <a:gd name="connsiteX4" fmla="*/ 114967 w 114300"/>
                <a:gd name="connsiteY4" fmla="*/ 610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967" y="61055"/>
                  </a:moveTo>
                  <a:cubicBezTo>
                    <a:pt x="114967" y="90830"/>
                    <a:pt x="90830" y="114967"/>
                    <a:pt x="61055" y="114967"/>
                  </a:cubicBezTo>
                  <a:cubicBezTo>
                    <a:pt x="31281" y="114967"/>
                    <a:pt x="7144" y="90830"/>
                    <a:pt x="7144" y="61055"/>
                  </a:cubicBezTo>
                  <a:cubicBezTo>
                    <a:pt x="7144" y="31281"/>
                    <a:pt x="31281" y="7144"/>
                    <a:pt x="61055" y="7144"/>
                  </a:cubicBezTo>
                  <a:cubicBezTo>
                    <a:pt x="90830" y="7144"/>
                    <a:pt x="114967" y="31281"/>
                    <a:pt x="114967" y="610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F65F8B9-E007-4DD8-8B2A-D1C4EB4187CD}"/>
                </a:ext>
              </a:extLst>
            </p:cNvPr>
            <p:cNvSpPr/>
            <p:nvPr/>
          </p:nvSpPr>
          <p:spPr>
            <a:xfrm>
              <a:off x="9222715" y="3517263"/>
              <a:ext cx="114300" cy="114300"/>
            </a:xfrm>
            <a:custGeom>
              <a:avLst/>
              <a:gdLst>
                <a:gd name="connsiteX0" fmla="*/ 114967 w 114300"/>
                <a:gd name="connsiteY0" fmla="*/ 61055 h 114300"/>
                <a:gd name="connsiteX1" fmla="*/ 61055 w 114300"/>
                <a:gd name="connsiteY1" fmla="*/ 114967 h 114300"/>
                <a:gd name="connsiteX2" fmla="*/ 7144 w 114300"/>
                <a:gd name="connsiteY2" fmla="*/ 61055 h 114300"/>
                <a:gd name="connsiteX3" fmla="*/ 61055 w 114300"/>
                <a:gd name="connsiteY3" fmla="*/ 7144 h 114300"/>
                <a:gd name="connsiteX4" fmla="*/ 114967 w 114300"/>
                <a:gd name="connsiteY4" fmla="*/ 61055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4300" h="114300">
                  <a:moveTo>
                    <a:pt x="114967" y="61055"/>
                  </a:moveTo>
                  <a:cubicBezTo>
                    <a:pt x="114967" y="90830"/>
                    <a:pt x="90830" y="114967"/>
                    <a:pt x="61055" y="114967"/>
                  </a:cubicBezTo>
                  <a:cubicBezTo>
                    <a:pt x="31281" y="114967"/>
                    <a:pt x="7144" y="90830"/>
                    <a:pt x="7144" y="61055"/>
                  </a:cubicBezTo>
                  <a:cubicBezTo>
                    <a:pt x="7144" y="31281"/>
                    <a:pt x="31281" y="7144"/>
                    <a:pt x="61055" y="7144"/>
                  </a:cubicBezTo>
                  <a:cubicBezTo>
                    <a:pt x="90830" y="7144"/>
                    <a:pt x="114967" y="31281"/>
                    <a:pt x="114967" y="6105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7A49E401-60DD-49B6-976A-FCADBEC2AB7A}"/>
                </a:ext>
              </a:extLst>
            </p:cNvPr>
            <p:cNvSpPr/>
            <p:nvPr/>
          </p:nvSpPr>
          <p:spPr>
            <a:xfrm>
              <a:off x="9195168" y="3638564"/>
              <a:ext cx="171450" cy="66675"/>
            </a:xfrm>
            <a:custGeom>
              <a:avLst/>
              <a:gdLst>
                <a:gd name="connsiteX0" fmla="*/ 88611 w 171450"/>
                <a:gd name="connsiteY0" fmla="*/ 7144 h 66675"/>
                <a:gd name="connsiteX1" fmla="*/ 7144 w 171450"/>
                <a:gd name="connsiteY1" fmla="*/ 65037 h 66675"/>
                <a:gd name="connsiteX2" fmla="*/ 170069 w 171450"/>
                <a:gd name="connsiteY2" fmla="*/ 65037 h 66675"/>
                <a:gd name="connsiteX3" fmla="*/ 88611 w 171450"/>
                <a:gd name="connsiteY3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0" h="66675">
                  <a:moveTo>
                    <a:pt x="88611" y="7144"/>
                  </a:moveTo>
                  <a:cubicBezTo>
                    <a:pt x="50902" y="7144"/>
                    <a:pt x="18926" y="31347"/>
                    <a:pt x="7144" y="65037"/>
                  </a:cubicBezTo>
                  <a:lnTo>
                    <a:pt x="170069" y="65037"/>
                  </a:lnTo>
                  <a:cubicBezTo>
                    <a:pt x="158296" y="31347"/>
                    <a:pt x="126321" y="7144"/>
                    <a:pt x="88611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417C5-C237-4C43-8EB1-ED67FB0C9CE9}"/>
                </a:ext>
              </a:extLst>
            </p:cNvPr>
            <p:cNvSpPr/>
            <p:nvPr/>
          </p:nvSpPr>
          <p:spPr>
            <a:xfrm>
              <a:off x="9647377" y="3448436"/>
              <a:ext cx="180975" cy="123825"/>
            </a:xfrm>
            <a:custGeom>
              <a:avLst/>
              <a:gdLst>
                <a:gd name="connsiteX0" fmla="*/ 88649 w 180975"/>
                <a:gd name="connsiteY0" fmla="*/ 7144 h 123825"/>
                <a:gd name="connsiteX1" fmla="*/ 7144 w 180975"/>
                <a:gd name="connsiteY1" fmla="*/ 65113 h 123825"/>
                <a:gd name="connsiteX2" fmla="*/ 65427 w 180975"/>
                <a:gd name="connsiteY2" fmla="*/ 122930 h 123825"/>
                <a:gd name="connsiteX3" fmla="*/ 175022 w 180975"/>
                <a:gd name="connsiteY3" fmla="*/ 122930 h 123825"/>
                <a:gd name="connsiteX4" fmla="*/ 175022 w 180975"/>
                <a:gd name="connsiteY4" fmla="*/ 93526 h 123825"/>
                <a:gd name="connsiteX5" fmla="*/ 88649 w 180975"/>
                <a:gd name="connsiteY5" fmla="*/ 7144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0975" h="123825">
                  <a:moveTo>
                    <a:pt x="88649" y="7144"/>
                  </a:moveTo>
                  <a:cubicBezTo>
                    <a:pt x="50921" y="7144"/>
                    <a:pt x="18917" y="31385"/>
                    <a:pt x="7144" y="65113"/>
                  </a:cubicBezTo>
                  <a:cubicBezTo>
                    <a:pt x="38881" y="65856"/>
                    <a:pt x="64437" y="91269"/>
                    <a:pt x="65427" y="122930"/>
                  </a:cubicBezTo>
                  <a:lnTo>
                    <a:pt x="175022" y="122930"/>
                  </a:lnTo>
                  <a:lnTo>
                    <a:pt x="175022" y="93526"/>
                  </a:lnTo>
                  <a:cubicBezTo>
                    <a:pt x="175022" y="45825"/>
                    <a:pt x="136350" y="7144"/>
                    <a:pt x="88649" y="714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27D2AF0F-CED8-4882-B82F-954F8C5113A3}"/>
                </a:ext>
              </a:extLst>
            </p:cNvPr>
            <p:cNvSpPr/>
            <p:nvPr/>
          </p:nvSpPr>
          <p:spPr>
            <a:xfrm>
              <a:off x="9167384" y="3157552"/>
              <a:ext cx="600075" cy="447675"/>
            </a:xfrm>
            <a:custGeom>
              <a:avLst/>
              <a:gdLst>
                <a:gd name="connsiteX0" fmla="*/ 45501 w 600075"/>
                <a:gd name="connsiteY0" fmla="*/ 413976 h 447675"/>
                <a:gd name="connsiteX1" fmla="*/ 35033 w 600075"/>
                <a:gd name="connsiteY1" fmla="*/ 413976 h 447675"/>
                <a:gd name="connsiteX2" fmla="*/ 35033 w 600075"/>
                <a:gd name="connsiteY2" fmla="*/ 35042 h 447675"/>
                <a:gd name="connsiteX3" fmla="*/ 573215 w 600075"/>
                <a:gd name="connsiteY3" fmla="*/ 35042 h 447675"/>
                <a:gd name="connsiteX4" fmla="*/ 573215 w 600075"/>
                <a:gd name="connsiteY4" fmla="*/ 160572 h 447675"/>
                <a:gd name="connsiteX5" fmla="*/ 601113 w 600075"/>
                <a:gd name="connsiteY5" fmla="*/ 160572 h 447675"/>
                <a:gd name="connsiteX6" fmla="*/ 601113 w 600075"/>
                <a:gd name="connsiteY6" fmla="*/ 7144 h 447675"/>
                <a:gd name="connsiteX7" fmla="*/ 7144 w 600075"/>
                <a:gd name="connsiteY7" fmla="*/ 7144 h 447675"/>
                <a:gd name="connsiteX8" fmla="*/ 7144 w 600075"/>
                <a:gd name="connsiteY8" fmla="*/ 441874 h 447675"/>
                <a:gd name="connsiteX9" fmla="*/ 45501 w 600075"/>
                <a:gd name="connsiteY9" fmla="*/ 441874 h 447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0075" h="447675">
                  <a:moveTo>
                    <a:pt x="45501" y="413976"/>
                  </a:moveTo>
                  <a:lnTo>
                    <a:pt x="35033" y="413976"/>
                  </a:lnTo>
                  <a:lnTo>
                    <a:pt x="35033" y="35042"/>
                  </a:lnTo>
                  <a:lnTo>
                    <a:pt x="573215" y="35042"/>
                  </a:lnTo>
                  <a:lnTo>
                    <a:pt x="573215" y="160572"/>
                  </a:lnTo>
                  <a:lnTo>
                    <a:pt x="601113" y="160572"/>
                  </a:lnTo>
                  <a:lnTo>
                    <a:pt x="601113" y="7144"/>
                  </a:lnTo>
                  <a:lnTo>
                    <a:pt x="7144" y="7144"/>
                  </a:lnTo>
                  <a:lnTo>
                    <a:pt x="7144" y="441874"/>
                  </a:lnTo>
                  <a:lnTo>
                    <a:pt x="45501" y="44187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05B7312B-38B0-489D-B8AE-C6C2A83B861B}"/>
                </a:ext>
              </a:extLst>
            </p:cNvPr>
            <p:cNvSpPr/>
            <p:nvPr/>
          </p:nvSpPr>
          <p:spPr>
            <a:xfrm>
              <a:off x="9341006" y="3564221"/>
              <a:ext cx="66675" cy="38100"/>
            </a:xfrm>
            <a:custGeom>
              <a:avLst/>
              <a:gdLst>
                <a:gd name="connsiteX0" fmla="*/ 7144 w 66675"/>
                <a:gd name="connsiteY0" fmla="*/ 7144 h 38100"/>
                <a:gd name="connsiteX1" fmla="*/ 60131 w 66675"/>
                <a:gd name="connsiteY1" fmla="*/ 7144 h 38100"/>
                <a:gd name="connsiteX2" fmla="*/ 60131 w 66675"/>
                <a:gd name="connsiteY2" fmla="*/ 35195 h 38100"/>
                <a:gd name="connsiteX3" fmla="*/ 7144 w 66675"/>
                <a:gd name="connsiteY3" fmla="*/ 35195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38100">
                  <a:moveTo>
                    <a:pt x="7144" y="7144"/>
                  </a:moveTo>
                  <a:lnTo>
                    <a:pt x="60131" y="7144"/>
                  </a:lnTo>
                  <a:lnTo>
                    <a:pt x="60131" y="35195"/>
                  </a:lnTo>
                  <a:lnTo>
                    <a:pt x="7144" y="351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7AEA0987-6EFB-4E0D-B99E-A15432DFB038}"/>
                </a:ext>
              </a:extLst>
            </p:cNvPr>
            <p:cNvSpPr/>
            <p:nvPr/>
          </p:nvSpPr>
          <p:spPr>
            <a:xfrm>
              <a:off x="9522752" y="3564221"/>
              <a:ext cx="66675" cy="38100"/>
            </a:xfrm>
            <a:custGeom>
              <a:avLst/>
              <a:gdLst>
                <a:gd name="connsiteX0" fmla="*/ 7144 w 66675"/>
                <a:gd name="connsiteY0" fmla="*/ 7144 h 38100"/>
                <a:gd name="connsiteX1" fmla="*/ 60131 w 66675"/>
                <a:gd name="connsiteY1" fmla="*/ 7144 h 38100"/>
                <a:gd name="connsiteX2" fmla="*/ 60131 w 66675"/>
                <a:gd name="connsiteY2" fmla="*/ 35195 h 38100"/>
                <a:gd name="connsiteX3" fmla="*/ 7144 w 66675"/>
                <a:gd name="connsiteY3" fmla="*/ 35195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5" h="38100">
                  <a:moveTo>
                    <a:pt x="7144" y="7144"/>
                  </a:moveTo>
                  <a:lnTo>
                    <a:pt x="60131" y="7144"/>
                  </a:lnTo>
                  <a:lnTo>
                    <a:pt x="60131" y="35195"/>
                  </a:lnTo>
                  <a:lnTo>
                    <a:pt x="7144" y="3519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1BAB0267-D76F-4004-BCBF-FB9CE7D7A364}"/>
              </a:ext>
            </a:extLst>
          </p:cNvPr>
          <p:cNvGrpSpPr/>
          <p:nvPr/>
        </p:nvGrpSpPr>
        <p:grpSpPr>
          <a:xfrm>
            <a:off x="746634" y="3281694"/>
            <a:ext cx="344611" cy="404623"/>
            <a:chOff x="9432806" y="3717836"/>
            <a:chExt cx="155510" cy="186499"/>
          </a:xfrm>
          <a:solidFill>
            <a:schemeClr val="accent2">
              <a:lumMod val="75000"/>
            </a:schemeClr>
          </a:solidFill>
        </p:grpSpPr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D619404C-C1C3-4A10-B406-F34227CBAED7}"/>
                </a:ext>
              </a:extLst>
            </p:cNvPr>
            <p:cNvSpPr/>
            <p:nvPr/>
          </p:nvSpPr>
          <p:spPr>
            <a:xfrm>
              <a:off x="9432806" y="3717836"/>
              <a:ext cx="155510" cy="186499"/>
            </a:xfrm>
            <a:custGeom>
              <a:avLst/>
              <a:gdLst>
                <a:gd name="connsiteX0" fmla="*/ 15539 w 155510"/>
                <a:gd name="connsiteY0" fmla="*/ 172967 h 186499"/>
                <a:gd name="connsiteX1" fmla="*/ 15539 w 155510"/>
                <a:gd name="connsiteY1" fmla="*/ 14443 h 186499"/>
                <a:gd name="connsiteX2" fmla="*/ 78245 w 155510"/>
                <a:gd name="connsiteY2" fmla="*/ 14443 h 186499"/>
                <a:gd name="connsiteX3" fmla="*/ 78245 w 155510"/>
                <a:gd name="connsiteY3" fmla="*/ 63399 h 186499"/>
                <a:gd name="connsiteX4" fmla="*/ 140951 w 155510"/>
                <a:gd name="connsiteY4" fmla="*/ 63399 h 186499"/>
                <a:gd name="connsiteX5" fmla="*/ 140951 w 155510"/>
                <a:gd name="connsiteY5" fmla="*/ 172967 h 186499"/>
                <a:gd name="connsiteX6" fmla="*/ 15539 w 155510"/>
                <a:gd name="connsiteY6" fmla="*/ 172967 h 186499"/>
                <a:gd name="connsiteX7" fmla="*/ 93294 w 155510"/>
                <a:gd name="connsiteY7" fmla="*/ 20271 h 186499"/>
                <a:gd name="connsiteX8" fmla="*/ 124647 w 155510"/>
                <a:gd name="connsiteY8" fmla="*/ 49411 h 186499"/>
                <a:gd name="connsiteX9" fmla="*/ 93294 w 155510"/>
                <a:gd name="connsiteY9" fmla="*/ 49411 h 186499"/>
                <a:gd name="connsiteX10" fmla="*/ 93294 w 155510"/>
                <a:gd name="connsiteY10" fmla="*/ 20271 h 186499"/>
                <a:gd name="connsiteX11" fmla="*/ 93294 w 155510"/>
                <a:gd name="connsiteY11" fmla="*/ 455 h 186499"/>
                <a:gd name="connsiteX12" fmla="*/ 490 w 155510"/>
                <a:gd name="connsiteY12" fmla="*/ 455 h 186499"/>
                <a:gd name="connsiteX13" fmla="*/ 490 w 155510"/>
                <a:gd name="connsiteY13" fmla="*/ 186954 h 186499"/>
                <a:gd name="connsiteX14" fmla="*/ 156000 w 155510"/>
                <a:gd name="connsiteY14" fmla="*/ 186954 h 186499"/>
                <a:gd name="connsiteX15" fmla="*/ 156000 w 155510"/>
                <a:gd name="connsiteY15" fmla="*/ 51743 h 186499"/>
                <a:gd name="connsiteX16" fmla="*/ 93294 w 155510"/>
                <a:gd name="connsiteY16" fmla="*/ 455 h 186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5510" h="186499">
                  <a:moveTo>
                    <a:pt x="15539" y="172967"/>
                  </a:moveTo>
                  <a:lnTo>
                    <a:pt x="15539" y="14443"/>
                  </a:lnTo>
                  <a:lnTo>
                    <a:pt x="78245" y="14443"/>
                  </a:lnTo>
                  <a:lnTo>
                    <a:pt x="78245" y="63399"/>
                  </a:lnTo>
                  <a:lnTo>
                    <a:pt x="140951" y="63399"/>
                  </a:lnTo>
                  <a:lnTo>
                    <a:pt x="140951" y="172967"/>
                  </a:lnTo>
                  <a:lnTo>
                    <a:pt x="15539" y="172967"/>
                  </a:lnTo>
                  <a:close/>
                  <a:moveTo>
                    <a:pt x="93294" y="20271"/>
                  </a:moveTo>
                  <a:lnTo>
                    <a:pt x="124647" y="49411"/>
                  </a:lnTo>
                  <a:lnTo>
                    <a:pt x="93294" y="49411"/>
                  </a:lnTo>
                  <a:lnTo>
                    <a:pt x="93294" y="20271"/>
                  </a:lnTo>
                  <a:close/>
                  <a:moveTo>
                    <a:pt x="93294" y="455"/>
                  </a:moveTo>
                  <a:lnTo>
                    <a:pt x="490" y="455"/>
                  </a:lnTo>
                  <a:lnTo>
                    <a:pt x="490" y="186954"/>
                  </a:lnTo>
                  <a:lnTo>
                    <a:pt x="156000" y="186954"/>
                  </a:lnTo>
                  <a:lnTo>
                    <a:pt x="156000" y="51743"/>
                  </a:lnTo>
                  <a:lnTo>
                    <a:pt x="93294" y="455"/>
                  </a:lnTo>
                  <a:close/>
                </a:path>
              </a:pathLst>
            </a:custGeom>
            <a:grpFill/>
            <a:ln w="24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F883D159-6532-4C97-8A2F-CCCFC7C2769F}"/>
                </a:ext>
              </a:extLst>
            </p:cNvPr>
            <p:cNvSpPr/>
            <p:nvPr/>
          </p:nvSpPr>
          <p:spPr>
            <a:xfrm>
              <a:off x="9462905" y="3804091"/>
              <a:ext cx="95313" cy="9325"/>
            </a:xfrm>
            <a:custGeom>
              <a:avLst/>
              <a:gdLst>
                <a:gd name="connsiteX0" fmla="*/ 490 w 95312"/>
                <a:gd name="connsiteY0" fmla="*/ 455 h 9324"/>
                <a:gd name="connsiteX1" fmla="*/ 95803 w 95312"/>
                <a:gd name="connsiteY1" fmla="*/ 455 h 9324"/>
                <a:gd name="connsiteX2" fmla="*/ 95803 w 95312"/>
                <a:gd name="connsiteY2" fmla="*/ 9780 h 9324"/>
                <a:gd name="connsiteX3" fmla="*/ 490 w 95312"/>
                <a:gd name="connsiteY3" fmla="*/ 9780 h 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12" h="9324">
                  <a:moveTo>
                    <a:pt x="490" y="455"/>
                  </a:moveTo>
                  <a:lnTo>
                    <a:pt x="95803" y="455"/>
                  </a:lnTo>
                  <a:lnTo>
                    <a:pt x="95803" y="9780"/>
                  </a:lnTo>
                  <a:lnTo>
                    <a:pt x="490" y="9780"/>
                  </a:lnTo>
                  <a:close/>
                </a:path>
              </a:pathLst>
            </a:custGeom>
            <a:grpFill/>
            <a:ln w="24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B7925FC4-A4D3-496F-8FC9-1E84A7AC7E67}"/>
                </a:ext>
              </a:extLst>
            </p:cNvPr>
            <p:cNvSpPr/>
            <p:nvPr/>
          </p:nvSpPr>
          <p:spPr>
            <a:xfrm>
              <a:off x="9462905" y="3785442"/>
              <a:ext cx="32607" cy="9325"/>
            </a:xfrm>
            <a:custGeom>
              <a:avLst/>
              <a:gdLst>
                <a:gd name="connsiteX0" fmla="*/ 490 w 32606"/>
                <a:gd name="connsiteY0" fmla="*/ 455 h 9324"/>
                <a:gd name="connsiteX1" fmla="*/ 33097 w 32606"/>
                <a:gd name="connsiteY1" fmla="*/ 455 h 9324"/>
                <a:gd name="connsiteX2" fmla="*/ 33097 w 32606"/>
                <a:gd name="connsiteY2" fmla="*/ 9780 h 9324"/>
                <a:gd name="connsiteX3" fmla="*/ 490 w 32606"/>
                <a:gd name="connsiteY3" fmla="*/ 9780 h 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606" h="9324">
                  <a:moveTo>
                    <a:pt x="490" y="455"/>
                  </a:moveTo>
                  <a:lnTo>
                    <a:pt x="33097" y="455"/>
                  </a:lnTo>
                  <a:lnTo>
                    <a:pt x="33097" y="9780"/>
                  </a:lnTo>
                  <a:lnTo>
                    <a:pt x="490" y="9780"/>
                  </a:lnTo>
                  <a:close/>
                </a:path>
              </a:pathLst>
            </a:custGeom>
            <a:grpFill/>
            <a:ln w="24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301251D5-B6A3-49D2-8B20-070665CAC20E}"/>
                </a:ext>
              </a:extLst>
            </p:cNvPr>
            <p:cNvSpPr/>
            <p:nvPr/>
          </p:nvSpPr>
          <p:spPr>
            <a:xfrm>
              <a:off x="9462905" y="3822741"/>
              <a:ext cx="95313" cy="9325"/>
            </a:xfrm>
            <a:custGeom>
              <a:avLst/>
              <a:gdLst>
                <a:gd name="connsiteX0" fmla="*/ 490 w 95312"/>
                <a:gd name="connsiteY0" fmla="*/ 455 h 9324"/>
                <a:gd name="connsiteX1" fmla="*/ 95803 w 95312"/>
                <a:gd name="connsiteY1" fmla="*/ 455 h 9324"/>
                <a:gd name="connsiteX2" fmla="*/ 95803 w 95312"/>
                <a:gd name="connsiteY2" fmla="*/ 9780 h 9324"/>
                <a:gd name="connsiteX3" fmla="*/ 490 w 95312"/>
                <a:gd name="connsiteY3" fmla="*/ 9780 h 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12" h="9324">
                  <a:moveTo>
                    <a:pt x="490" y="455"/>
                  </a:moveTo>
                  <a:lnTo>
                    <a:pt x="95803" y="455"/>
                  </a:lnTo>
                  <a:lnTo>
                    <a:pt x="95803" y="9780"/>
                  </a:lnTo>
                  <a:lnTo>
                    <a:pt x="490" y="9780"/>
                  </a:lnTo>
                  <a:close/>
                </a:path>
              </a:pathLst>
            </a:custGeom>
            <a:grpFill/>
            <a:ln w="24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AE59FF7C-0DBD-40DF-961F-73EA095FFB6F}"/>
                </a:ext>
              </a:extLst>
            </p:cNvPr>
            <p:cNvSpPr/>
            <p:nvPr/>
          </p:nvSpPr>
          <p:spPr>
            <a:xfrm>
              <a:off x="9462905" y="3841391"/>
              <a:ext cx="95313" cy="9325"/>
            </a:xfrm>
            <a:custGeom>
              <a:avLst/>
              <a:gdLst>
                <a:gd name="connsiteX0" fmla="*/ 490 w 95312"/>
                <a:gd name="connsiteY0" fmla="*/ 455 h 9324"/>
                <a:gd name="connsiteX1" fmla="*/ 95803 w 95312"/>
                <a:gd name="connsiteY1" fmla="*/ 455 h 9324"/>
                <a:gd name="connsiteX2" fmla="*/ 95803 w 95312"/>
                <a:gd name="connsiteY2" fmla="*/ 9780 h 9324"/>
                <a:gd name="connsiteX3" fmla="*/ 490 w 95312"/>
                <a:gd name="connsiteY3" fmla="*/ 9780 h 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12" h="9324">
                  <a:moveTo>
                    <a:pt x="490" y="455"/>
                  </a:moveTo>
                  <a:lnTo>
                    <a:pt x="95803" y="455"/>
                  </a:lnTo>
                  <a:lnTo>
                    <a:pt x="95803" y="9780"/>
                  </a:lnTo>
                  <a:lnTo>
                    <a:pt x="490" y="9780"/>
                  </a:lnTo>
                  <a:close/>
                </a:path>
              </a:pathLst>
            </a:custGeom>
            <a:grpFill/>
            <a:ln w="24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54FACF83-314E-4038-8EF9-F0AA7F71F5D2}"/>
                </a:ext>
              </a:extLst>
            </p:cNvPr>
            <p:cNvSpPr/>
            <p:nvPr/>
          </p:nvSpPr>
          <p:spPr>
            <a:xfrm>
              <a:off x="9462905" y="3860041"/>
              <a:ext cx="95313" cy="9325"/>
            </a:xfrm>
            <a:custGeom>
              <a:avLst/>
              <a:gdLst>
                <a:gd name="connsiteX0" fmla="*/ 490 w 95312"/>
                <a:gd name="connsiteY0" fmla="*/ 455 h 9324"/>
                <a:gd name="connsiteX1" fmla="*/ 95803 w 95312"/>
                <a:gd name="connsiteY1" fmla="*/ 455 h 9324"/>
                <a:gd name="connsiteX2" fmla="*/ 95803 w 95312"/>
                <a:gd name="connsiteY2" fmla="*/ 9780 h 9324"/>
                <a:gd name="connsiteX3" fmla="*/ 490 w 95312"/>
                <a:gd name="connsiteY3" fmla="*/ 9780 h 93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312" h="9324">
                  <a:moveTo>
                    <a:pt x="490" y="455"/>
                  </a:moveTo>
                  <a:lnTo>
                    <a:pt x="95803" y="455"/>
                  </a:lnTo>
                  <a:lnTo>
                    <a:pt x="95803" y="9780"/>
                  </a:lnTo>
                  <a:lnTo>
                    <a:pt x="490" y="9780"/>
                  </a:lnTo>
                  <a:close/>
                </a:path>
              </a:pathLst>
            </a:custGeom>
            <a:grpFill/>
            <a:ln w="24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sp>
        <p:nvSpPr>
          <p:cNvPr id="131" name="TextBox 130">
            <a:extLst>
              <a:ext uri="{FF2B5EF4-FFF2-40B4-BE49-F238E27FC236}">
                <a16:creationId xmlns:a16="http://schemas.microsoft.com/office/drawing/2014/main" id="{58C2C208-A3AC-492A-BC63-19B234658F5F}"/>
              </a:ext>
            </a:extLst>
          </p:cNvPr>
          <p:cNvSpPr txBox="1"/>
          <p:nvPr/>
        </p:nvSpPr>
        <p:spPr>
          <a:xfrm>
            <a:off x="1504101" y="2336674"/>
            <a:ext cx="2822851" cy="24871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cident preparedness and response organization</a:t>
            </a: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01A6088E-6166-4E22-ADFF-B79A3974E85A}"/>
              </a:ext>
            </a:extLst>
          </p:cNvPr>
          <p:cNvSpPr txBox="1"/>
          <p:nvPr/>
        </p:nvSpPr>
        <p:spPr>
          <a:xfrm>
            <a:off x="1473843" y="4218059"/>
            <a:ext cx="2951758" cy="2517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esting and training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E8D3AB6F-5211-45C0-B8CA-8F2ACD79B07C}"/>
              </a:ext>
            </a:extLst>
          </p:cNvPr>
          <p:cNvSpPr txBox="1"/>
          <p:nvPr/>
        </p:nvSpPr>
        <p:spPr>
          <a:xfrm>
            <a:off x="1504101" y="3272185"/>
            <a:ext cx="2143896" cy="2168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cident response and recovery playbooks</a:t>
            </a:r>
          </a:p>
        </p:txBody>
      </p:sp>
      <p:sp>
        <p:nvSpPr>
          <p:cNvPr id="140" name="TextBox 139">
            <a:extLst>
              <a:ext uri="{FF2B5EF4-FFF2-40B4-BE49-F238E27FC236}">
                <a16:creationId xmlns:a16="http://schemas.microsoft.com/office/drawing/2014/main" id="{D69E4D6F-4350-46C4-AFB4-97C97FCAC596}"/>
              </a:ext>
            </a:extLst>
          </p:cNvPr>
          <p:cNvSpPr txBox="1"/>
          <p:nvPr/>
        </p:nvSpPr>
        <p:spPr>
          <a:xfrm>
            <a:off x="1473842" y="1512935"/>
            <a:ext cx="2528001" cy="25817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US" sz="1400" b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overnance</a:t>
            </a:r>
          </a:p>
        </p:txBody>
      </p:sp>
      <p:sp>
        <p:nvSpPr>
          <p:cNvPr id="46" name="Rectangle 27">
            <a:extLst>
              <a:ext uri="{FF2B5EF4-FFF2-40B4-BE49-F238E27FC236}">
                <a16:creationId xmlns:a16="http://schemas.microsoft.com/office/drawing/2014/main" id="{5C907103-91E3-4488-83E8-C6493759F532}"/>
              </a:ext>
            </a:extLst>
          </p:cNvPr>
          <p:cNvSpPr/>
          <p:nvPr/>
        </p:nvSpPr>
        <p:spPr bwMode="gray">
          <a:xfrm>
            <a:off x="694398" y="1436273"/>
            <a:ext cx="424016" cy="415073"/>
          </a:xfrm>
          <a:custGeom>
            <a:avLst/>
            <a:gdLst/>
            <a:ahLst/>
            <a:cxnLst/>
            <a:rect l="l" t="t" r="r" b="b"/>
            <a:pathLst>
              <a:path w="1959428" h="2147842">
                <a:moveTo>
                  <a:pt x="0" y="2010682"/>
                </a:moveTo>
                <a:lnTo>
                  <a:pt x="1959428" y="2010682"/>
                </a:lnTo>
                <a:lnTo>
                  <a:pt x="1959428" y="2147842"/>
                </a:lnTo>
                <a:lnTo>
                  <a:pt x="0" y="2147842"/>
                </a:lnTo>
                <a:close/>
                <a:moveTo>
                  <a:pt x="87086" y="1792968"/>
                </a:moveTo>
                <a:lnTo>
                  <a:pt x="1872343" y="1792968"/>
                </a:lnTo>
                <a:lnTo>
                  <a:pt x="1872343" y="1919514"/>
                </a:lnTo>
                <a:lnTo>
                  <a:pt x="87086" y="1919514"/>
                </a:lnTo>
                <a:close/>
                <a:moveTo>
                  <a:pt x="1333182" y="683406"/>
                </a:moveTo>
                <a:lnTo>
                  <a:pt x="1729423" y="683406"/>
                </a:lnTo>
                <a:lnTo>
                  <a:pt x="1729423" y="729125"/>
                </a:lnTo>
                <a:lnTo>
                  <a:pt x="1702753" y="729125"/>
                </a:lnTo>
                <a:lnTo>
                  <a:pt x="1702753" y="746467"/>
                </a:lnTo>
                <a:cubicBezTo>
                  <a:pt x="1702753" y="768346"/>
                  <a:pt x="1690597" y="787387"/>
                  <a:pt x="1672272" y="796477"/>
                </a:cubicBezTo>
                <a:lnTo>
                  <a:pt x="1672272" y="1599785"/>
                </a:lnTo>
                <a:cubicBezTo>
                  <a:pt x="1690597" y="1608875"/>
                  <a:pt x="1702753" y="1627916"/>
                  <a:pt x="1702753" y="1649796"/>
                </a:cubicBezTo>
                <a:lnTo>
                  <a:pt x="1702753" y="1667138"/>
                </a:lnTo>
                <a:lnTo>
                  <a:pt x="1729423" y="1667138"/>
                </a:lnTo>
                <a:lnTo>
                  <a:pt x="1729423" y="1712857"/>
                </a:lnTo>
                <a:lnTo>
                  <a:pt x="1333182" y="1712857"/>
                </a:lnTo>
                <a:lnTo>
                  <a:pt x="1333182" y="1667138"/>
                </a:lnTo>
                <a:lnTo>
                  <a:pt x="1359852" y="1667138"/>
                </a:lnTo>
                <a:lnTo>
                  <a:pt x="1359852" y="1649796"/>
                </a:lnTo>
                <a:cubicBezTo>
                  <a:pt x="1359852" y="1627916"/>
                  <a:pt x="1372008" y="1608876"/>
                  <a:pt x="1390332" y="1599786"/>
                </a:cubicBezTo>
                <a:lnTo>
                  <a:pt x="1390332" y="796477"/>
                </a:lnTo>
                <a:cubicBezTo>
                  <a:pt x="1372008" y="787387"/>
                  <a:pt x="1359852" y="768346"/>
                  <a:pt x="1359852" y="746467"/>
                </a:cubicBezTo>
                <a:lnTo>
                  <a:pt x="1359852" y="729125"/>
                </a:lnTo>
                <a:lnTo>
                  <a:pt x="1333182" y="729125"/>
                </a:lnTo>
                <a:close/>
                <a:moveTo>
                  <a:pt x="781594" y="683406"/>
                </a:moveTo>
                <a:lnTo>
                  <a:pt x="1177835" y="683406"/>
                </a:lnTo>
                <a:lnTo>
                  <a:pt x="1177835" y="729125"/>
                </a:lnTo>
                <a:lnTo>
                  <a:pt x="1151165" y="729125"/>
                </a:lnTo>
                <a:lnTo>
                  <a:pt x="1151165" y="746467"/>
                </a:lnTo>
                <a:cubicBezTo>
                  <a:pt x="1151165" y="768346"/>
                  <a:pt x="1139009" y="787387"/>
                  <a:pt x="1120684" y="796477"/>
                </a:cubicBezTo>
                <a:lnTo>
                  <a:pt x="1120684" y="1599785"/>
                </a:lnTo>
                <a:cubicBezTo>
                  <a:pt x="1139009" y="1608875"/>
                  <a:pt x="1151165" y="1627916"/>
                  <a:pt x="1151165" y="1649796"/>
                </a:cubicBezTo>
                <a:lnTo>
                  <a:pt x="1151165" y="1667138"/>
                </a:lnTo>
                <a:lnTo>
                  <a:pt x="1177835" y="1667138"/>
                </a:lnTo>
                <a:lnTo>
                  <a:pt x="1177835" y="1712857"/>
                </a:lnTo>
                <a:lnTo>
                  <a:pt x="781594" y="1712857"/>
                </a:lnTo>
                <a:lnTo>
                  <a:pt x="781594" y="1667138"/>
                </a:lnTo>
                <a:lnTo>
                  <a:pt x="808264" y="1667138"/>
                </a:lnTo>
                <a:lnTo>
                  <a:pt x="808264" y="1649796"/>
                </a:lnTo>
                <a:cubicBezTo>
                  <a:pt x="808264" y="1627916"/>
                  <a:pt x="820420" y="1608876"/>
                  <a:pt x="838744" y="1599786"/>
                </a:cubicBezTo>
                <a:lnTo>
                  <a:pt x="838744" y="796477"/>
                </a:lnTo>
                <a:cubicBezTo>
                  <a:pt x="820420" y="787387"/>
                  <a:pt x="808264" y="768346"/>
                  <a:pt x="808264" y="746467"/>
                </a:cubicBezTo>
                <a:lnTo>
                  <a:pt x="808264" y="729125"/>
                </a:lnTo>
                <a:lnTo>
                  <a:pt x="781594" y="729125"/>
                </a:lnTo>
                <a:close/>
                <a:moveTo>
                  <a:pt x="230005" y="683406"/>
                </a:moveTo>
                <a:lnTo>
                  <a:pt x="626246" y="683406"/>
                </a:lnTo>
                <a:lnTo>
                  <a:pt x="626246" y="729125"/>
                </a:lnTo>
                <a:lnTo>
                  <a:pt x="599576" y="729125"/>
                </a:lnTo>
                <a:lnTo>
                  <a:pt x="599576" y="746467"/>
                </a:lnTo>
                <a:cubicBezTo>
                  <a:pt x="599576" y="768346"/>
                  <a:pt x="587420" y="787387"/>
                  <a:pt x="569095" y="796477"/>
                </a:cubicBezTo>
                <a:lnTo>
                  <a:pt x="569095" y="1599785"/>
                </a:lnTo>
                <a:cubicBezTo>
                  <a:pt x="587420" y="1608875"/>
                  <a:pt x="599576" y="1627916"/>
                  <a:pt x="599576" y="1649796"/>
                </a:cubicBezTo>
                <a:lnTo>
                  <a:pt x="599576" y="1667138"/>
                </a:lnTo>
                <a:lnTo>
                  <a:pt x="626246" y="1667138"/>
                </a:lnTo>
                <a:lnTo>
                  <a:pt x="626246" y="1712857"/>
                </a:lnTo>
                <a:lnTo>
                  <a:pt x="230005" y="1712857"/>
                </a:lnTo>
                <a:lnTo>
                  <a:pt x="230005" y="1667138"/>
                </a:lnTo>
                <a:lnTo>
                  <a:pt x="256675" y="1667138"/>
                </a:lnTo>
                <a:lnTo>
                  <a:pt x="256675" y="1649796"/>
                </a:lnTo>
                <a:cubicBezTo>
                  <a:pt x="256675" y="1627916"/>
                  <a:pt x="268831" y="1608876"/>
                  <a:pt x="287155" y="1599786"/>
                </a:cubicBezTo>
                <a:lnTo>
                  <a:pt x="287155" y="796477"/>
                </a:lnTo>
                <a:cubicBezTo>
                  <a:pt x="268831" y="787387"/>
                  <a:pt x="256675" y="768346"/>
                  <a:pt x="256675" y="746467"/>
                </a:cubicBezTo>
                <a:lnTo>
                  <a:pt x="256675" y="729125"/>
                </a:lnTo>
                <a:lnTo>
                  <a:pt x="230005" y="729125"/>
                </a:lnTo>
                <a:close/>
                <a:moveTo>
                  <a:pt x="981528" y="244248"/>
                </a:moveTo>
                <a:cubicBezTo>
                  <a:pt x="922723" y="244248"/>
                  <a:pt x="875052" y="291919"/>
                  <a:pt x="875052" y="350724"/>
                </a:cubicBezTo>
                <a:cubicBezTo>
                  <a:pt x="875052" y="409529"/>
                  <a:pt x="922723" y="457200"/>
                  <a:pt x="981528" y="457200"/>
                </a:cubicBezTo>
                <a:cubicBezTo>
                  <a:pt x="1040333" y="457200"/>
                  <a:pt x="1088004" y="409529"/>
                  <a:pt x="1088004" y="350724"/>
                </a:cubicBezTo>
                <a:cubicBezTo>
                  <a:pt x="1088004" y="291919"/>
                  <a:pt x="1040333" y="244248"/>
                  <a:pt x="981528" y="244248"/>
                </a:cubicBezTo>
                <a:close/>
                <a:moveTo>
                  <a:pt x="983342" y="0"/>
                </a:moveTo>
                <a:lnTo>
                  <a:pt x="1895928" y="471254"/>
                </a:lnTo>
                <a:lnTo>
                  <a:pt x="1895928" y="602796"/>
                </a:lnTo>
                <a:lnTo>
                  <a:pt x="67128" y="602796"/>
                </a:lnTo>
                <a:lnTo>
                  <a:pt x="67128" y="458107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34A2FF7-8DF0-4AC8-AAE8-C4343E37C7FC}"/>
              </a:ext>
            </a:extLst>
          </p:cNvPr>
          <p:cNvGrpSpPr/>
          <p:nvPr/>
        </p:nvGrpSpPr>
        <p:grpSpPr>
          <a:xfrm>
            <a:off x="671303" y="2346409"/>
            <a:ext cx="473744" cy="426370"/>
            <a:chOff x="3838576" y="2522538"/>
            <a:chExt cx="285750" cy="257175"/>
          </a:xfrm>
          <a:solidFill>
            <a:schemeClr val="accent2">
              <a:lumMod val="75000"/>
            </a:schemeClr>
          </a:solidFill>
        </p:grpSpPr>
        <p:sp>
          <p:nvSpPr>
            <p:cNvPr id="48" name="Rectangle 5">
              <a:extLst>
                <a:ext uri="{FF2B5EF4-FFF2-40B4-BE49-F238E27FC236}">
                  <a16:creationId xmlns:a16="http://schemas.microsoft.com/office/drawing/2014/main" id="{CE9C4B17-B119-4988-B979-A2D799BA83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1138" y="2522538"/>
              <a:ext cx="103188" cy="68263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A364C3BD-B704-4BF1-8307-5CE1303263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2876" y="2551113"/>
              <a:ext cx="39688" cy="201613"/>
            </a:xfrm>
            <a:custGeom>
              <a:avLst/>
              <a:gdLst>
                <a:gd name="T0" fmla="*/ 10 w 25"/>
                <a:gd name="T1" fmla="*/ 6 h 127"/>
                <a:gd name="T2" fmla="*/ 10 w 25"/>
                <a:gd name="T3" fmla="*/ 8 h 127"/>
                <a:gd name="T4" fmla="*/ 10 w 25"/>
                <a:gd name="T5" fmla="*/ 32 h 127"/>
                <a:gd name="T6" fmla="*/ 10 w 25"/>
                <a:gd name="T7" fmla="*/ 34 h 127"/>
                <a:gd name="T8" fmla="*/ 10 w 25"/>
                <a:gd name="T9" fmla="*/ 56 h 127"/>
                <a:gd name="T10" fmla="*/ 10 w 25"/>
                <a:gd name="T11" fmla="*/ 58 h 127"/>
                <a:gd name="T12" fmla="*/ 0 w 25"/>
                <a:gd name="T13" fmla="*/ 58 h 127"/>
                <a:gd name="T14" fmla="*/ 0 w 25"/>
                <a:gd name="T15" fmla="*/ 67 h 127"/>
                <a:gd name="T16" fmla="*/ 10 w 25"/>
                <a:gd name="T17" fmla="*/ 67 h 127"/>
                <a:gd name="T18" fmla="*/ 10 w 25"/>
                <a:gd name="T19" fmla="*/ 80 h 127"/>
                <a:gd name="T20" fmla="*/ 10 w 25"/>
                <a:gd name="T21" fmla="*/ 84 h 127"/>
                <a:gd name="T22" fmla="*/ 10 w 25"/>
                <a:gd name="T23" fmla="*/ 93 h 127"/>
                <a:gd name="T24" fmla="*/ 10 w 25"/>
                <a:gd name="T25" fmla="*/ 108 h 127"/>
                <a:gd name="T26" fmla="*/ 10 w 25"/>
                <a:gd name="T27" fmla="*/ 119 h 127"/>
                <a:gd name="T28" fmla="*/ 10 w 25"/>
                <a:gd name="T29" fmla="*/ 121 h 127"/>
                <a:gd name="T30" fmla="*/ 10 w 25"/>
                <a:gd name="T31" fmla="*/ 127 h 127"/>
                <a:gd name="T32" fmla="*/ 25 w 25"/>
                <a:gd name="T33" fmla="*/ 127 h 127"/>
                <a:gd name="T34" fmla="*/ 25 w 25"/>
                <a:gd name="T35" fmla="*/ 119 h 127"/>
                <a:gd name="T36" fmla="*/ 19 w 25"/>
                <a:gd name="T37" fmla="*/ 119 h 127"/>
                <a:gd name="T38" fmla="*/ 19 w 25"/>
                <a:gd name="T39" fmla="*/ 108 h 127"/>
                <a:gd name="T40" fmla="*/ 19 w 25"/>
                <a:gd name="T41" fmla="*/ 93 h 127"/>
                <a:gd name="T42" fmla="*/ 19 w 25"/>
                <a:gd name="T43" fmla="*/ 84 h 127"/>
                <a:gd name="T44" fmla="*/ 19 w 25"/>
                <a:gd name="T45" fmla="*/ 80 h 127"/>
                <a:gd name="T46" fmla="*/ 19 w 25"/>
                <a:gd name="T47" fmla="*/ 67 h 127"/>
                <a:gd name="T48" fmla="*/ 25 w 25"/>
                <a:gd name="T49" fmla="*/ 67 h 127"/>
                <a:gd name="T50" fmla="*/ 25 w 25"/>
                <a:gd name="T51" fmla="*/ 58 h 127"/>
                <a:gd name="T52" fmla="*/ 19 w 25"/>
                <a:gd name="T53" fmla="*/ 58 h 127"/>
                <a:gd name="T54" fmla="*/ 19 w 25"/>
                <a:gd name="T55" fmla="*/ 56 h 127"/>
                <a:gd name="T56" fmla="*/ 19 w 25"/>
                <a:gd name="T57" fmla="*/ 34 h 127"/>
                <a:gd name="T58" fmla="*/ 19 w 25"/>
                <a:gd name="T59" fmla="*/ 32 h 127"/>
                <a:gd name="T60" fmla="*/ 19 w 25"/>
                <a:gd name="T61" fmla="*/ 9 h 127"/>
                <a:gd name="T62" fmla="*/ 25 w 25"/>
                <a:gd name="T63" fmla="*/ 9 h 127"/>
                <a:gd name="T64" fmla="*/ 25 w 25"/>
                <a:gd name="T65" fmla="*/ 0 h 127"/>
                <a:gd name="T66" fmla="*/ 10 w 25"/>
                <a:gd name="T67" fmla="*/ 0 h 127"/>
                <a:gd name="T68" fmla="*/ 10 w 25"/>
                <a:gd name="T69" fmla="*/ 6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5" h="127">
                  <a:moveTo>
                    <a:pt x="10" y="6"/>
                  </a:moveTo>
                  <a:lnTo>
                    <a:pt x="10" y="8"/>
                  </a:lnTo>
                  <a:lnTo>
                    <a:pt x="10" y="32"/>
                  </a:lnTo>
                  <a:lnTo>
                    <a:pt x="10" y="34"/>
                  </a:lnTo>
                  <a:lnTo>
                    <a:pt x="10" y="56"/>
                  </a:lnTo>
                  <a:lnTo>
                    <a:pt x="10" y="58"/>
                  </a:lnTo>
                  <a:lnTo>
                    <a:pt x="0" y="58"/>
                  </a:lnTo>
                  <a:lnTo>
                    <a:pt x="0" y="67"/>
                  </a:lnTo>
                  <a:lnTo>
                    <a:pt x="10" y="67"/>
                  </a:lnTo>
                  <a:lnTo>
                    <a:pt x="10" y="80"/>
                  </a:lnTo>
                  <a:lnTo>
                    <a:pt x="10" y="84"/>
                  </a:lnTo>
                  <a:lnTo>
                    <a:pt x="10" y="93"/>
                  </a:lnTo>
                  <a:lnTo>
                    <a:pt x="10" y="108"/>
                  </a:lnTo>
                  <a:lnTo>
                    <a:pt x="10" y="119"/>
                  </a:lnTo>
                  <a:lnTo>
                    <a:pt x="10" y="121"/>
                  </a:lnTo>
                  <a:lnTo>
                    <a:pt x="10" y="127"/>
                  </a:lnTo>
                  <a:lnTo>
                    <a:pt x="25" y="127"/>
                  </a:lnTo>
                  <a:lnTo>
                    <a:pt x="25" y="119"/>
                  </a:lnTo>
                  <a:lnTo>
                    <a:pt x="19" y="119"/>
                  </a:lnTo>
                  <a:lnTo>
                    <a:pt x="19" y="108"/>
                  </a:lnTo>
                  <a:lnTo>
                    <a:pt x="19" y="93"/>
                  </a:lnTo>
                  <a:lnTo>
                    <a:pt x="19" y="84"/>
                  </a:lnTo>
                  <a:lnTo>
                    <a:pt x="19" y="80"/>
                  </a:lnTo>
                  <a:lnTo>
                    <a:pt x="19" y="67"/>
                  </a:lnTo>
                  <a:lnTo>
                    <a:pt x="25" y="67"/>
                  </a:lnTo>
                  <a:lnTo>
                    <a:pt x="25" y="58"/>
                  </a:lnTo>
                  <a:lnTo>
                    <a:pt x="19" y="58"/>
                  </a:lnTo>
                  <a:lnTo>
                    <a:pt x="19" y="56"/>
                  </a:lnTo>
                  <a:lnTo>
                    <a:pt x="19" y="34"/>
                  </a:lnTo>
                  <a:lnTo>
                    <a:pt x="19" y="32"/>
                  </a:lnTo>
                  <a:lnTo>
                    <a:pt x="19" y="9"/>
                  </a:lnTo>
                  <a:lnTo>
                    <a:pt x="25" y="9"/>
                  </a:lnTo>
                  <a:lnTo>
                    <a:pt x="25" y="0"/>
                  </a:lnTo>
                  <a:lnTo>
                    <a:pt x="10" y="0"/>
                  </a:lnTo>
                  <a:lnTo>
                    <a:pt x="10" y="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0" name="Rectangle 7">
              <a:extLst>
                <a:ext uri="{FF2B5EF4-FFF2-40B4-BE49-F238E27FC236}">
                  <a16:creationId xmlns:a16="http://schemas.microsoft.com/office/drawing/2014/main" id="{B046CFB1-799D-4DAD-BA3B-E28AB03C27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1138" y="2713038"/>
              <a:ext cx="103188" cy="666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1" name="Rectangle 8">
              <a:extLst>
                <a:ext uri="{FF2B5EF4-FFF2-40B4-BE49-F238E27FC236}">
                  <a16:creationId xmlns:a16="http://schemas.microsoft.com/office/drawing/2014/main" id="{4A31727D-5335-438A-A2A2-1620759DA7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38576" y="2620963"/>
              <a:ext cx="98425" cy="61913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2" name="Rectangle 9">
              <a:extLst>
                <a:ext uri="{FF2B5EF4-FFF2-40B4-BE49-F238E27FC236}">
                  <a16:creationId xmlns:a16="http://schemas.microsoft.com/office/drawing/2014/main" id="{CC2D989D-94A7-40E1-B146-3AB2083EDB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21138" y="2620963"/>
              <a:ext cx="103188" cy="61913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1D6AF1E9-D577-4CDC-B714-049ADA04D151}"/>
              </a:ext>
            </a:extLst>
          </p:cNvPr>
          <p:cNvSpPr/>
          <p:nvPr/>
        </p:nvSpPr>
        <p:spPr>
          <a:xfrm>
            <a:off x="4585272" y="2754564"/>
            <a:ext cx="284164" cy="539751"/>
          </a:xfrm>
          <a:custGeom>
            <a:avLst/>
            <a:gdLst/>
            <a:ahLst/>
            <a:cxnLst/>
            <a:rect l="0" t="0" r="0" b="0"/>
            <a:pathLst>
              <a:path w="284164" h="539751">
                <a:moveTo>
                  <a:pt x="0" y="0"/>
                </a:moveTo>
                <a:lnTo>
                  <a:pt x="0" y="133350"/>
                </a:lnTo>
                <a:lnTo>
                  <a:pt x="138113" y="269875"/>
                </a:lnTo>
                <a:lnTo>
                  <a:pt x="0" y="412750"/>
                </a:lnTo>
                <a:lnTo>
                  <a:pt x="0" y="539750"/>
                </a:lnTo>
                <a:lnTo>
                  <a:pt x="284163" y="269875"/>
                </a:lnTo>
                <a:close/>
              </a:path>
            </a:pathLst>
          </a:custGeom>
          <a:solidFill>
            <a:schemeClr val="accent3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9257AD5F-C782-4409-887A-ACAF177B5EDA}"/>
              </a:ext>
            </a:extLst>
          </p:cNvPr>
          <p:cNvGrpSpPr>
            <a:grpSpLocks noChangeAspect="1"/>
          </p:cNvGrpSpPr>
          <p:nvPr/>
        </p:nvGrpSpPr>
        <p:grpSpPr>
          <a:xfrm>
            <a:off x="8784093" y="56364"/>
            <a:ext cx="384048" cy="384048"/>
            <a:chOff x="676331" y="2546807"/>
            <a:chExt cx="951614" cy="951614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A3871B0E-ADE1-43D8-B5FC-5F5771D30CBF}"/>
                </a:ext>
              </a:extLst>
            </p:cNvPr>
            <p:cNvSpPr/>
            <p:nvPr/>
          </p:nvSpPr>
          <p:spPr bwMode="gray">
            <a:xfrm>
              <a:off x="676331" y="2546807"/>
              <a:ext cx="951614" cy="95161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sp>
          <p:nvSpPr>
            <p:cNvPr id="44" name="Oval 93">
              <a:extLst>
                <a:ext uri="{FF2B5EF4-FFF2-40B4-BE49-F238E27FC236}">
                  <a16:creationId xmlns:a16="http://schemas.microsoft.com/office/drawing/2014/main" id="{4E9EF8B6-AEA8-44F5-B69B-60551360CBD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90929" y="2668279"/>
              <a:ext cx="114203" cy="116261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Freeform 94">
              <a:extLst>
                <a:ext uri="{FF2B5EF4-FFF2-40B4-BE49-F238E27FC236}">
                  <a16:creationId xmlns:a16="http://schemas.microsoft.com/office/drawing/2014/main" id="{E5B17575-9110-4F57-9B03-35D56B3FBC4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2867877"/>
              <a:ext cx="23664" cy="23664"/>
            </a:xfrm>
            <a:custGeom>
              <a:avLst/>
              <a:gdLst>
                <a:gd name="T0" fmla="*/ 10 w 11"/>
                <a:gd name="T1" fmla="*/ 0 h 11"/>
                <a:gd name="T2" fmla="*/ 1 w 11"/>
                <a:gd name="T3" fmla="*/ 0 h 11"/>
                <a:gd name="T4" fmla="*/ 0 w 11"/>
                <a:gd name="T5" fmla="*/ 1 h 11"/>
                <a:gd name="T6" fmla="*/ 0 w 11"/>
                <a:gd name="T7" fmla="*/ 10 h 11"/>
                <a:gd name="T8" fmla="*/ 1 w 11"/>
                <a:gd name="T9" fmla="*/ 11 h 11"/>
                <a:gd name="T10" fmla="*/ 10 w 11"/>
                <a:gd name="T11" fmla="*/ 11 h 11"/>
                <a:gd name="T12" fmla="*/ 11 w 11"/>
                <a:gd name="T13" fmla="*/ 10 h 11"/>
                <a:gd name="T14" fmla="*/ 11 w 11"/>
                <a:gd name="T15" fmla="*/ 1 h 11"/>
                <a:gd name="T16" fmla="*/ 10 w 11"/>
                <a:gd name="T17" fmla="*/ 0 h 11"/>
                <a:gd name="T18" fmla="*/ 9 w 11"/>
                <a:gd name="T19" fmla="*/ 9 h 11"/>
                <a:gd name="T20" fmla="*/ 3 w 11"/>
                <a:gd name="T21" fmla="*/ 9 h 11"/>
                <a:gd name="T22" fmla="*/ 3 w 11"/>
                <a:gd name="T23" fmla="*/ 3 h 11"/>
                <a:gd name="T24" fmla="*/ 9 w 11"/>
                <a:gd name="T25" fmla="*/ 3 h 11"/>
                <a:gd name="T26" fmla="*/ 9 w 11"/>
                <a:gd name="T27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1"/>
                    <a:pt x="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1"/>
                    <a:pt x="11" y="1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0"/>
                    <a:pt x="10" y="0"/>
                  </a:cubicBezTo>
                  <a:close/>
                  <a:moveTo>
                    <a:pt x="9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9" y="3"/>
                    <a:pt x="9" y="3"/>
                    <a:pt x="9" y="3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3" name="Freeform 95">
              <a:extLst>
                <a:ext uri="{FF2B5EF4-FFF2-40B4-BE49-F238E27FC236}">
                  <a16:creationId xmlns:a16="http://schemas.microsoft.com/office/drawing/2014/main" id="{47041F71-0FA0-4CA4-96BF-1C34741BDD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2942983"/>
              <a:ext cx="23664" cy="25721"/>
            </a:xfrm>
            <a:custGeom>
              <a:avLst/>
              <a:gdLst>
                <a:gd name="T0" fmla="*/ 10 w 11"/>
                <a:gd name="T1" fmla="*/ 0 h 12"/>
                <a:gd name="T2" fmla="*/ 1 w 11"/>
                <a:gd name="T3" fmla="*/ 0 h 12"/>
                <a:gd name="T4" fmla="*/ 0 w 11"/>
                <a:gd name="T5" fmla="*/ 2 h 12"/>
                <a:gd name="T6" fmla="*/ 0 w 11"/>
                <a:gd name="T7" fmla="*/ 10 h 12"/>
                <a:gd name="T8" fmla="*/ 1 w 11"/>
                <a:gd name="T9" fmla="*/ 12 h 12"/>
                <a:gd name="T10" fmla="*/ 10 w 11"/>
                <a:gd name="T11" fmla="*/ 12 h 12"/>
                <a:gd name="T12" fmla="*/ 11 w 11"/>
                <a:gd name="T13" fmla="*/ 10 h 12"/>
                <a:gd name="T14" fmla="*/ 11 w 11"/>
                <a:gd name="T15" fmla="*/ 2 h 12"/>
                <a:gd name="T16" fmla="*/ 10 w 11"/>
                <a:gd name="T17" fmla="*/ 0 h 12"/>
                <a:gd name="T18" fmla="*/ 9 w 11"/>
                <a:gd name="T19" fmla="*/ 9 h 12"/>
                <a:gd name="T20" fmla="*/ 3 w 11"/>
                <a:gd name="T21" fmla="*/ 9 h 12"/>
                <a:gd name="T22" fmla="*/ 3 w 11"/>
                <a:gd name="T23" fmla="*/ 3 h 12"/>
                <a:gd name="T24" fmla="*/ 9 w 11"/>
                <a:gd name="T25" fmla="*/ 3 h 12"/>
                <a:gd name="T26" fmla="*/ 9 w 11"/>
                <a:gd name="T2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2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1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1" y="11"/>
                    <a:pt x="11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0"/>
                    <a:pt x="10" y="0"/>
                  </a:cubicBezTo>
                  <a:close/>
                  <a:moveTo>
                    <a:pt x="9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9" y="3"/>
                    <a:pt x="9" y="3"/>
                    <a:pt x="9" y="3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4" name="Freeform 96">
              <a:extLst>
                <a:ext uri="{FF2B5EF4-FFF2-40B4-BE49-F238E27FC236}">
                  <a16:creationId xmlns:a16="http://schemas.microsoft.com/office/drawing/2014/main" id="{984B5551-01A1-4897-8353-6278AFA76D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3021176"/>
              <a:ext cx="23664" cy="23664"/>
            </a:xfrm>
            <a:custGeom>
              <a:avLst/>
              <a:gdLst>
                <a:gd name="T0" fmla="*/ 10 w 11"/>
                <a:gd name="T1" fmla="*/ 0 h 11"/>
                <a:gd name="T2" fmla="*/ 1 w 11"/>
                <a:gd name="T3" fmla="*/ 0 h 11"/>
                <a:gd name="T4" fmla="*/ 0 w 11"/>
                <a:gd name="T5" fmla="*/ 1 h 11"/>
                <a:gd name="T6" fmla="*/ 0 w 11"/>
                <a:gd name="T7" fmla="*/ 10 h 11"/>
                <a:gd name="T8" fmla="*/ 1 w 11"/>
                <a:gd name="T9" fmla="*/ 11 h 11"/>
                <a:gd name="T10" fmla="*/ 10 w 11"/>
                <a:gd name="T11" fmla="*/ 11 h 11"/>
                <a:gd name="T12" fmla="*/ 11 w 11"/>
                <a:gd name="T13" fmla="*/ 10 h 11"/>
                <a:gd name="T14" fmla="*/ 11 w 11"/>
                <a:gd name="T15" fmla="*/ 1 h 11"/>
                <a:gd name="T16" fmla="*/ 10 w 11"/>
                <a:gd name="T17" fmla="*/ 0 h 11"/>
                <a:gd name="T18" fmla="*/ 9 w 11"/>
                <a:gd name="T19" fmla="*/ 8 h 11"/>
                <a:gd name="T20" fmla="*/ 3 w 11"/>
                <a:gd name="T21" fmla="*/ 8 h 11"/>
                <a:gd name="T22" fmla="*/ 3 w 11"/>
                <a:gd name="T23" fmla="*/ 2 h 11"/>
                <a:gd name="T24" fmla="*/ 9 w 11"/>
                <a:gd name="T25" fmla="*/ 2 h 11"/>
                <a:gd name="T26" fmla="*/ 9 w 11"/>
                <a:gd name="T27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11"/>
                    <a:pt x="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0" y="0"/>
                  </a:cubicBezTo>
                  <a:close/>
                  <a:moveTo>
                    <a:pt x="9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9" y="2"/>
                    <a:pt x="9" y="2"/>
                    <a:pt x="9" y="2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5" name="Rectangle 97">
              <a:extLst>
                <a:ext uri="{FF2B5EF4-FFF2-40B4-BE49-F238E27FC236}">
                  <a16:creationId xmlns:a16="http://schemas.microsoft.com/office/drawing/2014/main" id="{D8B17D95-0A9B-4010-8C41-E92AF55E993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869935"/>
              <a:ext cx="139924" cy="7202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6" name="Rectangle 98">
              <a:extLst>
                <a:ext uri="{FF2B5EF4-FFF2-40B4-BE49-F238E27FC236}">
                  <a16:creationId xmlns:a16="http://schemas.microsoft.com/office/drawing/2014/main" id="{4C24B0AC-A5F8-47AE-AADB-8BF3AA118C3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885367"/>
              <a:ext cx="49385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7" name="Rectangle 99">
              <a:extLst>
                <a:ext uri="{FF2B5EF4-FFF2-40B4-BE49-F238E27FC236}">
                  <a16:creationId xmlns:a16="http://schemas.microsoft.com/office/drawing/2014/main" id="{E8E0D5DC-AEEA-4F55-B1D7-341F02FC589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948128"/>
              <a:ext cx="139924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8" name="Rectangle 100">
              <a:extLst>
                <a:ext uri="{FF2B5EF4-FFF2-40B4-BE49-F238E27FC236}">
                  <a16:creationId xmlns:a16="http://schemas.microsoft.com/office/drawing/2014/main" id="{66DE4A26-177F-4EB5-8F66-F6C2970F372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960474"/>
              <a:ext cx="49385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9" name="Rectangle 101">
              <a:extLst>
                <a:ext uri="{FF2B5EF4-FFF2-40B4-BE49-F238E27FC236}">
                  <a16:creationId xmlns:a16="http://schemas.microsoft.com/office/drawing/2014/main" id="{90453B5C-8980-4F2D-94B8-2523D548F5A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3023234"/>
              <a:ext cx="139924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0" name="Rectangle 102">
              <a:extLst>
                <a:ext uri="{FF2B5EF4-FFF2-40B4-BE49-F238E27FC236}">
                  <a16:creationId xmlns:a16="http://schemas.microsoft.com/office/drawing/2014/main" id="{7AE57B89-ED3A-4ECF-BEC3-8153473708E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3035580"/>
              <a:ext cx="49385" cy="6173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1" name="Freeform 103">
              <a:extLst>
                <a:ext uri="{FF2B5EF4-FFF2-40B4-BE49-F238E27FC236}">
                  <a16:creationId xmlns:a16="http://schemas.microsoft.com/office/drawing/2014/main" id="{D2070B91-096B-4CAD-A949-E7ED60E21092}"/>
                </a:ext>
              </a:extLst>
            </p:cNvPr>
            <p:cNvSpPr>
              <a:spLocks/>
            </p:cNvSpPr>
            <p:nvPr/>
          </p:nvSpPr>
          <p:spPr bwMode="gray">
            <a:xfrm>
              <a:off x="1217277" y="2749559"/>
              <a:ext cx="77164" cy="32923"/>
            </a:xfrm>
            <a:custGeom>
              <a:avLst/>
              <a:gdLst>
                <a:gd name="T0" fmla="*/ 5 w 36"/>
                <a:gd name="T1" fmla="*/ 14 h 15"/>
                <a:gd name="T2" fmla="*/ 9 w 36"/>
                <a:gd name="T3" fmla="*/ 12 h 15"/>
                <a:gd name="T4" fmla="*/ 21 w 36"/>
                <a:gd name="T5" fmla="*/ 15 h 15"/>
                <a:gd name="T6" fmla="*/ 36 w 36"/>
                <a:gd name="T7" fmla="*/ 8 h 15"/>
                <a:gd name="T8" fmla="*/ 21 w 36"/>
                <a:gd name="T9" fmla="*/ 0 h 15"/>
                <a:gd name="T10" fmla="*/ 7 w 36"/>
                <a:gd name="T11" fmla="*/ 5 h 15"/>
                <a:gd name="T12" fmla="*/ 5 w 36"/>
                <a:gd name="T13" fmla="*/ 4 h 15"/>
                <a:gd name="T14" fmla="*/ 0 w 36"/>
                <a:gd name="T15" fmla="*/ 9 h 15"/>
                <a:gd name="T16" fmla="*/ 5 w 36"/>
                <a:gd name="T1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5">
                  <a:moveTo>
                    <a:pt x="5" y="14"/>
                  </a:moveTo>
                  <a:cubicBezTo>
                    <a:pt x="7" y="14"/>
                    <a:pt x="8" y="13"/>
                    <a:pt x="9" y="12"/>
                  </a:cubicBezTo>
                  <a:cubicBezTo>
                    <a:pt x="11" y="14"/>
                    <a:pt x="16" y="15"/>
                    <a:pt x="21" y="15"/>
                  </a:cubicBezTo>
                  <a:cubicBezTo>
                    <a:pt x="29" y="15"/>
                    <a:pt x="36" y="12"/>
                    <a:pt x="36" y="8"/>
                  </a:cubicBezTo>
                  <a:cubicBezTo>
                    <a:pt x="36" y="3"/>
                    <a:pt x="29" y="0"/>
                    <a:pt x="21" y="0"/>
                  </a:cubicBezTo>
                  <a:cubicBezTo>
                    <a:pt x="15" y="0"/>
                    <a:pt x="9" y="2"/>
                    <a:pt x="7" y="5"/>
                  </a:cubicBezTo>
                  <a:cubicBezTo>
                    <a:pt x="6" y="5"/>
                    <a:pt x="6" y="4"/>
                    <a:pt x="5" y="4"/>
                  </a:cubicBezTo>
                  <a:cubicBezTo>
                    <a:pt x="2" y="4"/>
                    <a:pt x="0" y="7"/>
                    <a:pt x="0" y="9"/>
                  </a:cubicBezTo>
                  <a:cubicBezTo>
                    <a:pt x="0" y="12"/>
                    <a:pt x="2" y="14"/>
                    <a:pt x="5" y="1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2" name="Freeform 104">
              <a:extLst>
                <a:ext uri="{FF2B5EF4-FFF2-40B4-BE49-F238E27FC236}">
                  <a16:creationId xmlns:a16="http://schemas.microsoft.com/office/drawing/2014/main" id="{42FD3FEA-9D14-4E33-ADA6-F7BBC446395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09247" y="2769107"/>
              <a:ext cx="312772" cy="404340"/>
            </a:xfrm>
            <a:custGeom>
              <a:avLst/>
              <a:gdLst>
                <a:gd name="T0" fmla="*/ 141 w 145"/>
                <a:gd name="T1" fmla="*/ 0 h 188"/>
                <a:gd name="T2" fmla="*/ 117 w 145"/>
                <a:gd name="T3" fmla="*/ 0 h 188"/>
                <a:gd name="T4" fmla="*/ 93 w 145"/>
                <a:gd name="T5" fmla="*/ 0 h 188"/>
                <a:gd name="T6" fmla="*/ 90 w 145"/>
                <a:gd name="T7" fmla="*/ 0 h 188"/>
                <a:gd name="T8" fmla="*/ 71 w 145"/>
                <a:gd name="T9" fmla="*/ 10 h 188"/>
                <a:gd name="T10" fmla="*/ 59 w 145"/>
                <a:gd name="T11" fmla="*/ 8 h 188"/>
                <a:gd name="T12" fmla="*/ 55 w 145"/>
                <a:gd name="T13" fmla="*/ 9 h 188"/>
                <a:gd name="T14" fmla="*/ 46 w 145"/>
                <a:gd name="T15" fmla="*/ 0 h 188"/>
                <a:gd name="T16" fmla="*/ 46 w 145"/>
                <a:gd name="T17" fmla="*/ 0 h 188"/>
                <a:gd name="T18" fmla="*/ 35 w 145"/>
                <a:gd name="T19" fmla="*/ 0 h 188"/>
                <a:gd name="T20" fmla="*/ 5 w 145"/>
                <a:gd name="T21" fmla="*/ 0 h 188"/>
                <a:gd name="T22" fmla="*/ 0 w 145"/>
                <a:gd name="T23" fmla="*/ 5 h 188"/>
                <a:gd name="T24" fmla="*/ 0 w 145"/>
                <a:gd name="T25" fmla="*/ 183 h 188"/>
                <a:gd name="T26" fmla="*/ 5 w 145"/>
                <a:gd name="T27" fmla="*/ 188 h 188"/>
                <a:gd name="T28" fmla="*/ 141 w 145"/>
                <a:gd name="T29" fmla="*/ 188 h 188"/>
                <a:gd name="T30" fmla="*/ 145 w 145"/>
                <a:gd name="T31" fmla="*/ 183 h 188"/>
                <a:gd name="T32" fmla="*/ 145 w 145"/>
                <a:gd name="T33" fmla="*/ 5 h 188"/>
                <a:gd name="T34" fmla="*/ 141 w 145"/>
                <a:gd name="T35" fmla="*/ 0 h 188"/>
                <a:gd name="T36" fmla="*/ 130 w 145"/>
                <a:gd name="T37" fmla="*/ 175 h 188"/>
                <a:gd name="T38" fmla="*/ 15 w 145"/>
                <a:gd name="T39" fmla="*/ 175 h 188"/>
                <a:gd name="T40" fmla="*/ 15 w 145"/>
                <a:gd name="T41" fmla="*/ 13 h 188"/>
                <a:gd name="T42" fmla="*/ 52 w 145"/>
                <a:gd name="T43" fmla="*/ 13 h 188"/>
                <a:gd name="T44" fmla="*/ 52 w 145"/>
                <a:gd name="T45" fmla="*/ 17 h 188"/>
                <a:gd name="T46" fmla="*/ 93 w 145"/>
                <a:gd name="T47" fmla="*/ 17 h 188"/>
                <a:gd name="T48" fmla="*/ 93 w 145"/>
                <a:gd name="T49" fmla="*/ 13 h 188"/>
                <a:gd name="T50" fmla="*/ 130 w 145"/>
                <a:gd name="T51" fmla="*/ 13 h 188"/>
                <a:gd name="T52" fmla="*/ 130 w 145"/>
                <a:gd name="T53" fmla="*/ 17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5" h="188">
                  <a:moveTo>
                    <a:pt x="141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89" y="6"/>
                    <a:pt x="81" y="10"/>
                    <a:pt x="71" y="10"/>
                  </a:cubicBezTo>
                  <a:cubicBezTo>
                    <a:pt x="67" y="10"/>
                    <a:pt x="63" y="9"/>
                    <a:pt x="59" y="8"/>
                  </a:cubicBezTo>
                  <a:cubicBezTo>
                    <a:pt x="58" y="9"/>
                    <a:pt x="56" y="9"/>
                    <a:pt x="55" y="9"/>
                  </a:cubicBezTo>
                  <a:cubicBezTo>
                    <a:pt x="50" y="9"/>
                    <a:pt x="46" y="5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86"/>
                    <a:pt x="2" y="188"/>
                    <a:pt x="5" y="188"/>
                  </a:cubicBezTo>
                  <a:cubicBezTo>
                    <a:pt x="141" y="188"/>
                    <a:pt x="141" y="188"/>
                    <a:pt x="141" y="188"/>
                  </a:cubicBezTo>
                  <a:cubicBezTo>
                    <a:pt x="143" y="188"/>
                    <a:pt x="145" y="186"/>
                    <a:pt x="145" y="183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2"/>
                    <a:pt x="143" y="0"/>
                    <a:pt x="141" y="0"/>
                  </a:cubicBezTo>
                  <a:close/>
                  <a:moveTo>
                    <a:pt x="130" y="175"/>
                  </a:moveTo>
                  <a:cubicBezTo>
                    <a:pt x="15" y="175"/>
                    <a:pt x="15" y="175"/>
                    <a:pt x="15" y="175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130" y="13"/>
                    <a:pt x="130" y="13"/>
                    <a:pt x="130" y="13"/>
                  </a:cubicBezTo>
                  <a:lnTo>
                    <a:pt x="130" y="17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3" name="Freeform 105">
              <a:extLst>
                <a:ext uri="{FF2B5EF4-FFF2-40B4-BE49-F238E27FC236}">
                  <a16:creationId xmlns:a16="http://schemas.microsoft.com/office/drawing/2014/main" id="{2DF8BE17-6560-4E96-81CB-C562B6492E8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89072" y="2790713"/>
              <a:ext cx="235608" cy="601880"/>
            </a:xfrm>
            <a:custGeom>
              <a:avLst/>
              <a:gdLst>
                <a:gd name="T0" fmla="*/ 96 w 109"/>
                <a:gd name="T1" fmla="*/ 7 h 280"/>
                <a:gd name="T2" fmla="*/ 89 w 109"/>
                <a:gd name="T3" fmla="*/ 6 h 280"/>
                <a:gd name="T4" fmla="*/ 75 w 109"/>
                <a:gd name="T5" fmla="*/ 1 h 280"/>
                <a:gd name="T6" fmla="*/ 74 w 109"/>
                <a:gd name="T7" fmla="*/ 1 h 280"/>
                <a:gd name="T8" fmla="*/ 73 w 109"/>
                <a:gd name="T9" fmla="*/ 1 h 280"/>
                <a:gd name="T10" fmla="*/ 58 w 109"/>
                <a:gd name="T11" fmla="*/ 6 h 280"/>
                <a:gd name="T12" fmla="*/ 1 w 109"/>
                <a:gd name="T13" fmla="*/ 43 h 280"/>
                <a:gd name="T14" fmla="*/ 1 w 109"/>
                <a:gd name="T15" fmla="*/ 54 h 280"/>
                <a:gd name="T16" fmla="*/ 38 w 109"/>
                <a:gd name="T17" fmla="*/ 96 h 280"/>
                <a:gd name="T18" fmla="*/ 39 w 109"/>
                <a:gd name="T19" fmla="*/ 111 h 280"/>
                <a:gd name="T20" fmla="*/ 41 w 109"/>
                <a:gd name="T21" fmla="*/ 263 h 280"/>
                <a:gd name="T22" fmla="*/ 43 w 109"/>
                <a:gd name="T23" fmla="*/ 268 h 280"/>
                <a:gd name="T24" fmla="*/ 54 w 109"/>
                <a:gd name="T25" fmla="*/ 280 h 280"/>
                <a:gd name="T26" fmla="*/ 64 w 109"/>
                <a:gd name="T27" fmla="*/ 264 h 280"/>
                <a:gd name="T28" fmla="*/ 68 w 109"/>
                <a:gd name="T29" fmla="*/ 161 h 280"/>
                <a:gd name="T30" fmla="*/ 69 w 109"/>
                <a:gd name="T31" fmla="*/ 148 h 280"/>
                <a:gd name="T32" fmla="*/ 80 w 109"/>
                <a:gd name="T33" fmla="*/ 263 h 280"/>
                <a:gd name="T34" fmla="*/ 82 w 109"/>
                <a:gd name="T35" fmla="*/ 267 h 280"/>
                <a:gd name="T36" fmla="*/ 93 w 109"/>
                <a:gd name="T37" fmla="*/ 280 h 280"/>
                <a:gd name="T38" fmla="*/ 103 w 109"/>
                <a:gd name="T39" fmla="*/ 264 h 280"/>
                <a:gd name="T40" fmla="*/ 109 w 109"/>
                <a:gd name="T41" fmla="*/ 184 h 280"/>
                <a:gd name="T42" fmla="*/ 96 w 109"/>
                <a:gd name="T43" fmla="*/ 173 h 280"/>
                <a:gd name="T44" fmla="*/ 36 w 109"/>
                <a:gd name="T45" fmla="*/ 74 h 280"/>
                <a:gd name="T46" fmla="*/ 36 w 109"/>
                <a:gd name="T47" fmla="*/ 74 h 280"/>
                <a:gd name="T48" fmla="*/ 35 w 109"/>
                <a:gd name="T49" fmla="*/ 81 h 280"/>
                <a:gd name="T50" fmla="*/ 27 w 109"/>
                <a:gd name="T51" fmla="*/ 42 h 280"/>
                <a:gd name="T52" fmla="*/ 37 w 109"/>
                <a:gd name="T53" fmla="*/ 70 h 280"/>
                <a:gd name="T54" fmla="*/ 58 w 109"/>
                <a:gd name="T55" fmla="*/ 6 h 280"/>
                <a:gd name="T56" fmla="*/ 74 w 109"/>
                <a:gd name="T57" fmla="*/ 73 h 280"/>
                <a:gd name="T58" fmla="*/ 70 w 109"/>
                <a:gd name="T59" fmla="*/ 10 h 280"/>
                <a:gd name="T60" fmla="*/ 74 w 109"/>
                <a:gd name="T61" fmla="*/ 3 h 280"/>
                <a:gd name="T62" fmla="*/ 78 w 109"/>
                <a:gd name="T63" fmla="*/ 10 h 280"/>
                <a:gd name="T64" fmla="*/ 74 w 109"/>
                <a:gd name="T65" fmla="*/ 73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9" h="280">
                  <a:moveTo>
                    <a:pt x="96" y="173"/>
                  </a:moveTo>
                  <a:cubicBezTo>
                    <a:pt x="96" y="7"/>
                    <a:pt x="96" y="7"/>
                    <a:pt x="96" y="7"/>
                  </a:cubicBezTo>
                  <a:cubicBezTo>
                    <a:pt x="92" y="6"/>
                    <a:pt x="90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6" y="5"/>
                    <a:pt x="10" y="17"/>
                    <a:pt x="1" y="43"/>
                  </a:cubicBezTo>
                  <a:cubicBezTo>
                    <a:pt x="0" y="44"/>
                    <a:pt x="0" y="45"/>
                    <a:pt x="1" y="46"/>
                  </a:cubicBezTo>
                  <a:cubicBezTo>
                    <a:pt x="0" y="48"/>
                    <a:pt x="0" y="51"/>
                    <a:pt x="1" y="54"/>
                  </a:cubicBezTo>
                  <a:cubicBezTo>
                    <a:pt x="1" y="54"/>
                    <a:pt x="29" y="102"/>
                    <a:pt x="37" y="97"/>
                  </a:cubicBezTo>
                  <a:cubicBezTo>
                    <a:pt x="38" y="97"/>
                    <a:pt x="38" y="96"/>
                    <a:pt x="38" y="96"/>
                  </a:cubicBezTo>
                  <a:cubicBezTo>
                    <a:pt x="39" y="96"/>
                    <a:pt x="39" y="97"/>
                    <a:pt x="39" y="98"/>
                  </a:cubicBezTo>
                  <a:cubicBezTo>
                    <a:pt x="40" y="107"/>
                    <a:pt x="39" y="111"/>
                    <a:pt x="39" y="111"/>
                  </a:cubicBezTo>
                  <a:cubicBezTo>
                    <a:pt x="39" y="111"/>
                    <a:pt x="39" y="111"/>
                    <a:pt x="39" y="111"/>
                  </a:cubicBezTo>
                  <a:cubicBezTo>
                    <a:pt x="37" y="127"/>
                    <a:pt x="34" y="167"/>
                    <a:pt x="41" y="263"/>
                  </a:cubicBezTo>
                  <a:cubicBezTo>
                    <a:pt x="41" y="263"/>
                    <a:pt x="42" y="264"/>
                    <a:pt x="43" y="264"/>
                  </a:cubicBezTo>
                  <a:cubicBezTo>
                    <a:pt x="43" y="268"/>
                    <a:pt x="43" y="268"/>
                    <a:pt x="43" y="268"/>
                  </a:cubicBezTo>
                  <a:cubicBezTo>
                    <a:pt x="43" y="274"/>
                    <a:pt x="48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cubicBezTo>
                    <a:pt x="60" y="280"/>
                    <a:pt x="64" y="274"/>
                    <a:pt x="64" y="268"/>
                  </a:cubicBezTo>
                  <a:cubicBezTo>
                    <a:pt x="64" y="264"/>
                    <a:pt x="64" y="264"/>
                    <a:pt x="64" y="264"/>
                  </a:cubicBezTo>
                  <a:cubicBezTo>
                    <a:pt x="65" y="264"/>
                    <a:pt x="66" y="264"/>
                    <a:pt x="66" y="263"/>
                  </a:cubicBezTo>
                  <a:cubicBezTo>
                    <a:pt x="68" y="228"/>
                    <a:pt x="66" y="190"/>
                    <a:pt x="68" y="161"/>
                  </a:cubicBezTo>
                  <a:cubicBezTo>
                    <a:pt x="68" y="160"/>
                    <a:pt x="68" y="160"/>
                    <a:pt x="68" y="159"/>
                  </a:cubicBezTo>
                  <a:cubicBezTo>
                    <a:pt x="68" y="156"/>
                    <a:pt x="68" y="152"/>
                    <a:pt x="69" y="148"/>
                  </a:cubicBezTo>
                  <a:cubicBezTo>
                    <a:pt x="70" y="139"/>
                    <a:pt x="71" y="131"/>
                    <a:pt x="73" y="126"/>
                  </a:cubicBezTo>
                  <a:cubicBezTo>
                    <a:pt x="82" y="148"/>
                    <a:pt x="78" y="210"/>
                    <a:pt x="80" y="263"/>
                  </a:cubicBezTo>
                  <a:cubicBezTo>
                    <a:pt x="81" y="264"/>
                    <a:pt x="81" y="264"/>
                    <a:pt x="82" y="264"/>
                  </a:cubicBezTo>
                  <a:cubicBezTo>
                    <a:pt x="82" y="267"/>
                    <a:pt x="82" y="267"/>
                    <a:pt x="82" y="267"/>
                  </a:cubicBezTo>
                  <a:cubicBezTo>
                    <a:pt x="82" y="274"/>
                    <a:pt x="87" y="280"/>
                    <a:pt x="93" y="280"/>
                  </a:cubicBezTo>
                  <a:cubicBezTo>
                    <a:pt x="93" y="280"/>
                    <a:pt x="93" y="280"/>
                    <a:pt x="93" y="280"/>
                  </a:cubicBezTo>
                  <a:cubicBezTo>
                    <a:pt x="99" y="280"/>
                    <a:pt x="103" y="274"/>
                    <a:pt x="103" y="267"/>
                  </a:cubicBezTo>
                  <a:cubicBezTo>
                    <a:pt x="103" y="264"/>
                    <a:pt x="103" y="264"/>
                    <a:pt x="103" y="264"/>
                  </a:cubicBezTo>
                  <a:cubicBezTo>
                    <a:pt x="104" y="263"/>
                    <a:pt x="105" y="263"/>
                    <a:pt x="105" y="263"/>
                  </a:cubicBezTo>
                  <a:cubicBezTo>
                    <a:pt x="107" y="231"/>
                    <a:pt x="109" y="205"/>
                    <a:pt x="109" y="18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1" y="184"/>
                    <a:pt x="96" y="179"/>
                    <a:pt x="96" y="173"/>
                  </a:cubicBezTo>
                  <a:close/>
                  <a:moveTo>
                    <a:pt x="37" y="70"/>
                  </a:moveTo>
                  <a:cubicBezTo>
                    <a:pt x="36" y="71"/>
                    <a:pt x="36" y="72"/>
                    <a:pt x="36" y="74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5" y="76"/>
                    <a:pt x="35" y="78"/>
                    <a:pt x="35" y="80"/>
                  </a:cubicBezTo>
                  <a:cubicBezTo>
                    <a:pt x="35" y="80"/>
                    <a:pt x="35" y="80"/>
                    <a:pt x="35" y="81"/>
                  </a:cubicBezTo>
                  <a:cubicBezTo>
                    <a:pt x="30" y="67"/>
                    <a:pt x="21" y="51"/>
                    <a:pt x="19" y="46"/>
                  </a:cubicBezTo>
                  <a:cubicBezTo>
                    <a:pt x="22" y="45"/>
                    <a:pt x="25" y="43"/>
                    <a:pt x="27" y="42"/>
                  </a:cubicBezTo>
                  <a:cubicBezTo>
                    <a:pt x="31" y="40"/>
                    <a:pt x="39" y="36"/>
                    <a:pt x="45" y="33"/>
                  </a:cubicBezTo>
                  <a:lnTo>
                    <a:pt x="37" y="70"/>
                  </a:lnTo>
                  <a:close/>
                  <a:moveTo>
                    <a:pt x="58" y="6"/>
                  </a:move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lose/>
                  <a:moveTo>
                    <a:pt x="74" y="73"/>
                  </a:moveTo>
                  <a:cubicBezTo>
                    <a:pt x="69" y="68"/>
                    <a:pt x="69" y="68"/>
                    <a:pt x="69" y="68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69" y="9"/>
                    <a:pt x="69" y="9"/>
                    <a:pt x="69" y="8"/>
                  </a:cubicBezTo>
                  <a:cubicBezTo>
                    <a:pt x="69" y="5"/>
                    <a:pt x="71" y="3"/>
                    <a:pt x="74" y="3"/>
                  </a:cubicBezTo>
                  <a:cubicBezTo>
                    <a:pt x="76" y="3"/>
                    <a:pt x="78" y="5"/>
                    <a:pt x="78" y="8"/>
                  </a:cubicBezTo>
                  <a:cubicBezTo>
                    <a:pt x="78" y="9"/>
                    <a:pt x="78" y="9"/>
                    <a:pt x="78" y="10"/>
                  </a:cubicBezTo>
                  <a:cubicBezTo>
                    <a:pt x="79" y="68"/>
                    <a:pt x="79" y="68"/>
                    <a:pt x="79" y="68"/>
                  </a:cubicBezTo>
                  <a:lnTo>
                    <a:pt x="74" y="7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8822822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AA25E4F-1112-47B8-B1C8-35AA258FFAF6}"/>
              </a:ext>
            </a:extLst>
          </p:cNvPr>
          <p:cNvSpPr txBox="1"/>
          <p:nvPr/>
        </p:nvSpPr>
        <p:spPr>
          <a:xfrm>
            <a:off x="14354" y="2032970"/>
            <a:ext cx="159570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rgbClr val="0070C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</a:p>
          <a:p>
            <a:pPr algn="ctr"/>
            <a:r>
              <a:rPr lang="en-US" sz="1200" b="1" dirty="0">
                <a:solidFill>
                  <a:srgbClr val="0070C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inancial Institutions</a:t>
            </a:r>
          </a:p>
          <a:p>
            <a:pPr algn="ctr"/>
            <a:r>
              <a:rPr lang="en-US" sz="1200" b="1" dirty="0">
                <a:solidFill>
                  <a:srgbClr val="0070C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&amp;</a:t>
            </a:r>
          </a:p>
          <a:p>
            <a:pPr algn="ctr"/>
            <a:r>
              <a:rPr lang="en-US" sz="1200" b="1" dirty="0">
                <a:solidFill>
                  <a:srgbClr val="0070C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ublic Sector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54AB5C0-B0BE-47F8-B60A-49FC90E47267}"/>
              </a:ext>
            </a:extLst>
          </p:cNvPr>
          <p:cNvSpPr txBox="1"/>
          <p:nvPr/>
        </p:nvSpPr>
        <p:spPr>
          <a:xfrm>
            <a:off x="1966685" y="1480495"/>
            <a:ext cx="2043545" cy="15699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13" dirty="0">
                <a:solidFill>
                  <a:srgbClr val="00B05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ligned</a:t>
            </a:r>
          </a:p>
          <a:p>
            <a:pPr marL="346472" lvl="1" indent="-214313">
              <a:buFont typeface="Arial" panose="020B0604020202020204" pitchFamily="34" charset="0"/>
              <a:buChar char="•"/>
            </a:pPr>
            <a:endParaRPr lang="en-US" sz="788" dirty="0">
              <a:solidFill>
                <a:srgbClr val="00B0F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346472" lvl="1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0B05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educe incidents</a:t>
            </a:r>
          </a:p>
          <a:p>
            <a:pPr marL="346472" lvl="1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0B05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inancial Stability</a:t>
            </a:r>
          </a:p>
          <a:p>
            <a:pPr marL="346472" lvl="1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0B05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uild resilienc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en-US" sz="1050" dirty="0">
              <a:solidFill>
                <a:srgbClr val="00B0F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en-US" sz="1013" dirty="0">
              <a:solidFill>
                <a:srgbClr val="00B0F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algn="ctr"/>
            <a:endParaRPr lang="en-US" sz="1013" dirty="0">
              <a:solidFill>
                <a:srgbClr val="00B0F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23C9F11-7D18-44F0-84FA-611BF5BCB921}"/>
              </a:ext>
            </a:extLst>
          </p:cNvPr>
          <p:cNvSpPr txBox="1"/>
          <p:nvPr/>
        </p:nvSpPr>
        <p:spPr>
          <a:xfrm>
            <a:off x="1947301" y="2959648"/>
            <a:ext cx="2152091" cy="1500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13" dirty="0">
                <a:solidFill>
                  <a:srgbClr val="FF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ot Aligned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en-US" sz="788" dirty="0">
              <a:solidFill>
                <a:srgbClr val="00B0F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346472" lvl="1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FF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reach reporting</a:t>
            </a:r>
          </a:p>
          <a:p>
            <a:pPr marL="346472" lvl="1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FF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ata protection</a:t>
            </a:r>
          </a:p>
          <a:p>
            <a:pPr marL="346472" lvl="1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FF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ata ownership</a:t>
            </a:r>
          </a:p>
          <a:p>
            <a:pPr marL="346472" lvl="1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FF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hen unclear liabilitie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en-US" sz="1050" dirty="0">
              <a:solidFill>
                <a:srgbClr val="00B0F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82C7B42-D797-45B7-9039-DB8073B7991F}"/>
              </a:ext>
            </a:extLst>
          </p:cNvPr>
          <p:cNvSpPr txBox="1"/>
          <p:nvPr/>
        </p:nvSpPr>
        <p:spPr>
          <a:xfrm>
            <a:off x="4220170" y="1933490"/>
            <a:ext cx="14156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ramework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B9B1802-C1DC-437E-92E3-BD4BC57A4E54}"/>
              </a:ext>
            </a:extLst>
          </p:cNvPr>
          <p:cNvSpPr txBox="1"/>
          <p:nvPr/>
        </p:nvSpPr>
        <p:spPr>
          <a:xfrm>
            <a:off x="3973637" y="3145948"/>
            <a:ext cx="18403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ules</a:t>
            </a:r>
          </a:p>
          <a:p>
            <a:pPr algn="ctr"/>
            <a:r>
              <a:rPr lang="en-US" sz="1600" b="1" dirty="0">
                <a:solidFill>
                  <a:srgbClr val="0020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&amp;</a:t>
            </a:r>
          </a:p>
          <a:p>
            <a:pPr algn="ctr"/>
            <a:r>
              <a:rPr lang="en-US" sz="1600" b="1" dirty="0">
                <a:solidFill>
                  <a:srgbClr val="0020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tandard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11ADE1C-C56C-4313-8B1F-8B581681EF93}"/>
              </a:ext>
            </a:extLst>
          </p:cNvPr>
          <p:cNvSpPr txBox="1"/>
          <p:nvPr/>
        </p:nvSpPr>
        <p:spPr>
          <a:xfrm>
            <a:off x="6444591" y="1498610"/>
            <a:ext cx="2747836" cy="756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B0F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lobal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B0F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rogressive</a:t>
            </a:r>
          </a:p>
          <a:p>
            <a:pPr marL="214313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B0F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ide scop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0DBEB6A-65E7-4637-AABC-6DAC863FD9CE}"/>
              </a:ext>
            </a:extLst>
          </p:cNvPr>
          <p:cNvSpPr txBox="1"/>
          <p:nvPr/>
        </p:nvSpPr>
        <p:spPr>
          <a:xfrm>
            <a:off x="2213936" y="984715"/>
            <a:ext cx="1268868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13" b="1" u="sng" dirty="0">
                <a:solidFill>
                  <a:srgbClr val="0070C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centives</a:t>
            </a:r>
            <a:r>
              <a:rPr lang="en-US" sz="1013" b="1" dirty="0">
                <a:solidFill>
                  <a:srgbClr val="0070C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2090FEB-47F2-4621-9582-1B889F7B0D37}"/>
              </a:ext>
            </a:extLst>
          </p:cNvPr>
          <p:cNvSpPr txBox="1"/>
          <p:nvPr/>
        </p:nvSpPr>
        <p:spPr>
          <a:xfrm>
            <a:off x="4259386" y="985074"/>
            <a:ext cx="1554616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13" b="1" u="sng" dirty="0">
                <a:solidFill>
                  <a:srgbClr val="0070C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egulatory solution</a:t>
            </a:r>
            <a:r>
              <a:rPr lang="en-US" sz="1013" b="1" dirty="0">
                <a:solidFill>
                  <a:srgbClr val="0070C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CB024EE-2D4B-4B33-AF07-742764BE4499}"/>
              </a:ext>
            </a:extLst>
          </p:cNvPr>
          <p:cNvSpPr txBox="1"/>
          <p:nvPr/>
        </p:nvSpPr>
        <p:spPr>
          <a:xfrm>
            <a:off x="6356273" y="984715"/>
            <a:ext cx="1268868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13" b="1" u="sng" dirty="0">
                <a:solidFill>
                  <a:srgbClr val="0070C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siderations</a:t>
            </a:r>
            <a:endParaRPr lang="en-US" sz="1013" b="1" dirty="0">
              <a:solidFill>
                <a:srgbClr val="0070C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3" name="Arrow: Right 32">
            <a:extLst>
              <a:ext uri="{FF2B5EF4-FFF2-40B4-BE49-F238E27FC236}">
                <a16:creationId xmlns:a16="http://schemas.microsoft.com/office/drawing/2014/main" id="{6E5CD4FC-92C9-4663-B332-7B1BBB53DCB0}"/>
              </a:ext>
            </a:extLst>
          </p:cNvPr>
          <p:cNvSpPr/>
          <p:nvPr/>
        </p:nvSpPr>
        <p:spPr>
          <a:xfrm rot="2018252">
            <a:off x="1363583" y="2776556"/>
            <a:ext cx="466878" cy="194460"/>
          </a:xfrm>
          <a:prstGeom prst="rightArrow">
            <a:avLst>
              <a:gd name="adj1" fmla="val 50000"/>
              <a:gd name="adj2" fmla="val 81489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4" name="Arrow: Right 33">
            <a:extLst>
              <a:ext uri="{FF2B5EF4-FFF2-40B4-BE49-F238E27FC236}">
                <a16:creationId xmlns:a16="http://schemas.microsoft.com/office/drawing/2014/main" id="{829D4A96-34EF-40F0-9AC3-3E1F4DADF867}"/>
              </a:ext>
            </a:extLst>
          </p:cNvPr>
          <p:cNvSpPr/>
          <p:nvPr/>
        </p:nvSpPr>
        <p:spPr>
          <a:xfrm rot="18841807">
            <a:off x="1390640" y="2113748"/>
            <a:ext cx="453471" cy="195468"/>
          </a:xfrm>
          <a:prstGeom prst="rightArrow">
            <a:avLst>
              <a:gd name="adj1" fmla="val 50000"/>
              <a:gd name="adj2" fmla="val 81489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39D625C-693D-4A75-98DA-E7EBA039507B}"/>
              </a:ext>
            </a:extLst>
          </p:cNvPr>
          <p:cNvCxnSpPr>
            <a:cxnSpLocks/>
          </p:cNvCxnSpPr>
          <p:nvPr/>
        </p:nvCxnSpPr>
        <p:spPr>
          <a:xfrm>
            <a:off x="2057409" y="1805746"/>
            <a:ext cx="0" cy="828911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EEEC7B2-7212-4EAE-9279-FE67A3C7D43B}"/>
              </a:ext>
            </a:extLst>
          </p:cNvPr>
          <p:cNvCxnSpPr>
            <a:cxnSpLocks/>
          </p:cNvCxnSpPr>
          <p:nvPr/>
        </p:nvCxnSpPr>
        <p:spPr>
          <a:xfrm>
            <a:off x="2031601" y="3360204"/>
            <a:ext cx="0" cy="1079067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Arrow: Right 38">
            <a:extLst>
              <a:ext uri="{FF2B5EF4-FFF2-40B4-BE49-F238E27FC236}">
                <a16:creationId xmlns:a16="http://schemas.microsoft.com/office/drawing/2014/main" id="{388998D4-5DDF-4F93-BBC1-FDB4082F78E1}"/>
              </a:ext>
            </a:extLst>
          </p:cNvPr>
          <p:cNvSpPr/>
          <p:nvPr/>
        </p:nvSpPr>
        <p:spPr>
          <a:xfrm>
            <a:off x="3675622" y="1954655"/>
            <a:ext cx="425171" cy="282289"/>
          </a:xfrm>
          <a:prstGeom prst="rightArrow">
            <a:avLst>
              <a:gd name="adj1" fmla="val 50000"/>
              <a:gd name="adj2" fmla="val 81489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0" name="Arrow: Right 39">
            <a:extLst>
              <a:ext uri="{FF2B5EF4-FFF2-40B4-BE49-F238E27FC236}">
                <a16:creationId xmlns:a16="http://schemas.microsoft.com/office/drawing/2014/main" id="{0D3619E8-90B9-4A99-A568-488601E9E086}"/>
              </a:ext>
            </a:extLst>
          </p:cNvPr>
          <p:cNvSpPr/>
          <p:nvPr/>
        </p:nvSpPr>
        <p:spPr>
          <a:xfrm>
            <a:off x="3686686" y="3477430"/>
            <a:ext cx="425171" cy="282289"/>
          </a:xfrm>
          <a:prstGeom prst="rightArrow">
            <a:avLst>
              <a:gd name="adj1" fmla="val 50000"/>
              <a:gd name="adj2" fmla="val 81489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1" name="Arrow: Right 40">
            <a:extLst>
              <a:ext uri="{FF2B5EF4-FFF2-40B4-BE49-F238E27FC236}">
                <a16:creationId xmlns:a16="http://schemas.microsoft.com/office/drawing/2014/main" id="{2194EC7B-4EEA-4206-A2F7-AE3CBB364FE6}"/>
              </a:ext>
            </a:extLst>
          </p:cNvPr>
          <p:cNvSpPr/>
          <p:nvPr/>
        </p:nvSpPr>
        <p:spPr>
          <a:xfrm rot="10800000">
            <a:off x="5726380" y="1965469"/>
            <a:ext cx="425171" cy="282289"/>
          </a:xfrm>
          <a:prstGeom prst="rightArrow">
            <a:avLst>
              <a:gd name="adj1" fmla="val 50000"/>
              <a:gd name="adj2" fmla="val 81489"/>
            </a:avLst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6081B37D-77E7-42D6-B19E-8092B1A97AAE}"/>
              </a:ext>
            </a:extLst>
          </p:cNvPr>
          <p:cNvCxnSpPr/>
          <p:nvPr/>
        </p:nvCxnSpPr>
        <p:spPr>
          <a:xfrm>
            <a:off x="6306408" y="1578079"/>
            <a:ext cx="0" cy="983006"/>
          </a:xfrm>
          <a:prstGeom prst="line">
            <a:avLst/>
          </a:prstGeom>
          <a:ln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83074B14-A419-4EDC-BD0E-707039550A6B}"/>
              </a:ext>
            </a:extLst>
          </p:cNvPr>
          <p:cNvSpPr/>
          <p:nvPr/>
        </p:nvSpPr>
        <p:spPr>
          <a:xfrm rot="20393502">
            <a:off x="5668842" y="3274666"/>
            <a:ext cx="514014" cy="206587"/>
          </a:xfrm>
          <a:prstGeom prst="rightArrow">
            <a:avLst>
              <a:gd name="adj1" fmla="val 50000"/>
              <a:gd name="adj2" fmla="val 81489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1884A26-B6BF-4FDD-AD8F-97A842555B8B}"/>
              </a:ext>
            </a:extLst>
          </p:cNvPr>
          <p:cNvSpPr txBox="1"/>
          <p:nvPr/>
        </p:nvSpPr>
        <p:spPr>
          <a:xfrm>
            <a:off x="6225292" y="2820103"/>
            <a:ext cx="254263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00B05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o not create Fragmentation</a:t>
            </a:r>
          </a:p>
          <a:p>
            <a:pPr marL="346472" lvl="1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B05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vergence to leading practices</a:t>
            </a:r>
          </a:p>
          <a:p>
            <a:pPr marL="346472" lvl="1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0B05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educe unnecessary burden</a:t>
            </a:r>
            <a:endParaRPr lang="en-US" sz="1000" dirty="0">
              <a:solidFill>
                <a:srgbClr val="00B0F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6" name="Arrow: Right 45">
            <a:extLst>
              <a:ext uri="{FF2B5EF4-FFF2-40B4-BE49-F238E27FC236}">
                <a16:creationId xmlns:a16="http://schemas.microsoft.com/office/drawing/2014/main" id="{86F29D61-2F60-4836-9949-072DBAC783D6}"/>
              </a:ext>
            </a:extLst>
          </p:cNvPr>
          <p:cNvSpPr/>
          <p:nvPr/>
        </p:nvSpPr>
        <p:spPr>
          <a:xfrm rot="2316744">
            <a:off x="5643702" y="3705146"/>
            <a:ext cx="499849" cy="204764"/>
          </a:xfrm>
          <a:prstGeom prst="rightArrow">
            <a:avLst>
              <a:gd name="adj1" fmla="val 50000"/>
              <a:gd name="adj2" fmla="val 81489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D779FFA4-6055-405C-89B3-179C8EEEAA41}"/>
              </a:ext>
            </a:extLst>
          </p:cNvPr>
          <p:cNvSpPr txBox="1"/>
          <p:nvPr/>
        </p:nvSpPr>
        <p:spPr>
          <a:xfrm>
            <a:off x="6225292" y="3683319"/>
            <a:ext cx="2666040" cy="15542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FF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reate Fragmentation</a:t>
            </a:r>
          </a:p>
          <a:p>
            <a:pPr marL="346472" lvl="1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Lack of International coordination</a:t>
            </a:r>
          </a:p>
          <a:p>
            <a:pPr marL="346472" lvl="1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No Convergence to leading practices</a:t>
            </a:r>
          </a:p>
          <a:p>
            <a:pPr marL="346472" lvl="1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o not Maximize efficiency &amp; resilience</a:t>
            </a:r>
          </a:p>
          <a:p>
            <a:pPr marL="346472" lvl="1" indent="-21431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FF000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o not Reduce unnecessary burde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endParaRPr lang="en-US" sz="1000" dirty="0">
              <a:solidFill>
                <a:srgbClr val="00B0F0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2AC70F53-9DCF-4838-B624-55D01BC8F771}"/>
              </a:ext>
            </a:extLst>
          </p:cNvPr>
          <p:cNvCxnSpPr>
            <a:cxnSpLocks/>
          </p:cNvCxnSpPr>
          <p:nvPr/>
        </p:nvCxnSpPr>
        <p:spPr>
          <a:xfrm>
            <a:off x="6319708" y="3989440"/>
            <a:ext cx="0" cy="93283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2EE8975F-B097-4BAD-B872-1A45389A3EEB}"/>
              </a:ext>
            </a:extLst>
          </p:cNvPr>
          <p:cNvCxnSpPr>
            <a:cxnSpLocks/>
          </p:cNvCxnSpPr>
          <p:nvPr/>
        </p:nvCxnSpPr>
        <p:spPr>
          <a:xfrm flipH="1">
            <a:off x="6319708" y="3145949"/>
            <a:ext cx="3710" cy="435902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ight Brace 1">
            <a:extLst>
              <a:ext uri="{FF2B5EF4-FFF2-40B4-BE49-F238E27FC236}">
                <a16:creationId xmlns:a16="http://schemas.microsoft.com/office/drawing/2014/main" id="{D33EAE5D-81F3-48BD-A54D-92575328159F}"/>
              </a:ext>
            </a:extLst>
          </p:cNvPr>
          <p:cNvSpPr/>
          <p:nvPr/>
        </p:nvSpPr>
        <p:spPr>
          <a:xfrm>
            <a:off x="5389350" y="3223280"/>
            <a:ext cx="183442" cy="76616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13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9" name="CuadroTexto 6">
            <a:extLst>
              <a:ext uri="{FF2B5EF4-FFF2-40B4-BE49-F238E27FC236}">
                <a16:creationId xmlns:a16="http://schemas.microsoft.com/office/drawing/2014/main" id="{FAFC9310-09FD-492A-AE98-98B1A196A924}"/>
              </a:ext>
            </a:extLst>
          </p:cNvPr>
          <p:cNvSpPr txBox="1"/>
          <p:nvPr/>
        </p:nvSpPr>
        <p:spPr>
          <a:xfrm>
            <a:off x="619160" y="338006"/>
            <a:ext cx="82721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cap="all" dirty="0">
                <a:solidFill>
                  <a:srgbClr val="092566"/>
                </a:solidFill>
                <a:latin typeface="Helvetica" pitchFamily="2" charset="0"/>
              </a:rPr>
              <a:t>Need for Global Framework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E9DBBE4-F8FD-462B-9935-7CE0B2B1090F}"/>
              </a:ext>
            </a:extLst>
          </p:cNvPr>
          <p:cNvGrpSpPr>
            <a:grpSpLocks noChangeAspect="1"/>
          </p:cNvGrpSpPr>
          <p:nvPr/>
        </p:nvGrpSpPr>
        <p:grpSpPr>
          <a:xfrm>
            <a:off x="8776903" y="56703"/>
            <a:ext cx="384048" cy="384048"/>
            <a:chOff x="676331" y="3719310"/>
            <a:chExt cx="951614" cy="951614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649726E5-438E-45E8-8351-A842EEA16905}"/>
                </a:ext>
              </a:extLst>
            </p:cNvPr>
            <p:cNvSpPr/>
            <p:nvPr/>
          </p:nvSpPr>
          <p:spPr bwMode="gray">
            <a:xfrm>
              <a:off x="676331" y="3719310"/>
              <a:ext cx="951614" cy="95161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32" name="Group 70">
              <a:extLst>
                <a:ext uri="{FF2B5EF4-FFF2-40B4-BE49-F238E27FC236}">
                  <a16:creationId xmlns:a16="http://schemas.microsoft.com/office/drawing/2014/main" id="{687B0632-74E0-454E-B54E-1814A0E1BCF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 rot="5400000">
              <a:off x="849838" y="3834995"/>
              <a:ext cx="606448" cy="609664"/>
              <a:chOff x="2645" y="1778"/>
              <a:chExt cx="754" cy="758"/>
            </a:xfrm>
            <a:solidFill>
              <a:schemeClr val="accent1"/>
            </a:solidFill>
          </p:grpSpPr>
          <p:sp>
            <p:nvSpPr>
              <p:cNvPr id="35" name="Freeform 71">
                <a:extLst>
                  <a:ext uri="{FF2B5EF4-FFF2-40B4-BE49-F238E27FC236}">
                    <a16:creationId xmlns:a16="http://schemas.microsoft.com/office/drawing/2014/main" id="{57770D47-1F4B-4653-B175-D207C4C367F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45" y="2008"/>
                <a:ext cx="314" cy="302"/>
              </a:xfrm>
              <a:custGeom>
                <a:avLst/>
                <a:gdLst>
                  <a:gd name="T0" fmla="*/ 144 w 150"/>
                  <a:gd name="T1" fmla="*/ 63 h 145"/>
                  <a:gd name="T2" fmla="*/ 81 w 150"/>
                  <a:gd name="T3" fmla="*/ 2 h 145"/>
                  <a:gd name="T4" fmla="*/ 70 w 150"/>
                  <a:gd name="T5" fmla="*/ 3 h 145"/>
                  <a:gd name="T6" fmla="*/ 64 w 150"/>
                  <a:gd name="T7" fmla="*/ 13 h 145"/>
                  <a:gd name="T8" fmla="*/ 64 w 150"/>
                  <a:gd name="T9" fmla="*/ 53 h 145"/>
                  <a:gd name="T10" fmla="*/ 20 w 150"/>
                  <a:gd name="T11" fmla="*/ 53 h 145"/>
                  <a:gd name="T12" fmla="*/ 0 w 150"/>
                  <a:gd name="T13" fmla="*/ 73 h 145"/>
                  <a:gd name="T14" fmla="*/ 20 w 150"/>
                  <a:gd name="T15" fmla="*/ 93 h 145"/>
                  <a:gd name="T16" fmla="*/ 64 w 150"/>
                  <a:gd name="T17" fmla="*/ 93 h 145"/>
                  <a:gd name="T18" fmla="*/ 64 w 150"/>
                  <a:gd name="T19" fmla="*/ 133 h 145"/>
                  <a:gd name="T20" fmla="*/ 70 w 150"/>
                  <a:gd name="T21" fmla="*/ 143 h 145"/>
                  <a:gd name="T22" fmla="*/ 76 w 150"/>
                  <a:gd name="T23" fmla="*/ 145 h 145"/>
                  <a:gd name="T24" fmla="*/ 81 w 150"/>
                  <a:gd name="T25" fmla="*/ 144 h 145"/>
                  <a:gd name="T26" fmla="*/ 144 w 150"/>
                  <a:gd name="T27" fmla="*/ 83 h 145"/>
                  <a:gd name="T28" fmla="*/ 150 w 150"/>
                  <a:gd name="T29" fmla="*/ 73 h 145"/>
                  <a:gd name="T30" fmla="*/ 144 w 150"/>
                  <a:gd name="T31" fmla="*/ 63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0" h="145">
                    <a:moveTo>
                      <a:pt x="144" y="63"/>
                    </a:moveTo>
                    <a:cubicBezTo>
                      <a:pt x="81" y="2"/>
                      <a:pt x="81" y="2"/>
                      <a:pt x="81" y="2"/>
                    </a:cubicBezTo>
                    <a:cubicBezTo>
                      <a:pt x="78" y="0"/>
                      <a:pt x="73" y="1"/>
                      <a:pt x="70" y="3"/>
                    </a:cubicBezTo>
                    <a:cubicBezTo>
                      <a:pt x="66" y="5"/>
                      <a:pt x="64" y="9"/>
                      <a:pt x="64" y="13"/>
                    </a:cubicBezTo>
                    <a:cubicBezTo>
                      <a:pt x="64" y="53"/>
                      <a:pt x="64" y="53"/>
                      <a:pt x="64" y="53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9" y="53"/>
                      <a:pt x="0" y="62"/>
                      <a:pt x="0" y="73"/>
                    </a:cubicBezTo>
                    <a:cubicBezTo>
                      <a:pt x="0" y="84"/>
                      <a:pt x="9" y="93"/>
                      <a:pt x="20" y="93"/>
                    </a:cubicBezTo>
                    <a:cubicBezTo>
                      <a:pt x="64" y="93"/>
                      <a:pt x="64" y="93"/>
                      <a:pt x="64" y="93"/>
                    </a:cubicBezTo>
                    <a:cubicBezTo>
                      <a:pt x="64" y="133"/>
                      <a:pt x="64" y="133"/>
                      <a:pt x="64" y="133"/>
                    </a:cubicBezTo>
                    <a:cubicBezTo>
                      <a:pt x="64" y="137"/>
                      <a:pt x="66" y="141"/>
                      <a:pt x="70" y="143"/>
                    </a:cubicBezTo>
                    <a:cubicBezTo>
                      <a:pt x="72" y="144"/>
                      <a:pt x="74" y="145"/>
                      <a:pt x="76" y="145"/>
                    </a:cubicBezTo>
                    <a:cubicBezTo>
                      <a:pt x="78" y="145"/>
                      <a:pt x="80" y="145"/>
                      <a:pt x="81" y="144"/>
                    </a:cubicBezTo>
                    <a:cubicBezTo>
                      <a:pt x="144" y="83"/>
                      <a:pt x="144" y="83"/>
                      <a:pt x="144" y="83"/>
                    </a:cubicBezTo>
                    <a:cubicBezTo>
                      <a:pt x="147" y="80"/>
                      <a:pt x="150" y="77"/>
                      <a:pt x="150" y="73"/>
                    </a:cubicBezTo>
                    <a:cubicBezTo>
                      <a:pt x="150" y="69"/>
                      <a:pt x="148" y="66"/>
                      <a:pt x="144" y="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8" name="Freeform 72">
                <a:extLst>
                  <a:ext uri="{FF2B5EF4-FFF2-40B4-BE49-F238E27FC236}">
                    <a16:creationId xmlns:a16="http://schemas.microsoft.com/office/drawing/2014/main" id="{6D2B024D-8A06-404F-9D54-BD9F71922EB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9" y="1782"/>
                <a:ext cx="111" cy="754"/>
              </a:xfrm>
              <a:custGeom>
                <a:avLst/>
                <a:gdLst>
                  <a:gd name="T0" fmla="*/ 21 w 53"/>
                  <a:gd name="T1" fmla="*/ 361 h 361"/>
                  <a:gd name="T2" fmla="*/ 20 w 53"/>
                  <a:gd name="T3" fmla="*/ 361 h 361"/>
                  <a:gd name="T4" fmla="*/ 1 w 53"/>
                  <a:gd name="T5" fmla="*/ 340 h 361"/>
                  <a:gd name="T6" fmla="*/ 6 w 53"/>
                  <a:gd name="T7" fmla="*/ 286 h 361"/>
                  <a:gd name="T8" fmla="*/ 13 w 53"/>
                  <a:gd name="T9" fmla="*/ 181 h 361"/>
                  <a:gd name="T10" fmla="*/ 6 w 53"/>
                  <a:gd name="T11" fmla="*/ 76 h 361"/>
                  <a:gd name="T12" fmla="*/ 1 w 53"/>
                  <a:gd name="T13" fmla="*/ 22 h 361"/>
                  <a:gd name="T14" fmla="*/ 20 w 53"/>
                  <a:gd name="T15" fmla="*/ 1 h 361"/>
                  <a:gd name="T16" fmla="*/ 41 w 53"/>
                  <a:gd name="T17" fmla="*/ 20 h 361"/>
                  <a:gd name="T18" fmla="*/ 46 w 53"/>
                  <a:gd name="T19" fmla="*/ 72 h 361"/>
                  <a:gd name="T20" fmla="*/ 53 w 53"/>
                  <a:gd name="T21" fmla="*/ 181 h 361"/>
                  <a:gd name="T22" fmla="*/ 46 w 53"/>
                  <a:gd name="T23" fmla="*/ 290 h 361"/>
                  <a:gd name="T24" fmla="*/ 41 w 53"/>
                  <a:gd name="T25" fmla="*/ 342 h 361"/>
                  <a:gd name="T26" fmla="*/ 21 w 53"/>
                  <a:gd name="T27" fmla="*/ 361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3" h="361">
                    <a:moveTo>
                      <a:pt x="21" y="361"/>
                    </a:moveTo>
                    <a:cubicBezTo>
                      <a:pt x="21" y="361"/>
                      <a:pt x="20" y="361"/>
                      <a:pt x="20" y="361"/>
                    </a:cubicBezTo>
                    <a:cubicBezTo>
                      <a:pt x="9" y="360"/>
                      <a:pt x="0" y="351"/>
                      <a:pt x="1" y="340"/>
                    </a:cubicBezTo>
                    <a:cubicBezTo>
                      <a:pt x="3" y="322"/>
                      <a:pt x="4" y="304"/>
                      <a:pt x="6" y="286"/>
                    </a:cubicBezTo>
                    <a:cubicBezTo>
                      <a:pt x="10" y="251"/>
                      <a:pt x="13" y="215"/>
                      <a:pt x="13" y="181"/>
                    </a:cubicBezTo>
                    <a:cubicBezTo>
                      <a:pt x="13" y="147"/>
                      <a:pt x="10" y="111"/>
                      <a:pt x="6" y="76"/>
                    </a:cubicBezTo>
                    <a:cubicBezTo>
                      <a:pt x="4" y="58"/>
                      <a:pt x="3" y="40"/>
                      <a:pt x="1" y="22"/>
                    </a:cubicBezTo>
                    <a:cubicBezTo>
                      <a:pt x="0" y="11"/>
                      <a:pt x="9" y="2"/>
                      <a:pt x="20" y="1"/>
                    </a:cubicBezTo>
                    <a:cubicBezTo>
                      <a:pt x="31" y="0"/>
                      <a:pt x="40" y="8"/>
                      <a:pt x="41" y="20"/>
                    </a:cubicBezTo>
                    <a:cubicBezTo>
                      <a:pt x="42" y="37"/>
                      <a:pt x="44" y="55"/>
                      <a:pt x="46" y="72"/>
                    </a:cubicBezTo>
                    <a:cubicBezTo>
                      <a:pt x="49" y="108"/>
                      <a:pt x="53" y="145"/>
                      <a:pt x="53" y="181"/>
                    </a:cubicBezTo>
                    <a:cubicBezTo>
                      <a:pt x="53" y="217"/>
                      <a:pt x="49" y="254"/>
                      <a:pt x="46" y="290"/>
                    </a:cubicBezTo>
                    <a:cubicBezTo>
                      <a:pt x="44" y="307"/>
                      <a:pt x="42" y="325"/>
                      <a:pt x="41" y="342"/>
                    </a:cubicBezTo>
                    <a:cubicBezTo>
                      <a:pt x="40" y="353"/>
                      <a:pt x="32" y="361"/>
                      <a:pt x="21" y="36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2" name="Freeform 73">
                <a:extLst>
                  <a:ext uri="{FF2B5EF4-FFF2-40B4-BE49-F238E27FC236}">
                    <a16:creationId xmlns:a16="http://schemas.microsoft.com/office/drawing/2014/main" id="{B5D75225-6D26-4AAC-8FBC-BA8CD4BF8EA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8" y="1780"/>
                <a:ext cx="163" cy="756"/>
              </a:xfrm>
              <a:custGeom>
                <a:avLst/>
                <a:gdLst>
                  <a:gd name="T0" fmla="*/ 22 w 78"/>
                  <a:gd name="T1" fmla="*/ 362 h 362"/>
                  <a:gd name="T2" fmla="*/ 17 w 78"/>
                  <a:gd name="T3" fmla="*/ 361 h 362"/>
                  <a:gd name="T4" fmla="*/ 3 w 78"/>
                  <a:gd name="T5" fmla="*/ 336 h 362"/>
                  <a:gd name="T6" fmla="*/ 11 w 78"/>
                  <a:gd name="T7" fmla="*/ 310 h 362"/>
                  <a:gd name="T8" fmla="*/ 38 w 78"/>
                  <a:gd name="T9" fmla="*/ 182 h 362"/>
                  <a:gd name="T10" fmla="*/ 11 w 78"/>
                  <a:gd name="T11" fmla="*/ 54 h 362"/>
                  <a:gd name="T12" fmla="*/ 3 w 78"/>
                  <a:gd name="T13" fmla="*/ 28 h 362"/>
                  <a:gd name="T14" fmla="*/ 17 w 78"/>
                  <a:gd name="T15" fmla="*/ 3 h 362"/>
                  <a:gd name="T16" fmla="*/ 42 w 78"/>
                  <a:gd name="T17" fmla="*/ 16 h 362"/>
                  <a:gd name="T18" fmla="*/ 49 w 78"/>
                  <a:gd name="T19" fmla="*/ 42 h 362"/>
                  <a:gd name="T20" fmla="*/ 78 w 78"/>
                  <a:gd name="T21" fmla="*/ 182 h 362"/>
                  <a:gd name="T22" fmla="*/ 49 w 78"/>
                  <a:gd name="T23" fmla="*/ 322 h 362"/>
                  <a:gd name="T24" fmla="*/ 42 w 78"/>
                  <a:gd name="T25" fmla="*/ 348 h 362"/>
                  <a:gd name="T26" fmla="*/ 22 w 78"/>
                  <a:gd name="T27" fmla="*/ 3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8" h="362">
                    <a:moveTo>
                      <a:pt x="22" y="362"/>
                    </a:moveTo>
                    <a:cubicBezTo>
                      <a:pt x="20" y="362"/>
                      <a:pt x="19" y="362"/>
                      <a:pt x="17" y="361"/>
                    </a:cubicBezTo>
                    <a:cubicBezTo>
                      <a:pt x="6" y="358"/>
                      <a:pt x="0" y="347"/>
                      <a:pt x="3" y="336"/>
                    </a:cubicBezTo>
                    <a:cubicBezTo>
                      <a:pt x="6" y="328"/>
                      <a:pt x="8" y="319"/>
                      <a:pt x="11" y="310"/>
                    </a:cubicBezTo>
                    <a:cubicBezTo>
                      <a:pt x="25" y="268"/>
                      <a:pt x="38" y="224"/>
                      <a:pt x="38" y="182"/>
                    </a:cubicBezTo>
                    <a:cubicBezTo>
                      <a:pt x="38" y="140"/>
                      <a:pt x="25" y="96"/>
                      <a:pt x="11" y="54"/>
                    </a:cubicBezTo>
                    <a:cubicBezTo>
                      <a:pt x="8" y="45"/>
                      <a:pt x="6" y="36"/>
                      <a:pt x="3" y="28"/>
                    </a:cubicBezTo>
                    <a:cubicBezTo>
                      <a:pt x="0" y="17"/>
                      <a:pt x="6" y="6"/>
                      <a:pt x="17" y="3"/>
                    </a:cubicBezTo>
                    <a:cubicBezTo>
                      <a:pt x="27" y="0"/>
                      <a:pt x="38" y="6"/>
                      <a:pt x="42" y="16"/>
                    </a:cubicBezTo>
                    <a:cubicBezTo>
                      <a:pt x="44" y="25"/>
                      <a:pt x="47" y="33"/>
                      <a:pt x="49" y="42"/>
                    </a:cubicBezTo>
                    <a:cubicBezTo>
                      <a:pt x="64" y="87"/>
                      <a:pt x="78" y="134"/>
                      <a:pt x="78" y="182"/>
                    </a:cubicBezTo>
                    <a:cubicBezTo>
                      <a:pt x="78" y="230"/>
                      <a:pt x="64" y="277"/>
                      <a:pt x="49" y="322"/>
                    </a:cubicBezTo>
                    <a:cubicBezTo>
                      <a:pt x="47" y="331"/>
                      <a:pt x="44" y="339"/>
                      <a:pt x="42" y="348"/>
                    </a:cubicBezTo>
                    <a:cubicBezTo>
                      <a:pt x="39" y="356"/>
                      <a:pt x="31" y="362"/>
                      <a:pt x="22" y="36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9" name="Freeform 74">
                <a:extLst>
                  <a:ext uri="{FF2B5EF4-FFF2-40B4-BE49-F238E27FC236}">
                    <a16:creationId xmlns:a16="http://schemas.microsoft.com/office/drawing/2014/main" id="{EB561A6E-E4E8-4B40-B953-AE764B47D22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58" y="1778"/>
                <a:ext cx="216" cy="758"/>
              </a:xfrm>
              <a:custGeom>
                <a:avLst/>
                <a:gdLst>
                  <a:gd name="T0" fmla="*/ 23 w 103"/>
                  <a:gd name="T1" fmla="*/ 363 h 363"/>
                  <a:gd name="T2" fmla="*/ 13 w 103"/>
                  <a:gd name="T3" fmla="*/ 361 h 363"/>
                  <a:gd name="T4" fmla="*/ 5 w 103"/>
                  <a:gd name="T5" fmla="*/ 333 h 363"/>
                  <a:gd name="T6" fmla="*/ 15 w 103"/>
                  <a:gd name="T7" fmla="*/ 316 h 363"/>
                  <a:gd name="T8" fmla="*/ 63 w 103"/>
                  <a:gd name="T9" fmla="*/ 183 h 363"/>
                  <a:gd name="T10" fmla="*/ 14 w 103"/>
                  <a:gd name="T11" fmla="*/ 50 h 363"/>
                  <a:gd name="T12" fmla="*/ 5 w 103"/>
                  <a:gd name="T13" fmla="*/ 33 h 363"/>
                  <a:gd name="T14" fmla="*/ 13 w 103"/>
                  <a:gd name="T15" fmla="*/ 5 h 363"/>
                  <a:gd name="T16" fmla="*/ 40 w 103"/>
                  <a:gd name="T17" fmla="*/ 13 h 363"/>
                  <a:gd name="T18" fmla="*/ 49 w 103"/>
                  <a:gd name="T19" fmla="*/ 30 h 363"/>
                  <a:gd name="T20" fmla="*/ 103 w 103"/>
                  <a:gd name="T21" fmla="*/ 183 h 363"/>
                  <a:gd name="T22" fmla="*/ 49 w 103"/>
                  <a:gd name="T23" fmla="*/ 336 h 363"/>
                  <a:gd name="T24" fmla="*/ 40 w 103"/>
                  <a:gd name="T25" fmla="*/ 353 h 363"/>
                  <a:gd name="T26" fmla="*/ 23 w 103"/>
                  <a:gd name="T27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3" h="363">
                    <a:moveTo>
                      <a:pt x="23" y="363"/>
                    </a:moveTo>
                    <a:cubicBezTo>
                      <a:pt x="19" y="363"/>
                      <a:pt x="16" y="362"/>
                      <a:pt x="13" y="361"/>
                    </a:cubicBezTo>
                    <a:cubicBezTo>
                      <a:pt x="3" y="355"/>
                      <a:pt x="0" y="343"/>
                      <a:pt x="5" y="333"/>
                    </a:cubicBezTo>
                    <a:cubicBezTo>
                      <a:pt x="8" y="328"/>
                      <a:pt x="11" y="322"/>
                      <a:pt x="15" y="316"/>
                    </a:cubicBezTo>
                    <a:cubicBezTo>
                      <a:pt x="38" y="274"/>
                      <a:pt x="63" y="231"/>
                      <a:pt x="63" y="183"/>
                    </a:cubicBezTo>
                    <a:cubicBezTo>
                      <a:pt x="63" y="135"/>
                      <a:pt x="38" y="92"/>
                      <a:pt x="14" y="50"/>
                    </a:cubicBezTo>
                    <a:cubicBezTo>
                      <a:pt x="11" y="44"/>
                      <a:pt x="8" y="38"/>
                      <a:pt x="5" y="33"/>
                    </a:cubicBezTo>
                    <a:cubicBezTo>
                      <a:pt x="0" y="23"/>
                      <a:pt x="3" y="11"/>
                      <a:pt x="13" y="5"/>
                    </a:cubicBezTo>
                    <a:cubicBezTo>
                      <a:pt x="23" y="0"/>
                      <a:pt x="35" y="4"/>
                      <a:pt x="40" y="13"/>
                    </a:cubicBezTo>
                    <a:cubicBezTo>
                      <a:pt x="43" y="19"/>
                      <a:pt x="46" y="24"/>
                      <a:pt x="49" y="30"/>
                    </a:cubicBezTo>
                    <a:cubicBezTo>
                      <a:pt x="75" y="77"/>
                      <a:pt x="103" y="125"/>
                      <a:pt x="103" y="183"/>
                    </a:cubicBezTo>
                    <a:cubicBezTo>
                      <a:pt x="103" y="241"/>
                      <a:pt x="76" y="289"/>
                      <a:pt x="49" y="336"/>
                    </a:cubicBezTo>
                    <a:cubicBezTo>
                      <a:pt x="46" y="342"/>
                      <a:pt x="43" y="347"/>
                      <a:pt x="40" y="353"/>
                    </a:cubicBezTo>
                    <a:cubicBezTo>
                      <a:pt x="36" y="359"/>
                      <a:pt x="30" y="363"/>
                      <a:pt x="23" y="3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0" name="Freeform 75">
                <a:extLst>
                  <a:ext uri="{FF2B5EF4-FFF2-40B4-BE49-F238E27FC236}">
                    <a16:creationId xmlns:a16="http://schemas.microsoft.com/office/drawing/2014/main" id="{9995E2F9-91D7-416E-8C57-108FBA44B6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5" y="1784"/>
                <a:ext cx="84" cy="752"/>
              </a:xfrm>
              <a:custGeom>
                <a:avLst/>
                <a:gdLst>
                  <a:gd name="T0" fmla="*/ 20 w 40"/>
                  <a:gd name="T1" fmla="*/ 360 h 360"/>
                  <a:gd name="T2" fmla="*/ 0 w 40"/>
                  <a:gd name="T3" fmla="*/ 340 h 360"/>
                  <a:gd name="T4" fmla="*/ 0 w 40"/>
                  <a:gd name="T5" fmla="*/ 20 h 360"/>
                  <a:gd name="T6" fmla="*/ 20 w 40"/>
                  <a:gd name="T7" fmla="*/ 0 h 360"/>
                  <a:gd name="T8" fmla="*/ 40 w 40"/>
                  <a:gd name="T9" fmla="*/ 20 h 360"/>
                  <a:gd name="T10" fmla="*/ 40 w 40"/>
                  <a:gd name="T11" fmla="*/ 340 h 360"/>
                  <a:gd name="T12" fmla="*/ 20 w 40"/>
                  <a:gd name="T13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360">
                    <a:moveTo>
                      <a:pt x="20" y="360"/>
                    </a:moveTo>
                    <a:cubicBezTo>
                      <a:pt x="9" y="360"/>
                      <a:pt x="0" y="351"/>
                      <a:pt x="0" y="34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40"/>
                      <a:pt x="40" y="340"/>
                      <a:pt x="40" y="340"/>
                    </a:cubicBezTo>
                    <a:cubicBezTo>
                      <a:pt x="40" y="351"/>
                      <a:pt x="31" y="360"/>
                      <a:pt x="20" y="36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198093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24">
            <a:extLst>
              <a:ext uri="{FF2B5EF4-FFF2-40B4-BE49-F238E27FC236}">
                <a16:creationId xmlns:a16="http://schemas.microsoft.com/office/drawing/2014/main" id="{8E45EEDA-B58E-40CA-AD5E-8BA667071180}"/>
              </a:ext>
            </a:extLst>
          </p:cNvPr>
          <p:cNvSpPr txBox="1"/>
          <p:nvPr/>
        </p:nvSpPr>
        <p:spPr>
          <a:xfrm>
            <a:off x="6059406" y="3138961"/>
            <a:ext cx="2439724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8104">
              <a:spcBef>
                <a:spcPts val="525"/>
              </a:spcBef>
            </a:pPr>
            <a:r>
              <a:rPr lang="es-ES" sz="1500" b="1" spc="-75" dirty="0">
                <a:solidFill>
                  <a:srgbClr val="FFFFFF"/>
                </a:solidFill>
                <a:latin typeface="Calibri"/>
                <a:cs typeface="Calibri"/>
              </a:rPr>
              <a:t>6</a:t>
            </a:r>
            <a:endParaRPr sz="1500" dirty="0">
              <a:latin typeface="Calibri"/>
              <a:cs typeface="Calibri"/>
            </a:endParaRPr>
          </a:p>
        </p:txBody>
      </p:sp>
      <p:sp>
        <p:nvSpPr>
          <p:cNvPr id="5" name="object 3">
            <a:extLst>
              <a:ext uri="{FF2B5EF4-FFF2-40B4-BE49-F238E27FC236}">
                <a16:creationId xmlns:a16="http://schemas.microsoft.com/office/drawing/2014/main" id="{BD34A95C-B184-4AA1-BF4C-D7BD754E492C}"/>
              </a:ext>
            </a:extLst>
          </p:cNvPr>
          <p:cNvSpPr/>
          <p:nvPr/>
        </p:nvSpPr>
        <p:spPr>
          <a:xfrm>
            <a:off x="6002227" y="1144429"/>
            <a:ext cx="2407482" cy="1712486"/>
          </a:xfrm>
          <a:custGeom>
            <a:avLst/>
            <a:gdLst/>
            <a:ahLst/>
            <a:cxnLst/>
            <a:rect l="l" t="t" r="r" b="b"/>
            <a:pathLst>
              <a:path w="2520315" h="1369060">
                <a:moveTo>
                  <a:pt x="0" y="1368661"/>
                </a:moveTo>
                <a:lnTo>
                  <a:pt x="2520000" y="1368661"/>
                </a:lnTo>
                <a:lnTo>
                  <a:pt x="2520000" y="0"/>
                </a:lnTo>
                <a:lnTo>
                  <a:pt x="0" y="0"/>
                </a:lnTo>
                <a:lnTo>
                  <a:pt x="0" y="1368661"/>
                </a:lnTo>
                <a:close/>
              </a:path>
            </a:pathLst>
          </a:custGeom>
          <a:solidFill>
            <a:srgbClr val="00B2B4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9" name="object 7">
            <a:extLst>
              <a:ext uri="{FF2B5EF4-FFF2-40B4-BE49-F238E27FC236}">
                <a16:creationId xmlns:a16="http://schemas.microsoft.com/office/drawing/2014/main" id="{7F361535-DAE9-4B04-8FDD-63D68BD373D6}"/>
              </a:ext>
            </a:extLst>
          </p:cNvPr>
          <p:cNvSpPr/>
          <p:nvPr/>
        </p:nvSpPr>
        <p:spPr>
          <a:xfrm>
            <a:off x="3392630" y="1144429"/>
            <a:ext cx="2410959" cy="1712486"/>
          </a:xfrm>
          <a:custGeom>
            <a:avLst/>
            <a:gdLst/>
            <a:ahLst/>
            <a:cxnLst/>
            <a:rect l="l" t="t" r="r" b="b"/>
            <a:pathLst>
              <a:path w="2520315" h="1369060">
                <a:moveTo>
                  <a:pt x="0" y="1368661"/>
                </a:moveTo>
                <a:lnTo>
                  <a:pt x="2520000" y="1368661"/>
                </a:lnTo>
                <a:lnTo>
                  <a:pt x="2520000" y="0"/>
                </a:lnTo>
                <a:lnTo>
                  <a:pt x="0" y="0"/>
                </a:lnTo>
                <a:lnTo>
                  <a:pt x="0" y="1368661"/>
                </a:lnTo>
                <a:close/>
              </a:path>
            </a:pathLst>
          </a:custGeom>
          <a:solidFill>
            <a:srgbClr val="0075C1"/>
          </a:solid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11" name="object 11">
            <a:extLst>
              <a:ext uri="{FF2B5EF4-FFF2-40B4-BE49-F238E27FC236}">
                <a16:creationId xmlns:a16="http://schemas.microsoft.com/office/drawing/2014/main" id="{7C435B20-F513-4E63-AC4D-AAF7A492E720}"/>
              </a:ext>
            </a:extLst>
          </p:cNvPr>
          <p:cNvSpPr/>
          <p:nvPr/>
        </p:nvSpPr>
        <p:spPr>
          <a:xfrm>
            <a:off x="755521" y="2893549"/>
            <a:ext cx="2409767" cy="1790716"/>
          </a:xfrm>
          <a:custGeom>
            <a:avLst/>
            <a:gdLst/>
            <a:ahLst/>
            <a:cxnLst/>
            <a:rect l="l" t="t" r="r" b="b"/>
            <a:pathLst>
              <a:path w="2520315" h="1369060">
                <a:moveTo>
                  <a:pt x="0" y="1368661"/>
                </a:moveTo>
                <a:lnTo>
                  <a:pt x="2520000" y="1368661"/>
                </a:lnTo>
                <a:lnTo>
                  <a:pt x="2520000" y="0"/>
                </a:lnTo>
                <a:lnTo>
                  <a:pt x="0" y="0"/>
                </a:lnTo>
                <a:lnTo>
                  <a:pt x="0" y="1368661"/>
                </a:lnTo>
                <a:close/>
              </a:path>
            </a:pathLst>
          </a:custGeom>
          <a:solidFill>
            <a:srgbClr val="3299D4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13" name="object 14">
            <a:extLst>
              <a:ext uri="{FF2B5EF4-FFF2-40B4-BE49-F238E27FC236}">
                <a16:creationId xmlns:a16="http://schemas.microsoft.com/office/drawing/2014/main" id="{F5C0BAB1-779E-4EB6-9CE9-3A9759E3F5E9}"/>
              </a:ext>
            </a:extLst>
          </p:cNvPr>
          <p:cNvSpPr/>
          <p:nvPr/>
        </p:nvSpPr>
        <p:spPr>
          <a:xfrm>
            <a:off x="3392629" y="2893549"/>
            <a:ext cx="2418380" cy="1790716"/>
          </a:xfrm>
          <a:custGeom>
            <a:avLst/>
            <a:gdLst/>
            <a:ahLst/>
            <a:cxnLst/>
            <a:rect l="l" t="t" r="r" b="b"/>
            <a:pathLst>
              <a:path w="2520315" h="1369060">
                <a:moveTo>
                  <a:pt x="0" y="1368661"/>
                </a:moveTo>
                <a:lnTo>
                  <a:pt x="2520000" y="1368661"/>
                </a:lnTo>
                <a:lnTo>
                  <a:pt x="2520000" y="0"/>
                </a:lnTo>
                <a:lnTo>
                  <a:pt x="0" y="0"/>
                </a:lnTo>
                <a:lnTo>
                  <a:pt x="0" y="1368661"/>
                </a:lnTo>
                <a:close/>
              </a:path>
            </a:pathLst>
          </a:custGeom>
          <a:solidFill>
            <a:srgbClr val="E0C888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15" name="object 16">
            <a:extLst>
              <a:ext uri="{FF2B5EF4-FFF2-40B4-BE49-F238E27FC236}">
                <a16:creationId xmlns:a16="http://schemas.microsoft.com/office/drawing/2014/main" id="{62F41F64-00BB-477B-AB99-B3A976B01AE3}"/>
              </a:ext>
            </a:extLst>
          </p:cNvPr>
          <p:cNvSpPr/>
          <p:nvPr/>
        </p:nvSpPr>
        <p:spPr>
          <a:xfrm>
            <a:off x="3689697" y="3749954"/>
            <a:ext cx="1941427" cy="204927"/>
          </a:xfrm>
          <a:custGeom>
            <a:avLst/>
            <a:gdLst/>
            <a:ahLst/>
            <a:cxnLst/>
            <a:rect l="l" t="t" r="r" b="b"/>
            <a:pathLst>
              <a:path w="2064385" h="163829">
                <a:moveTo>
                  <a:pt x="0" y="163372"/>
                </a:moveTo>
                <a:lnTo>
                  <a:pt x="2064358" y="163372"/>
                </a:lnTo>
                <a:lnTo>
                  <a:pt x="2064358" y="0"/>
                </a:lnTo>
                <a:lnTo>
                  <a:pt x="0" y="0"/>
                </a:lnTo>
                <a:lnTo>
                  <a:pt x="0" y="163372"/>
                </a:lnTo>
                <a:close/>
              </a:path>
            </a:pathLst>
          </a:custGeom>
          <a:solidFill>
            <a:srgbClr val="E0C888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17" name="object 18">
            <a:extLst>
              <a:ext uri="{FF2B5EF4-FFF2-40B4-BE49-F238E27FC236}">
                <a16:creationId xmlns:a16="http://schemas.microsoft.com/office/drawing/2014/main" id="{A173A3A2-ACD0-4749-8F8B-6936D3482A60}"/>
              </a:ext>
            </a:extLst>
          </p:cNvPr>
          <p:cNvSpPr/>
          <p:nvPr/>
        </p:nvSpPr>
        <p:spPr>
          <a:xfrm>
            <a:off x="3689695" y="4096495"/>
            <a:ext cx="2019658" cy="173950"/>
          </a:xfrm>
          <a:custGeom>
            <a:avLst/>
            <a:gdLst/>
            <a:ahLst/>
            <a:cxnLst/>
            <a:rect l="l" t="t" r="r" b="b"/>
            <a:pathLst>
              <a:path w="2147570" h="139064">
                <a:moveTo>
                  <a:pt x="0" y="138498"/>
                </a:moveTo>
                <a:lnTo>
                  <a:pt x="2147399" y="138498"/>
                </a:lnTo>
                <a:lnTo>
                  <a:pt x="2147399" y="0"/>
                </a:lnTo>
                <a:lnTo>
                  <a:pt x="0" y="0"/>
                </a:lnTo>
                <a:lnTo>
                  <a:pt x="0" y="138498"/>
                </a:lnTo>
                <a:close/>
              </a:path>
            </a:pathLst>
          </a:custGeom>
          <a:solidFill>
            <a:srgbClr val="E0C888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19" name="object 20">
            <a:extLst>
              <a:ext uri="{FF2B5EF4-FFF2-40B4-BE49-F238E27FC236}">
                <a16:creationId xmlns:a16="http://schemas.microsoft.com/office/drawing/2014/main" id="{17881154-8DEC-4F76-9861-92836D8506C6}"/>
              </a:ext>
            </a:extLst>
          </p:cNvPr>
          <p:cNvSpPr/>
          <p:nvPr/>
        </p:nvSpPr>
        <p:spPr>
          <a:xfrm>
            <a:off x="6010391" y="2893549"/>
            <a:ext cx="2397245" cy="1790716"/>
          </a:xfrm>
          <a:custGeom>
            <a:avLst/>
            <a:gdLst/>
            <a:ahLst/>
            <a:cxnLst/>
            <a:rect l="l" t="t" r="r" b="b"/>
            <a:pathLst>
              <a:path w="2520315" h="1369060">
                <a:moveTo>
                  <a:pt x="0" y="1368661"/>
                </a:moveTo>
                <a:lnTo>
                  <a:pt x="2520000" y="1368661"/>
                </a:lnTo>
                <a:lnTo>
                  <a:pt x="2520000" y="0"/>
                </a:lnTo>
                <a:lnTo>
                  <a:pt x="0" y="0"/>
                </a:lnTo>
                <a:lnTo>
                  <a:pt x="0" y="1368661"/>
                </a:lnTo>
                <a:close/>
              </a:path>
            </a:pathLst>
          </a:custGeom>
          <a:solidFill>
            <a:srgbClr val="6BCAFF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21" name="object 23">
            <a:extLst>
              <a:ext uri="{FF2B5EF4-FFF2-40B4-BE49-F238E27FC236}">
                <a16:creationId xmlns:a16="http://schemas.microsoft.com/office/drawing/2014/main" id="{FAC36D78-2DE3-4E4E-B70A-7FA3E7748E4A}"/>
              </a:ext>
            </a:extLst>
          </p:cNvPr>
          <p:cNvSpPr/>
          <p:nvPr/>
        </p:nvSpPr>
        <p:spPr>
          <a:xfrm>
            <a:off x="743817" y="1144429"/>
            <a:ext cx="2410935" cy="1712486"/>
          </a:xfrm>
          <a:custGeom>
            <a:avLst/>
            <a:gdLst/>
            <a:ahLst/>
            <a:cxnLst/>
            <a:rect l="l" t="t" r="r" b="b"/>
            <a:pathLst>
              <a:path w="2520315" h="1369060">
                <a:moveTo>
                  <a:pt x="0" y="1368661"/>
                </a:moveTo>
                <a:lnTo>
                  <a:pt x="2520000" y="1368661"/>
                </a:lnTo>
                <a:lnTo>
                  <a:pt x="2520000" y="0"/>
                </a:lnTo>
                <a:lnTo>
                  <a:pt x="0" y="0"/>
                </a:lnTo>
                <a:lnTo>
                  <a:pt x="0" y="1368661"/>
                </a:lnTo>
                <a:close/>
              </a:path>
            </a:pathLst>
          </a:custGeom>
          <a:solidFill>
            <a:srgbClr val="005893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22" name="object 24">
            <a:extLst>
              <a:ext uri="{FF2B5EF4-FFF2-40B4-BE49-F238E27FC236}">
                <a16:creationId xmlns:a16="http://schemas.microsoft.com/office/drawing/2014/main" id="{44398A1B-6578-4820-A4EE-019E77BB531A}"/>
              </a:ext>
            </a:extLst>
          </p:cNvPr>
          <p:cNvSpPr txBox="1"/>
          <p:nvPr/>
        </p:nvSpPr>
        <p:spPr>
          <a:xfrm>
            <a:off x="795087" y="1090033"/>
            <a:ext cx="250932" cy="390492"/>
          </a:xfrm>
          <a:prstGeom prst="rect">
            <a:avLst/>
          </a:prstGeom>
        </p:spPr>
        <p:txBody>
          <a:bodyPr vert="horz" wrap="square" lIns="0" tIns="66675" rIns="0" bIns="0" rtlCol="0">
            <a:spAutoFit/>
          </a:bodyPr>
          <a:lstStyle/>
          <a:p>
            <a:pPr marL="68104">
              <a:spcBef>
                <a:spcPts val="525"/>
              </a:spcBef>
            </a:pPr>
            <a:r>
              <a:rPr sz="2100" b="1" spc="-75" dirty="0">
                <a:solidFill>
                  <a:srgbClr val="FFFFFF"/>
                </a:solidFill>
                <a:latin typeface="Calibri"/>
                <a:cs typeface="Calibri"/>
              </a:rPr>
              <a:t>1</a:t>
            </a:r>
            <a:endParaRPr sz="2100" dirty="0">
              <a:latin typeface="Calibri"/>
              <a:cs typeface="Calibri"/>
            </a:endParaRPr>
          </a:p>
        </p:txBody>
      </p:sp>
      <p:sp>
        <p:nvSpPr>
          <p:cNvPr id="24" name="57 CuadroTexto">
            <a:extLst>
              <a:ext uri="{FF2B5EF4-FFF2-40B4-BE49-F238E27FC236}">
                <a16:creationId xmlns:a16="http://schemas.microsoft.com/office/drawing/2014/main" id="{685F4003-44CE-48FA-B058-7712705C6850}"/>
              </a:ext>
            </a:extLst>
          </p:cNvPr>
          <p:cNvSpPr txBox="1"/>
          <p:nvPr/>
        </p:nvSpPr>
        <p:spPr>
          <a:xfrm>
            <a:off x="916870" y="1500410"/>
            <a:ext cx="2028638" cy="10344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500" b="1" dirty="0">
                <a:solidFill>
                  <a:schemeClr val="bg1"/>
                </a:solidFill>
                <a:latin typeface="+mj-lt"/>
              </a:rPr>
              <a:t>Global &amp; Based on US NIST</a:t>
            </a:r>
            <a:endParaRPr lang="en-US" sz="1500" dirty="0">
              <a:solidFill>
                <a:schemeClr val="bg1"/>
              </a:solidFill>
              <a:latin typeface="+mj-lt"/>
            </a:endParaRPr>
          </a:p>
          <a:p>
            <a:pPr marL="128588" lvl="1"/>
            <a:endParaRPr lang="en-US" sz="1500" dirty="0">
              <a:solidFill>
                <a:schemeClr val="bg1"/>
              </a:solidFill>
              <a:latin typeface="+mj-lt"/>
            </a:endParaRPr>
          </a:p>
          <a:p>
            <a:pPr marL="257175" lvl="1" indent="-257175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+mj-lt"/>
              </a:rPr>
              <a:t>Already used in many jurisdictions</a:t>
            </a:r>
          </a:p>
          <a:p>
            <a:r>
              <a:rPr lang="en-US" sz="1050" dirty="0">
                <a:solidFill>
                  <a:schemeClr val="bg1"/>
                </a:solidFill>
                <a:latin typeface="+mj-lt"/>
              </a:rPr>
              <a:t> </a:t>
            </a:r>
          </a:p>
        </p:txBody>
      </p:sp>
      <p:sp>
        <p:nvSpPr>
          <p:cNvPr id="34" name="57 CuadroTexto">
            <a:extLst>
              <a:ext uri="{FF2B5EF4-FFF2-40B4-BE49-F238E27FC236}">
                <a16:creationId xmlns:a16="http://schemas.microsoft.com/office/drawing/2014/main" id="{CB2CBFEA-9314-42B3-B775-A67835D12F91}"/>
              </a:ext>
            </a:extLst>
          </p:cNvPr>
          <p:cNvSpPr txBox="1"/>
          <p:nvPr/>
        </p:nvSpPr>
        <p:spPr>
          <a:xfrm>
            <a:off x="3573469" y="1490023"/>
            <a:ext cx="2160850" cy="10344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500" b="1" dirty="0">
                <a:solidFill>
                  <a:schemeClr val="bg1"/>
                </a:solidFill>
                <a:latin typeface="+mj-lt"/>
              </a:rPr>
              <a:t>Based on Principles</a:t>
            </a:r>
            <a:endParaRPr lang="en-US" sz="1500" dirty="0">
              <a:solidFill>
                <a:schemeClr val="bg1"/>
              </a:solidFill>
              <a:latin typeface="+mj-lt"/>
            </a:endParaRPr>
          </a:p>
          <a:p>
            <a:pPr marL="128588" lvl="1"/>
            <a:endParaRPr lang="en-US" sz="1500" dirty="0">
              <a:solidFill>
                <a:schemeClr val="bg1"/>
              </a:solidFill>
              <a:latin typeface="+mj-lt"/>
            </a:endParaRPr>
          </a:p>
          <a:p>
            <a:pPr marL="257175" lvl="1" indent="-257175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+mj-lt"/>
              </a:rPr>
              <a:t>Promoting resilience</a:t>
            </a:r>
          </a:p>
          <a:p>
            <a:pPr marL="257175" lvl="1" indent="-257175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+mj-lt"/>
              </a:rPr>
              <a:t>Improving cyber-posture </a:t>
            </a:r>
          </a:p>
          <a:p>
            <a:r>
              <a:rPr lang="en-US" sz="1050" dirty="0">
                <a:solidFill>
                  <a:schemeClr val="bg1"/>
                </a:solidFill>
                <a:latin typeface="+mj-lt"/>
              </a:rPr>
              <a:t> </a:t>
            </a:r>
          </a:p>
        </p:txBody>
      </p:sp>
      <p:sp>
        <p:nvSpPr>
          <p:cNvPr id="35" name="57 CuadroTexto">
            <a:extLst>
              <a:ext uri="{FF2B5EF4-FFF2-40B4-BE49-F238E27FC236}">
                <a16:creationId xmlns:a16="http://schemas.microsoft.com/office/drawing/2014/main" id="{1F890C83-EF7B-4C8E-8DE6-C712FD5EC140}"/>
              </a:ext>
            </a:extLst>
          </p:cNvPr>
          <p:cNvSpPr txBox="1"/>
          <p:nvPr/>
        </p:nvSpPr>
        <p:spPr>
          <a:xfrm>
            <a:off x="6195432" y="1486564"/>
            <a:ext cx="2122139" cy="10344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500" b="1" dirty="0">
                <a:solidFill>
                  <a:schemeClr val="bg1"/>
                </a:solidFill>
                <a:latin typeface="+mj-lt"/>
              </a:rPr>
              <a:t>Embedded into the ERM</a:t>
            </a:r>
            <a:endParaRPr lang="en-US" sz="1500" dirty="0">
              <a:solidFill>
                <a:schemeClr val="bg1"/>
              </a:solidFill>
              <a:latin typeface="+mj-lt"/>
            </a:endParaRPr>
          </a:p>
          <a:p>
            <a:pPr marL="128588" lvl="1"/>
            <a:endParaRPr lang="en-US" sz="1500" dirty="0">
              <a:solidFill>
                <a:schemeClr val="bg1"/>
              </a:solidFill>
              <a:latin typeface="+mj-lt"/>
            </a:endParaRPr>
          </a:p>
          <a:p>
            <a:pPr marL="257175" lvl="1" indent="-257175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+mj-lt"/>
              </a:rPr>
              <a:t>As the best way to operationalize it.</a:t>
            </a:r>
          </a:p>
          <a:p>
            <a:r>
              <a:rPr lang="en-US" sz="1050" dirty="0">
                <a:solidFill>
                  <a:schemeClr val="bg1"/>
                </a:solidFill>
                <a:latin typeface="+mj-lt"/>
              </a:rPr>
              <a:t> </a:t>
            </a:r>
          </a:p>
        </p:txBody>
      </p:sp>
      <p:sp>
        <p:nvSpPr>
          <p:cNvPr id="36" name="57 CuadroTexto">
            <a:extLst>
              <a:ext uri="{FF2B5EF4-FFF2-40B4-BE49-F238E27FC236}">
                <a16:creationId xmlns:a16="http://schemas.microsoft.com/office/drawing/2014/main" id="{5211F1F1-2B90-45EF-B603-D7DF780DC017}"/>
              </a:ext>
            </a:extLst>
          </p:cNvPr>
          <p:cNvSpPr txBox="1"/>
          <p:nvPr/>
        </p:nvSpPr>
        <p:spPr>
          <a:xfrm>
            <a:off x="886694" y="3212944"/>
            <a:ext cx="2195943" cy="16612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500" b="1" dirty="0">
                <a:solidFill>
                  <a:schemeClr val="bg1"/>
                </a:solidFill>
                <a:latin typeface="+mj-lt"/>
              </a:rPr>
              <a:t>Promotes clear Governance</a:t>
            </a:r>
            <a:endParaRPr lang="en-US" sz="1500" dirty="0">
              <a:solidFill>
                <a:schemeClr val="bg1"/>
              </a:solidFill>
              <a:latin typeface="+mj-lt"/>
            </a:endParaRPr>
          </a:p>
          <a:p>
            <a:pPr marL="128588" lvl="1"/>
            <a:endParaRPr lang="en-US" sz="1500" dirty="0">
              <a:solidFill>
                <a:schemeClr val="bg1"/>
              </a:solidFill>
              <a:latin typeface="+mj-lt"/>
            </a:endParaRPr>
          </a:p>
          <a:p>
            <a:pPr marL="257175" lvl="1" indent="-257175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+mj-lt"/>
              </a:rPr>
              <a:t>Identify, Protect, Detect, Respond &amp; Recover</a:t>
            </a:r>
          </a:p>
          <a:p>
            <a:pPr marL="257175" lvl="1" indent="-257175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+mj-lt"/>
              </a:rPr>
              <a:t>Involvement of top management</a:t>
            </a:r>
          </a:p>
          <a:p>
            <a:pPr marL="0" lvl="1"/>
            <a:endParaRPr lang="en-US" sz="1500" dirty="0">
              <a:solidFill>
                <a:schemeClr val="bg1"/>
              </a:solidFill>
              <a:latin typeface="+mj-lt"/>
            </a:endParaRPr>
          </a:p>
          <a:p>
            <a:pPr marL="0" lvl="1"/>
            <a:endParaRPr lang="en-US" sz="1500" dirty="0">
              <a:solidFill>
                <a:schemeClr val="bg1"/>
              </a:solidFill>
              <a:latin typeface="+mj-lt"/>
            </a:endParaRPr>
          </a:p>
          <a:p>
            <a:r>
              <a:rPr lang="en-US" sz="1050" dirty="0">
                <a:solidFill>
                  <a:schemeClr val="bg1"/>
                </a:solidFill>
                <a:latin typeface="+mj-lt"/>
              </a:rPr>
              <a:t> </a:t>
            </a:r>
          </a:p>
        </p:txBody>
      </p:sp>
      <p:sp>
        <p:nvSpPr>
          <p:cNvPr id="37" name="57 CuadroTexto">
            <a:extLst>
              <a:ext uri="{FF2B5EF4-FFF2-40B4-BE49-F238E27FC236}">
                <a16:creationId xmlns:a16="http://schemas.microsoft.com/office/drawing/2014/main" id="{973B3ECF-07C0-4E2C-8C66-1FA1CA7ACEA3}"/>
              </a:ext>
            </a:extLst>
          </p:cNvPr>
          <p:cNvSpPr txBox="1"/>
          <p:nvPr/>
        </p:nvSpPr>
        <p:spPr>
          <a:xfrm>
            <a:off x="3639574" y="3226202"/>
            <a:ext cx="2028638" cy="125949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500" b="1" dirty="0">
                <a:solidFill>
                  <a:schemeClr val="bg1"/>
                </a:solidFill>
                <a:latin typeface="+mj-lt"/>
              </a:rPr>
              <a:t>Assumes different Starting Points</a:t>
            </a:r>
            <a:endParaRPr lang="en-US" sz="1500" dirty="0">
              <a:solidFill>
                <a:schemeClr val="bg1"/>
              </a:solidFill>
              <a:latin typeface="+mj-lt"/>
            </a:endParaRPr>
          </a:p>
          <a:p>
            <a:pPr marL="128588" lvl="1"/>
            <a:endParaRPr lang="en-US" sz="1500" dirty="0">
              <a:solidFill>
                <a:schemeClr val="bg1"/>
              </a:solidFill>
              <a:latin typeface="+mj-lt"/>
            </a:endParaRPr>
          </a:p>
          <a:p>
            <a:pPr marL="257175" lvl="1" indent="-257175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+mj-lt"/>
              </a:rPr>
              <a:t>Allows for evolution within institutions</a:t>
            </a:r>
          </a:p>
          <a:p>
            <a:r>
              <a:rPr lang="en-US" sz="1050" dirty="0">
                <a:solidFill>
                  <a:schemeClr val="bg1"/>
                </a:solidFill>
                <a:latin typeface="+mj-lt"/>
              </a:rPr>
              <a:t> </a:t>
            </a:r>
          </a:p>
        </p:txBody>
      </p:sp>
      <p:sp>
        <p:nvSpPr>
          <p:cNvPr id="38" name="57 CuadroTexto">
            <a:extLst>
              <a:ext uri="{FF2B5EF4-FFF2-40B4-BE49-F238E27FC236}">
                <a16:creationId xmlns:a16="http://schemas.microsoft.com/office/drawing/2014/main" id="{4157F044-98DF-4B0D-B658-C8FB8829DE7D}"/>
              </a:ext>
            </a:extLst>
          </p:cNvPr>
          <p:cNvSpPr txBox="1"/>
          <p:nvPr/>
        </p:nvSpPr>
        <p:spPr>
          <a:xfrm>
            <a:off x="6195432" y="3226202"/>
            <a:ext cx="2122139" cy="103440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500" b="1" dirty="0">
                <a:solidFill>
                  <a:schemeClr val="bg1"/>
                </a:solidFill>
                <a:latin typeface="+mj-lt"/>
              </a:rPr>
              <a:t>Encourage international coordination</a:t>
            </a:r>
            <a:endParaRPr lang="en-US" sz="1500" dirty="0">
              <a:solidFill>
                <a:schemeClr val="bg1"/>
              </a:solidFill>
              <a:latin typeface="+mj-lt"/>
            </a:endParaRPr>
          </a:p>
          <a:p>
            <a:pPr marL="128588" lvl="1"/>
            <a:endParaRPr lang="en-US" sz="1500" dirty="0">
              <a:solidFill>
                <a:schemeClr val="bg1"/>
              </a:solidFill>
              <a:latin typeface="+mj-lt"/>
            </a:endParaRPr>
          </a:p>
          <a:p>
            <a:pPr marL="257175" lvl="1" indent="-257175"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bg1"/>
                </a:solidFill>
                <a:latin typeface="+mj-lt"/>
              </a:rPr>
              <a:t>Key for a resilient financial  system</a:t>
            </a:r>
          </a:p>
          <a:p>
            <a:r>
              <a:rPr lang="en-US" sz="1050" dirty="0">
                <a:solidFill>
                  <a:schemeClr val="bg1"/>
                </a:solidFill>
                <a:latin typeface="+mj-lt"/>
              </a:rPr>
              <a:t> </a:t>
            </a:r>
          </a:p>
        </p:txBody>
      </p:sp>
      <p:sp>
        <p:nvSpPr>
          <p:cNvPr id="39" name="object 24">
            <a:extLst>
              <a:ext uri="{FF2B5EF4-FFF2-40B4-BE49-F238E27FC236}">
                <a16:creationId xmlns:a16="http://schemas.microsoft.com/office/drawing/2014/main" id="{C4500496-8982-49FA-848D-4410D749CC06}"/>
              </a:ext>
            </a:extLst>
          </p:cNvPr>
          <p:cNvSpPr txBox="1"/>
          <p:nvPr/>
        </p:nvSpPr>
        <p:spPr>
          <a:xfrm>
            <a:off x="3474311" y="1090159"/>
            <a:ext cx="250932" cy="390492"/>
          </a:xfrm>
          <a:prstGeom prst="rect">
            <a:avLst/>
          </a:prstGeom>
        </p:spPr>
        <p:txBody>
          <a:bodyPr vert="horz" wrap="square" lIns="0" tIns="66675" rIns="0" bIns="0" rtlCol="0">
            <a:spAutoFit/>
          </a:bodyPr>
          <a:lstStyle/>
          <a:p>
            <a:pPr marL="68104">
              <a:spcBef>
                <a:spcPts val="525"/>
              </a:spcBef>
            </a:pPr>
            <a:r>
              <a:rPr lang="en-US" sz="2100" b="1" spc="-75" dirty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2100" dirty="0">
              <a:latin typeface="Calibri"/>
              <a:cs typeface="Calibri"/>
            </a:endParaRPr>
          </a:p>
        </p:txBody>
      </p:sp>
      <p:sp>
        <p:nvSpPr>
          <p:cNvPr id="40" name="object 24">
            <a:extLst>
              <a:ext uri="{FF2B5EF4-FFF2-40B4-BE49-F238E27FC236}">
                <a16:creationId xmlns:a16="http://schemas.microsoft.com/office/drawing/2014/main" id="{EFE5FFBA-90C9-4F5C-92D1-B10D958B0BD6}"/>
              </a:ext>
            </a:extLst>
          </p:cNvPr>
          <p:cNvSpPr txBox="1"/>
          <p:nvPr/>
        </p:nvSpPr>
        <p:spPr>
          <a:xfrm>
            <a:off x="6054406" y="1092764"/>
            <a:ext cx="250932" cy="390492"/>
          </a:xfrm>
          <a:prstGeom prst="rect">
            <a:avLst/>
          </a:prstGeom>
        </p:spPr>
        <p:txBody>
          <a:bodyPr vert="horz" wrap="square" lIns="0" tIns="66675" rIns="0" bIns="0" rtlCol="0">
            <a:spAutoFit/>
          </a:bodyPr>
          <a:lstStyle/>
          <a:p>
            <a:pPr marL="68104">
              <a:spcBef>
                <a:spcPts val="525"/>
              </a:spcBef>
            </a:pPr>
            <a:r>
              <a:rPr lang="en-US" sz="2100" b="1" spc="-75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2100" dirty="0">
              <a:latin typeface="Calibri"/>
              <a:cs typeface="Calibri"/>
            </a:endParaRPr>
          </a:p>
        </p:txBody>
      </p:sp>
      <p:sp>
        <p:nvSpPr>
          <p:cNvPr id="41" name="object 24">
            <a:extLst>
              <a:ext uri="{FF2B5EF4-FFF2-40B4-BE49-F238E27FC236}">
                <a16:creationId xmlns:a16="http://schemas.microsoft.com/office/drawing/2014/main" id="{06BD4E0B-799A-4A7A-B045-97784F544D30}"/>
              </a:ext>
            </a:extLst>
          </p:cNvPr>
          <p:cNvSpPr txBox="1"/>
          <p:nvPr/>
        </p:nvSpPr>
        <p:spPr>
          <a:xfrm>
            <a:off x="791624" y="2839171"/>
            <a:ext cx="250932" cy="390492"/>
          </a:xfrm>
          <a:prstGeom prst="rect">
            <a:avLst/>
          </a:prstGeom>
        </p:spPr>
        <p:txBody>
          <a:bodyPr vert="horz" wrap="square" lIns="0" tIns="66675" rIns="0" bIns="0" rtlCol="0">
            <a:spAutoFit/>
          </a:bodyPr>
          <a:lstStyle/>
          <a:p>
            <a:pPr marL="68104">
              <a:spcBef>
                <a:spcPts val="525"/>
              </a:spcBef>
            </a:pPr>
            <a:r>
              <a:rPr lang="en-US" sz="2100" b="1" spc="-75" dirty="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100" dirty="0">
              <a:latin typeface="Calibri"/>
              <a:cs typeface="Calibri"/>
            </a:endParaRPr>
          </a:p>
        </p:txBody>
      </p:sp>
      <p:sp>
        <p:nvSpPr>
          <p:cNvPr id="42" name="object 24">
            <a:extLst>
              <a:ext uri="{FF2B5EF4-FFF2-40B4-BE49-F238E27FC236}">
                <a16:creationId xmlns:a16="http://schemas.microsoft.com/office/drawing/2014/main" id="{9F8A43B4-E9E4-421C-816C-F66BE66E9035}"/>
              </a:ext>
            </a:extLst>
          </p:cNvPr>
          <p:cNvSpPr txBox="1"/>
          <p:nvPr/>
        </p:nvSpPr>
        <p:spPr>
          <a:xfrm>
            <a:off x="3427451" y="2835711"/>
            <a:ext cx="250932" cy="390492"/>
          </a:xfrm>
          <a:prstGeom prst="rect">
            <a:avLst/>
          </a:prstGeom>
        </p:spPr>
        <p:txBody>
          <a:bodyPr vert="horz" wrap="square" lIns="0" tIns="66675" rIns="0" bIns="0" rtlCol="0">
            <a:spAutoFit/>
          </a:bodyPr>
          <a:lstStyle/>
          <a:p>
            <a:pPr marL="68104">
              <a:spcBef>
                <a:spcPts val="525"/>
              </a:spcBef>
            </a:pPr>
            <a:r>
              <a:rPr lang="en-US" sz="2100" b="1" spc="-75" dirty="0">
                <a:solidFill>
                  <a:srgbClr val="FFFFFF"/>
                </a:solidFill>
                <a:latin typeface="Calibri"/>
                <a:cs typeface="Calibri"/>
              </a:rPr>
              <a:t>5</a:t>
            </a:r>
            <a:endParaRPr sz="2100" dirty="0">
              <a:latin typeface="Calibri"/>
              <a:cs typeface="Calibri"/>
            </a:endParaRPr>
          </a:p>
        </p:txBody>
      </p:sp>
      <p:sp>
        <p:nvSpPr>
          <p:cNvPr id="43" name="object 24">
            <a:extLst>
              <a:ext uri="{FF2B5EF4-FFF2-40B4-BE49-F238E27FC236}">
                <a16:creationId xmlns:a16="http://schemas.microsoft.com/office/drawing/2014/main" id="{DFBFA201-ABAD-46A3-88C6-3781289DEB8F}"/>
              </a:ext>
            </a:extLst>
          </p:cNvPr>
          <p:cNvSpPr txBox="1"/>
          <p:nvPr/>
        </p:nvSpPr>
        <p:spPr>
          <a:xfrm>
            <a:off x="6042498" y="2846105"/>
            <a:ext cx="250932" cy="390492"/>
          </a:xfrm>
          <a:prstGeom prst="rect">
            <a:avLst/>
          </a:prstGeom>
        </p:spPr>
        <p:txBody>
          <a:bodyPr vert="horz" wrap="square" lIns="0" tIns="66675" rIns="0" bIns="0" rtlCol="0">
            <a:spAutoFit/>
          </a:bodyPr>
          <a:lstStyle/>
          <a:p>
            <a:pPr marL="68104">
              <a:spcBef>
                <a:spcPts val="525"/>
              </a:spcBef>
            </a:pPr>
            <a:r>
              <a:rPr lang="en-US" sz="2100" b="1" spc="-75" dirty="0">
                <a:solidFill>
                  <a:srgbClr val="FFFFFF"/>
                </a:solidFill>
                <a:latin typeface="Calibri"/>
                <a:cs typeface="Calibri"/>
              </a:rPr>
              <a:t>6</a:t>
            </a:r>
            <a:endParaRPr sz="2100" dirty="0">
              <a:latin typeface="Calibri"/>
              <a:cs typeface="Calibri"/>
            </a:endParaRPr>
          </a:p>
        </p:txBody>
      </p:sp>
      <p:sp>
        <p:nvSpPr>
          <p:cNvPr id="25" name="CuadroTexto 6">
            <a:extLst>
              <a:ext uri="{FF2B5EF4-FFF2-40B4-BE49-F238E27FC236}">
                <a16:creationId xmlns:a16="http://schemas.microsoft.com/office/drawing/2014/main" id="{DB726672-B383-490A-A645-63AEEB26DD59}"/>
              </a:ext>
            </a:extLst>
          </p:cNvPr>
          <p:cNvSpPr txBox="1"/>
          <p:nvPr/>
        </p:nvSpPr>
        <p:spPr>
          <a:xfrm>
            <a:off x="619160" y="338006"/>
            <a:ext cx="82721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cap="all" dirty="0">
                <a:solidFill>
                  <a:srgbClr val="092566"/>
                </a:solidFill>
                <a:latin typeface="Helvetica" pitchFamily="2" charset="0"/>
              </a:rPr>
              <a:t>FRAMEWORK COMPONENTS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639949B-2231-48F4-8DC1-BD1BD38650F6}"/>
              </a:ext>
            </a:extLst>
          </p:cNvPr>
          <p:cNvGrpSpPr>
            <a:grpSpLocks noChangeAspect="1"/>
          </p:cNvGrpSpPr>
          <p:nvPr/>
        </p:nvGrpSpPr>
        <p:grpSpPr>
          <a:xfrm>
            <a:off x="8776903" y="56703"/>
            <a:ext cx="384048" cy="384048"/>
            <a:chOff x="676331" y="3719310"/>
            <a:chExt cx="951614" cy="951614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D8117FDF-309D-40E0-A7A5-3C0994B11077}"/>
                </a:ext>
              </a:extLst>
            </p:cNvPr>
            <p:cNvSpPr/>
            <p:nvPr/>
          </p:nvSpPr>
          <p:spPr bwMode="gray">
            <a:xfrm>
              <a:off x="676331" y="3719310"/>
              <a:ext cx="951614" cy="95161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28" name="Group 70">
              <a:extLst>
                <a:ext uri="{FF2B5EF4-FFF2-40B4-BE49-F238E27FC236}">
                  <a16:creationId xmlns:a16="http://schemas.microsoft.com/office/drawing/2014/main" id="{75C39811-354F-47F8-85B7-1E2E19F11C31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 rot="5400000">
              <a:off x="849838" y="3834995"/>
              <a:ext cx="606448" cy="609664"/>
              <a:chOff x="2645" y="1778"/>
              <a:chExt cx="754" cy="758"/>
            </a:xfrm>
            <a:solidFill>
              <a:schemeClr val="accent1"/>
            </a:solidFill>
          </p:grpSpPr>
          <p:sp>
            <p:nvSpPr>
              <p:cNvPr id="29" name="Freeform 71">
                <a:extLst>
                  <a:ext uri="{FF2B5EF4-FFF2-40B4-BE49-F238E27FC236}">
                    <a16:creationId xmlns:a16="http://schemas.microsoft.com/office/drawing/2014/main" id="{8EA5F23D-1E9B-4259-8966-57620408E0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45" y="2008"/>
                <a:ext cx="314" cy="302"/>
              </a:xfrm>
              <a:custGeom>
                <a:avLst/>
                <a:gdLst>
                  <a:gd name="T0" fmla="*/ 144 w 150"/>
                  <a:gd name="T1" fmla="*/ 63 h 145"/>
                  <a:gd name="T2" fmla="*/ 81 w 150"/>
                  <a:gd name="T3" fmla="*/ 2 h 145"/>
                  <a:gd name="T4" fmla="*/ 70 w 150"/>
                  <a:gd name="T5" fmla="*/ 3 h 145"/>
                  <a:gd name="T6" fmla="*/ 64 w 150"/>
                  <a:gd name="T7" fmla="*/ 13 h 145"/>
                  <a:gd name="T8" fmla="*/ 64 w 150"/>
                  <a:gd name="T9" fmla="*/ 53 h 145"/>
                  <a:gd name="T10" fmla="*/ 20 w 150"/>
                  <a:gd name="T11" fmla="*/ 53 h 145"/>
                  <a:gd name="T12" fmla="*/ 0 w 150"/>
                  <a:gd name="T13" fmla="*/ 73 h 145"/>
                  <a:gd name="T14" fmla="*/ 20 w 150"/>
                  <a:gd name="T15" fmla="*/ 93 h 145"/>
                  <a:gd name="T16" fmla="*/ 64 w 150"/>
                  <a:gd name="T17" fmla="*/ 93 h 145"/>
                  <a:gd name="T18" fmla="*/ 64 w 150"/>
                  <a:gd name="T19" fmla="*/ 133 h 145"/>
                  <a:gd name="T20" fmla="*/ 70 w 150"/>
                  <a:gd name="T21" fmla="*/ 143 h 145"/>
                  <a:gd name="T22" fmla="*/ 76 w 150"/>
                  <a:gd name="T23" fmla="*/ 145 h 145"/>
                  <a:gd name="T24" fmla="*/ 81 w 150"/>
                  <a:gd name="T25" fmla="*/ 144 h 145"/>
                  <a:gd name="T26" fmla="*/ 144 w 150"/>
                  <a:gd name="T27" fmla="*/ 83 h 145"/>
                  <a:gd name="T28" fmla="*/ 150 w 150"/>
                  <a:gd name="T29" fmla="*/ 73 h 145"/>
                  <a:gd name="T30" fmla="*/ 144 w 150"/>
                  <a:gd name="T31" fmla="*/ 63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0" h="145">
                    <a:moveTo>
                      <a:pt x="144" y="63"/>
                    </a:moveTo>
                    <a:cubicBezTo>
                      <a:pt x="81" y="2"/>
                      <a:pt x="81" y="2"/>
                      <a:pt x="81" y="2"/>
                    </a:cubicBezTo>
                    <a:cubicBezTo>
                      <a:pt x="78" y="0"/>
                      <a:pt x="73" y="1"/>
                      <a:pt x="70" y="3"/>
                    </a:cubicBezTo>
                    <a:cubicBezTo>
                      <a:pt x="66" y="5"/>
                      <a:pt x="64" y="9"/>
                      <a:pt x="64" y="13"/>
                    </a:cubicBezTo>
                    <a:cubicBezTo>
                      <a:pt x="64" y="53"/>
                      <a:pt x="64" y="53"/>
                      <a:pt x="64" y="53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9" y="53"/>
                      <a:pt x="0" y="62"/>
                      <a:pt x="0" y="73"/>
                    </a:cubicBezTo>
                    <a:cubicBezTo>
                      <a:pt x="0" y="84"/>
                      <a:pt x="9" y="93"/>
                      <a:pt x="20" y="93"/>
                    </a:cubicBezTo>
                    <a:cubicBezTo>
                      <a:pt x="64" y="93"/>
                      <a:pt x="64" y="93"/>
                      <a:pt x="64" y="93"/>
                    </a:cubicBezTo>
                    <a:cubicBezTo>
                      <a:pt x="64" y="133"/>
                      <a:pt x="64" y="133"/>
                      <a:pt x="64" y="133"/>
                    </a:cubicBezTo>
                    <a:cubicBezTo>
                      <a:pt x="64" y="137"/>
                      <a:pt x="66" y="141"/>
                      <a:pt x="70" y="143"/>
                    </a:cubicBezTo>
                    <a:cubicBezTo>
                      <a:pt x="72" y="144"/>
                      <a:pt x="74" y="145"/>
                      <a:pt x="76" y="145"/>
                    </a:cubicBezTo>
                    <a:cubicBezTo>
                      <a:pt x="78" y="145"/>
                      <a:pt x="80" y="145"/>
                      <a:pt x="81" y="144"/>
                    </a:cubicBezTo>
                    <a:cubicBezTo>
                      <a:pt x="144" y="83"/>
                      <a:pt x="144" y="83"/>
                      <a:pt x="144" y="83"/>
                    </a:cubicBezTo>
                    <a:cubicBezTo>
                      <a:pt x="147" y="80"/>
                      <a:pt x="150" y="77"/>
                      <a:pt x="150" y="73"/>
                    </a:cubicBezTo>
                    <a:cubicBezTo>
                      <a:pt x="150" y="69"/>
                      <a:pt x="148" y="66"/>
                      <a:pt x="144" y="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0" name="Freeform 72">
                <a:extLst>
                  <a:ext uri="{FF2B5EF4-FFF2-40B4-BE49-F238E27FC236}">
                    <a16:creationId xmlns:a16="http://schemas.microsoft.com/office/drawing/2014/main" id="{2840A936-4EB0-48A9-9079-4B065652C2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9" y="1782"/>
                <a:ext cx="111" cy="754"/>
              </a:xfrm>
              <a:custGeom>
                <a:avLst/>
                <a:gdLst>
                  <a:gd name="T0" fmla="*/ 21 w 53"/>
                  <a:gd name="T1" fmla="*/ 361 h 361"/>
                  <a:gd name="T2" fmla="*/ 20 w 53"/>
                  <a:gd name="T3" fmla="*/ 361 h 361"/>
                  <a:gd name="T4" fmla="*/ 1 w 53"/>
                  <a:gd name="T5" fmla="*/ 340 h 361"/>
                  <a:gd name="T6" fmla="*/ 6 w 53"/>
                  <a:gd name="T7" fmla="*/ 286 h 361"/>
                  <a:gd name="T8" fmla="*/ 13 w 53"/>
                  <a:gd name="T9" fmla="*/ 181 h 361"/>
                  <a:gd name="T10" fmla="*/ 6 w 53"/>
                  <a:gd name="T11" fmla="*/ 76 h 361"/>
                  <a:gd name="T12" fmla="*/ 1 w 53"/>
                  <a:gd name="T13" fmla="*/ 22 h 361"/>
                  <a:gd name="T14" fmla="*/ 20 w 53"/>
                  <a:gd name="T15" fmla="*/ 1 h 361"/>
                  <a:gd name="T16" fmla="*/ 41 w 53"/>
                  <a:gd name="T17" fmla="*/ 20 h 361"/>
                  <a:gd name="T18" fmla="*/ 46 w 53"/>
                  <a:gd name="T19" fmla="*/ 72 h 361"/>
                  <a:gd name="T20" fmla="*/ 53 w 53"/>
                  <a:gd name="T21" fmla="*/ 181 h 361"/>
                  <a:gd name="T22" fmla="*/ 46 w 53"/>
                  <a:gd name="T23" fmla="*/ 290 h 361"/>
                  <a:gd name="T24" fmla="*/ 41 w 53"/>
                  <a:gd name="T25" fmla="*/ 342 h 361"/>
                  <a:gd name="T26" fmla="*/ 21 w 53"/>
                  <a:gd name="T27" fmla="*/ 361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3" h="361">
                    <a:moveTo>
                      <a:pt x="21" y="361"/>
                    </a:moveTo>
                    <a:cubicBezTo>
                      <a:pt x="21" y="361"/>
                      <a:pt x="20" y="361"/>
                      <a:pt x="20" y="361"/>
                    </a:cubicBezTo>
                    <a:cubicBezTo>
                      <a:pt x="9" y="360"/>
                      <a:pt x="0" y="351"/>
                      <a:pt x="1" y="340"/>
                    </a:cubicBezTo>
                    <a:cubicBezTo>
                      <a:pt x="3" y="322"/>
                      <a:pt x="4" y="304"/>
                      <a:pt x="6" y="286"/>
                    </a:cubicBezTo>
                    <a:cubicBezTo>
                      <a:pt x="10" y="251"/>
                      <a:pt x="13" y="215"/>
                      <a:pt x="13" y="181"/>
                    </a:cubicBezTo>
                    <a:cubicBezTo>
                      <a:pt x="13" y="147"/>
                      <a:pt x="10" y="111"/>
                      <a:pt x="6" y="76"/>
                    </a:cubicBezTo>
                    <a:cubicBezTo>
                      <a:pt x="4" y="58"/>
                      <a:pt x="3" y="40"/>
                      <a:pt x="1" y="22"/>
                    </a:cubicBezTo>
                    <a:cubicBezTo>
                      <a:pt x="0" y="11"/>
                      <a:pt x="9" y="2"/>
                      <a:pt x="20" y="1"/>
                    </a:cubicBezTo>
                    <a:cubicBezTo>
                      <a:pt x="31" y="0"/>
                      <a:pt x="40" y="8"/>
                      <a:pt x="41" y="20"/>
                    </a:cubicBezTo>
                    <a:cubicBezTo>
                      <a:pt x="42" y="37"/>
                      <a:pt x="44" y="55"/>
                      <a:pt x="46" y="72"/>
                    </a:cubicBezTo>
                    <a:cubicBezTo>
                      <a:pt x="49" y="108"/>
                      <a:pt x="53" y="145"/>
                      <a:pt x="53" y="181"/>
                    </a:cubicBezTo>
                    <a:cubicBezTo>
                      <a:pt x="53" y="217"/>
                      <a:pt x="49" y="254"/>
                      <a:pt x="46" y="290"/>
                    </a:cubicBezTo>
                    <a:cubicBezTo>
                      <a:pt x="44" y="307"/>
                      <a:pt x="42" y="325"/>
                      <a:pt x="41" y="342"/>
                    </a:cubicBezTo>
                    <a:cubicBezTo>
                      <a:pt x="40" y="353"/>
                      <a:pt x="32" y="361"/>
                      <a:pt x="21" y="36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1" name="Freeform 73">
                <a:extLst>
                  <a:ext uri="{FF2B5EF4-FFF2-40B4-BE49-F238E27FC236}">
                    <a16:creationId xmlns:a16="http://schemas.microsoft.com/office/drawing/2014/main" id="{31636953-18F0-4E11-A2C1-97746281B17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8" y="1780"/>
                <a:ext cx="163" cy="756"/>
              </a:xfrm>
              <a:custGeom>
                <a:avLst/>
                <a:gdLst>
                  <a:gd name="T0" fmla="*/ 22 w 78"/>
                  <a:gd name="T1" fmla="*/ 362 h 362"/>
                  <a:gd name="T2" fmla="*/ 17 w 78"/>
                  <a:gd name="T3" fmla="*/ 361 h 362"/>
                  <a:gd name="T4" fmla="*/ 3 w 78"/>
                  <a:gd name="T5" fmla="*/ 336 h 362"/>
                  <a:gd name="T6" fmla="*/ 11 w 78"/>
                  <a:gd name="T7" fmla="*/ 310 h 362"/>
                  <a:gd name="T8" fmla="*/ 38 w 78"/>
                  <a:gd name="T9" fmla="*/ 182 h 362"/>
                  <a:gd name="T10" fmla="*/ 11 w 78"/>
                  <a:gd name="T11" fmla="*/ 54 h 362"/>
                  <a:gd name="T12" fmla="*/ 3 w 78"/>
                  <a:gd name="T13" fmla="*/ 28 h 362"/>
                  <a:gd name="T14" fmla="*/ 17 w 78"/>
                  <a:gd name="T15" fmla="*/ 3 h 362"/>
                  <a:gd name="T16" fmla="*/ 42 w 78"/>
                  <a:gd name="T17" fmla="*/ 16 h 362"/>
                  <a:gd name="T18" fmla="*/ 49 w 78"/>
                  <a:gd name="T19" fmla="*/ 42 h 362"/>
                  <a:gd name="T20" fmla="*/ 78 w 78"/>
                  <a:gd name="T21" fmla="*/ 182 h 362"/>
                  <a:gd name="T22" fmla="*/ 49 w 78"/>
                  <a:gd name="T23" fmla="*/ 322 h 362"/>
                  <a:gd name="T24" fmla="*/ 42 w 78"/>
                  <a:gd name="T25" fmla="*/ 348 h 362"/>
                  <a:gd name="T26" fmla="*/ 22 w 78"/>
                  <a:gd name="T27" fmla="*/ 3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8" h="362">
                    <a:moveTo>
                      <a:pt x="22" y="362"/>
                    </a:moveTo>
                    <a:cubicBezTo>
                      <a:pt x="20" y="362"/>
                      <a:pt x="19" y="362"/>
                      <a:pt x="17" y="361"/>
                    </a:cubicBezTo>
                    <a:cubicBezTo>
                      <a:pt x="6" y="358"/>
                      <a:pt x="0" y="347"/>
                      <a:pt x="3" y="336"/>
                    </a:cubicBezTo>
                    <a:cubicBezTo>
                      <a:pt x="6" y="328"/>
                      <a:pt x="8" y="319"/>
                      <a:pt x="11" y="310"/>
                    </a:cubicBezTo>
                    <a:cubicBezTo>
                      <a:pt x="25" y="268"/>
                      <a:pt x="38" y="224"/>
                      <a:pt x="38" y="182"/>
                    </a:cubicBezTo>
                    <a:cubicBezTo>
                      <a:pt x="38" y="140"/>
                      <a:pt x="25" y="96"/>
                      <a:pt x="11" y="54"/>
                    </a:cubicBezTo>
                    <a:cubicBezTo>
                      <a:pt x="8" y="45"/>
                      <a:pt x="6" y="36"/>
                      <a:pt x="3" y="28"/>
                    </a:cubicBezTo>
                    <a:cubicBezTo>
                      <a:pt x="0" y="17"/>
                      <a:pt x="6" y="6"/>
                      <a:pt x="17" y="3"/>
                    </a:cubicBezTo>
                    <a:cubicBezTo>
                      <a:pt x="27" y="0"/>
                      <a:pt x="38" y="6"/>
                      <a:pt x="42" y="16"/>
                    </a:cubicBezTo>
                    <a:cubicBezTo>
                      <a:pt x="44" y="25"/>
                      <a:pt x="47" y="33"/>
                      <a:pt x="49" y="42"/>
                    </a:cubicBezTo>
                    <a:cubicBezTo>
                      <a:pt x="64" y="87"/>
                      <a:pt x="78" y="134"/>
                      <a:pt x="78" y="182"/>
                    </a:cubicBezTo>
                    <a:cubicBezTo>
                      <a:pt x="78" y="230"/>
                      <a:pt x="64" y="277"/>
                      <a:pt x="49" y="322"/>
                    </a:cubicBezTo>
                    <a:cubicBezTo>
                      <a:pt x="47" y="331"/>
                      <a:pt x="44" y="339"/>
                      <a:pt x="42" y="348"/>
                    </a:cubicBezTo>
                    <a:cubicBezTo>
                      <a:pt x="39" y="356"/>
                      <a:pt x="31" y="362"/>
                      <a:pt x="22" y="36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2" name="Freeform 74">
                <a:extLst>
                  <a:ext uri="{FF2B5EF4-FFF2-40B4-BE49-F238E27FC236}">
                    <a16:creationId xmlns:a16="http://schemas.microsoft.com/office/drawing/2014/main" id="{119D0C40-C0BC-4DF1-83EB-BD66D7E1828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58" y="1778"/>
                <a:ext cx="216" cy="758"/>
              </a:xfrm>
              <a:custGeom>
                <a:avLst/>
                <a:gdLst>
                  <a:gd name="T0" fmla="*/ 23 w 103"/>
                  <a:gd name="T1" fmla="*/ 363 h 363"/>
                  <a:gd name="T2" fmla="*/ 13 w 103"/>
                  <a:gd name="T3" fmla="*/ 361 h 363"/>
                  <a:gd name="T4" fmla="*/ 5 w 103"/>
                  <a:gd name="T5" fmla="*/ 333 h 363"/>
                  <a:gd name="T6" fmla="*/ 15 w 103"/>
                  <a:gd name="T7" fmla="*/ 316 h 363"/>
                  <a:gd name="T8" fmla="*/ 63 w 103"/>
                  <a:gd name="T9" fmla="*/ 183 h 363"/>
                  <a:gd name="T10" fmla="*/ 14 w 103"/>
                  <a:gd name="T11" fmla="*/ 50 h 363"/>
                  <a:gd name="T12" fmla="*/ 5 w 103"/>
                  <a:gd name="T13" fmla="*/ 33 h 363"/>
                  <a:gd name="T14" fmla="*/ 13 w 103"/>
                  <a:gd name="T15" fmla="*/ 5 h 363"/>
                  <a:gd name="T16" fmla="*/ 40 w 103"/>
                  <a:gd name="T17" fmla="*/ 13 h 363"/>
                  <a:gd name="T18" fmla="*/ 49 w 103"/>
                  <a:gd name="T19" fmla="*/ 30 h 363"/>
                  <a:gd name="T20" fmla="*/ 103 w 103"/>
                  <a:gd name="T21" fmla="*/ 183 h 363"/>
                  <a:gd name="T22" fmla="*/ 49 w 103"/>
                  <a:gd name="T23" fmla="*/ 336 h 363"/>
                  <a:gd name="T24" fmla="*/ 40 w 103"/>
                  <a:gd name="T25" fmla="*/ 353 h 363"/>
                  <a:gd name="T26" fmla="*/ 23 w 103"/>
                  <a:gd name="T27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3" h="363">
                    <a:moveTo>
                      <a:pt x="23" y="363"/>
                    </a:moveTo>
                    <a:cubicBezTo>
                      <a:pt x="19" y="363"/>
                      <a:pt x="16" y="362"/>
                      <a:pt x="13" y="361"/>
                    </a:cubicBezTo>
                    <a:cubicBezTo>
                      <a:pt x="3" y="355"/>
                      <a:pt x="0" y="343"/>
                      <a:pt x="5" y="333"/>
                    </a:cubicBezTo>
                    <a:cubicBezTo>
                      <a:pt x="8" y="328"/>
                      <a:pt x="11" y="322"/>
                      <a:pt x="15" y="316"/>
                    </a:cubicBezTo>
                    <a:cubicBezTo>
                      <a:pt x="38" y="274"/>
                      <a:pt x="63" y="231"/>
                      <a:pt x="63" y="183"/>
                    </a:cubicBezTo>
                    <a:cubicBezTo>
                      <a:pt x="63" y="135"/>
                      <a:pt x="38" y="92"/>
                      <a:pt x="14" y="50"/>
                    </a:cubicBezTo>
                    <a:cubicBezTo>
                      <a:pt x="11" y="44"/>
                      <a:pt x="8" y="38"/>
                      <a:pt x="5" y="33"/>
                    </a:cubicBezTo>
                    <a:cubicBezTo>
                      <a:pt x="0" y="23"/>
                      <a:pt x="3" y="11"/>
                      <a:pt x="13" y="5"/>
                    </a:cubicBezTo>
                    <a:cubicBezTo>
                      <a:pt x="23" y="0"/>
                      <a:pt x="35" y="4"/>
                      <a:pt x="40" y="13"/>
                    </a:cubicBezTo>
                    <a:cubicBezTo>
                      <a:pt x="43" y="19"/>
                      <a:pt x="46" y="24"/>
                      <a:pt x="49" y="30"/>
                    </a:cubicBezTo>
                    <a:cubicBezTo>
                      <a:pt x="75" y="77"/>
                      <a:pt x="103" y="125"/>
                      <a:pt x="103" y="183"/>
                    </a:cubicBezTo>
                    <a:cubicBezTo>
                      <a:pt x="103" y="241"/>
                      <a:pt x="76" y="289"/>
                      <a:pt x="49" y="336"/>
                    </a:cubicBezTo>
                    <a:cubicBezTo>
                      <a:pt x="46" y="342"/>
                      <a:pt x="43" y="347"/>
                      <a:pt x="40" y="353"/>
                    </a:cubicBezTo>
                    <a:cubicBezTo>
                      <a:pt x="36" y="359"/>
                      <a:pt x="30" y="363"/>
                      <a:pt x="23" y="3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3" name="Freeform 75">
                <a:extLst>
                  <a:ext uri="{FF2B5EF4-FFF2-40B4-BE49-F238E27FC236}">
                    <a16:creationId xmlns:a16="http://schemas.microsoft.com/office/drawing/2014/main" id="{A2ACD636-6E3A-469E-8AD4-BAE6716198B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5" y="1784"/>
                <a:ext cx="84" cy="752"/>
              </a:xfrm>
              <a:custGeom>
                <a:avLst/>
                <a:gdLst>
                  <a:gd name="T0" fmla="*/ 20 w 40"/>
                  <a:gd name="T1" fmla="*/ 360 h 360"/>
                  <a:gd name="T2" fmla="*/ 0 w 40"/>
                  <a:gd name="T3" fmla="*/ 340 h 360"/>
                  <a:gd name="T4" fmla="*/ 0 w 40"/>
                  <a:gd name="T5" fmla="*/ 20 h 360"/>
                  <a:gd name="T6" fmla="*/ 20 w 40"/>
                  <a:gd name="T7" fmla="*/ 0 h 360"/>
                  <a:gd name="T8" fmla="*/ 40 w 40"/>
                  <a:gd name="T9" fmla="*/ 20 h 360"/>
                  <a:gd name="T10" fmla="*/ 40 w 40"/>
                  <a:gd name="T11" fmla="*/ 340 h 360"/>
                  <a:gd name="T12" fmla="*/ 20 w 40"/>
                  <a:gd name="T13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360">
                    <a:moveTo>
                      <a:pt x="20" y="360"/>
                    </a:moveTo>
                    <a:cubicBezTo>
                      <a:pt x="9" y="360"/>
                      <a:pt x="0" y="351"/>
                      <a:pt x="0" y="34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40"/>
                      <a:pt x="40" y="340"/>
                      <a:pt x="40" y="340"/>
                    </a:cubicBezTo>
                    <a:cubicBezTo>
                      <a:pt x="40" y="351"/>
                      <a:pt x="31" y="360"/>
                      <a:pt x="20" y="36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89718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bject 2">
            <a:extLst>
              <a:ext uri="{FF2B5EF4-FFF2-40B4-BE49-F238E27FC236}">
                <a16:creationId xmlns:a16="http://schemas.microsoft.com/office/drawing/2014/main" id="{6CC684D6-D016-4A7D-8F39-65E14CCE9175}"/>
              </a:ext>
            </a:extLst>
          </p:cNvPr>
          <p:cNvSpPr txBox="1"/>
          <p:nvPr/>
        </p:nvSpPr>
        <p:spPr>
          <a:xfrm>
            <a:off x="7277002" y="5247129"/>
            <a:ext cx="114776" cy="113493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675" spc="-4" dirty="0">
                <a:solidFill>
                  <a:srgbClr val="084EA4"/>
                </a:solidFill>
                <a:latin typeface="Arial"/>
                <a:cs typeface="Arial"/>
              </a:rPr>
              <a:t>21</a:t>
            </a:r>
            <a:endParaRPr sz="675">
              <a:latin typeface="Arial"/>
              <a:cs typeface="Arial"/>
            </a:endParaRPr>
          </a:p>
        </p:txBody>
      </p:sp>
      <p:sp>
        <p:nvSpPr>
          <p:cNvPr id="26" name="object 4">
            <a:extLst>
              <a:ext uri="{FF2B5EF4-FFF2-40B4-BE49-F238E27FC236}">
                <a16:creationId xmlns:a16="http://schemas.microsoft.com/office/drawing/2014/main" id="{2B276693-2859-4D42-8F13-8BA86DEEE75B}"/>
              </a:ext>
            </a:extLst>
          </p:cNvPr>
          <p:cNvSpPr/>
          <p:nvPr/>
        </p:nvSpPr>
        <p:spPr>
          <a:xfrm>
            <a:off x="978310" y="1922871"/>
            <a:ext cx="288131" cy="288131"/>
          </a:xfrm>
          <a:custGeom>
            <a:avLst/>
            <a:gdLst/>
            <a:ahLst/>
            <a:cxnLst/>
            <a:rect l="l" t="t" r="r" b="b"/>
            <a:pathLst>
              <a:path w="384175" h="384175">
                <a:moveTo>
                  <a:pt x="384041" y="192024"/>
                </a:moveTo>
                <a:lnTo>
                  <a:pt x="379003" y="147796"/>
                </a:lnTo>
                <a:lnTo>
                  <a:pt x="364634" y="107302"/>
                </a:lnTo>
                <a:lnTo>
                  <a:pt x="342054" y="71659"/>
                </a:lnTo>
                <a:lnTo>
                  <a:pt x="312383" y="41987"/>
                </a:lnTo>
                <a:lnTo>
                  <a:pt x="276742" y="19407"/>
                </a:lnTo>
                <a:lnTo>
                  <a:pt x="236248" y="5038"/>
                </a:lnTo>
                <a:lnTo>
                  <a:pt x="192024" y="0"/>
                </a:lnTo>
                <a:lnTo>
                  <a:pt x="148276" y="5038"/>
                </a:lnTo>
                <a:lnTo>
                  <a:pt x="107968" y="19407"/>
                </a:lnTo>
                <a:lnTo>
                  <a:pt x="72298" y="41987"/>
                </a:lnTo>
                <a:lnTo>
                  <a:pt x="42467" y="71659"/>
                </a:lnTo>
                <a:lnTo>
                  <a:pt x="19674" y="107302"/>
                </a:lnTo>
                <a:lnTo>
                  <a:pt x="5118" y="147796"/>
                </a:lnTo>
                <a:lnTo>
                  <a:pt x="0" y="192024"/>
                </a:lnTo>
                <a:lnTo>
                  <a:pt x="5118" y="236251"/>
                </a:lnTo>
                <a:lnTo>
                  <a:pt x="19674" y="276745"/>
                </a:lnTo>
                <a:lnTo>
                  <a:pt x="42467" y="312388"/>
                </a:lnTo>
                <a:lnTo>
                  <a:pt x="72298" y="342060"/>
                </a:lnTo>
                <a:lnTo>
                  <a:pt x="107968" y="364640"/>
                </a:lnTo>
                <a:lnTo>
                  <a:pt x="148276" y="379009"/>
                </a:lnTo>
                <a:lnTo>
                  <a:pt x="192024" y="384048"/>
                </a:lnTo>
                <a:lnTo>
                  <a:pt x="236248" y="379009"/>
                </a:lnTo>
                <a:lnTo>
                  <a:pt x="276742" y="364640"/>
                </a:lnTo>
                <a:lnTo>
                  <a:pt x="312383" y="342060"/>
                </a:lnTo>
                <a:lnTo>
                  <a:pt x="342054" y="312388"/>
                </a:lnTo>
                <a:lnTo>
                  <a:pt x="364634" y="276745"/>
                </a:lnTo>
                <a:lnTo>
                  <a:pt x="379003" y="236251"/>
                </a:lnTo>
                <a:lnTo>
                  <a:pt x="384041" y="192024"/>
                </a:lnTo>
                <a:close/>
              </a:path>
            </a:pathLst>
          </a:custGeom>
          <a:solidFill>
            <a:srgbClr val="006FBF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27" name="object 5">
            <a:extLst>
              <a:ext uri="{FF2B5EF4-FFF2-40B4-BE49-F238E27FC236}">
                <a16:creationId xmlns:a16="http://schemas.microsoft.com/office/drawing/2014/main" id="{AB30E6AF-8A2A-4A23-ACFE-AA3070543EDD}"/>
              </a:ext>
            </a:extLst>
          </p:cNvPr>
          <p:cNvSpPr/>
          <p:nvPr/>
        </p:nvSpPr>
        <p:spPr>
          <a:xfrm>
            <a:off x="968022" y="1912583"/>
            <a:ext cx="310038" cy="308610"/>
          </a:xfrm>
          <a:custGeom>
            <a:avLst/>
            <a:gdLst/>
            <a:ahLst/>
            <a:cxnLst/>
            <a:rect l="l" t="t" r="r" b="b"/>
            <a:pathLst>
              <a:path w="413385" h="411479">
                <a:moveTo>
                  <a:pt x="412997" y="205740"/>
                </a:moveTo>
                <a:lnTo>
                  <a:pt x="408425" y="164592"/>
                </a:lnTo>
                <a:lnTo>
                  <a:pt x="396233" y="124968"/>
                </a:lnTo>
                <a:lnTo>
                  <a:pt x="377945" y="89916"/>
                </a:lnTo>
                <a:lnTo>
                  <a:pt x="352037" y="59436"/>
                </a:lnTo>
                <a:lnTo>
                  <a:pt x="321557" y="35052"/>
                </a:lnTo>
                <a:lnTo>
                  <a:pt x="286505" y="15240"/>
                </a:lnTo>
                <a:lnTo>
                  <a:pt x="248405" y="3048"/>
                </a:lnTo>
                <a:lnTo>
                  <a:pt x="227076" y="0"/>
                </a:lnTo>
                <a:lnTo>
                  <a:pt x="185928" y="0"/>
                </a:lnTo>
                <a:lnTo>
                  <a:pt x="144780" y="9144"/>
                </a:lnTo>
                <a:lnTo>
                  <a:pt x="108204" y="24384"/>
                </a:lnTo>
                <a:lnTo>
                  <a:pt x="74676" y="47244"/>
                </a:lnTo>
                <a:lnTo>
                  <a:pt x="47244" y="74676"/>
                </a:lnTo>
                <a:lnTo>
                  <a:pt x="24384" y="106680"/>
                </a:lnTo>
                <a:lnTo>
                  <a:pt x="9144" y="144780"/>
                </a:lnTo>
                <a:lnTo>
                  <a:pt x="1524" y="184404"/>
                </a:lnTo>
                <a:lnTo>
                  <a:pt x="0" y="205740"/>
                </a:lnTo>
                <a:lnTo>
                  <a:pt x="1524" y="227076"/>
                </a:lnTo>
                <a:lnTo>
                  <a:pt x="9144" y="266700"/>
                </a:lnTo>
                <a:lnTo>
                  <a:pt x="24384" y="304800"/>
                </a:lnTo>
                <a:lnTo>
                  <a:pt x="28956" y="311984"/>
                </a:lnTo>
                <a:lnTo>
                  <a:pt x="28956" y="188976"/>
                </a:lnTo>
                <a:lnTo>
                  <a:pt x="32004" y="169164"/>
                </a:lnTo>
                <a:lnTo>
                  <a:pt x="32004" y="170688"/>
                </a:lnTo>
                <a:lnTo>
                  <a:pt x="36576" y="152400"/>
                </a:lnTo>
                <a:lnTo>
                  <a:pt x="36576" y="153924"/>
                </a:lnTo>
                <a:lnTo>
                  <a:pt x="42672" y="135636"/>
                </a:lnTo>
                <a:lnTo>
                  <a:pt x="42672" y="137160"/>
                </a:lnTo>
                <a:lnTo>
                  <a:pt x="50292" y="120396"/>
                </a:lnTo>
                <a:lnTo>
                  <a:pt x="50292" y="121920"/>
                </a:lnTo>
                <a:lnTo>
                  <a:pt x="57912" y="107950"/>
                </a:lnTo>
                <a:lnTo>
                  <a:pt x="57912" y="106680"/>
                </a:lnTo>
                <a:lnTo>
                  <a:pt x="68580" y="94678"/>
                </a:lnTo>
                <a:lnTo>
                  <a:pt x="68580" y="92964"/>
                </a:lnTo>
                <a:lnTo>
                  <a:pt x="80772" y="79248"/>
                </a:lnTo>
                <a:lnTo>
                  <a:pt x="80772" y="80772"/>
                </a:lnTo>
                <a:lnTo>
                  <a:pt x="92964" y="69934"/>
                </a:lnTo>
                <a:lnTo>
                  <a:pt x="92964" y="68580"/>
                </a:lnTo>
                <a:lnTo>
                  <a:pt x="108204" y="57912"/>
                </a:lnTo>
                <a:lnTo>
                  <a:pt x="108204" y="58369"/>
                </a:lnTo>
                <a:lnTo>
                  <a:pt x="121920" y="48768"/>
                </a:lnTo>
                <a:lnTo>
                  <a:pt x="121920" y="49460"/>
                </a:lnTo>
                <a:lnTo>
                  <a:pt x="137160" y="41148"/>
                </a:lnTo>
                <a:lnTo>
                  <a:pt x="137160" y="42672"/>
                </a:lnTo>
                <a:lnTo>
                  <a:pt x="152400" y="37130"/>
                </a:lnTo>
                <a:lnTo>
                  <a:pt x="152400" y="36576"/>
                </a:lnTo>
                <a:lnTo>
                  <a:pt x="170688" y="32004"/>
                </a:lnTo>
                <a:lnTo>
                  <a:pt x="187452" y="29210"/>
                </a:lnTo>
                <a:lnTo>
                  <a:pt x="187452" y="28956"/>
                </a:lnTo>
                <a:lnTo>
                  <a:pt x="205740" y="27549"/>
                </a:lnTo>
                <a:lnTo>
                  <a:pt x="225552" y="28956"/>
                </a:lnTo>
                <a:lnTo>
                  <a:pt x="225552" y="29210"/>
                </a:lnTo>
                <a:lnTo>
                  <a:pt x="242309" y="32004"/>
                </a:lnTo>
                <a:lnTo>
                  <a:pt x="260597" y="36576"/>
                </a:lnTo>
                <a:lnTo>
                  <a:pt x="260597" y="37130"/>
                </a:lnTo>
                <a:lnTo>
                  <a:pt x="274313" y="42117"/>
                </a:lnTo>
                <a:lnTo>
                  <a:pt x="274313" y="41148"/>
                </a:lnTo>
                <a:lnTo>
                  <a:pt x="291077" y="50292"/>
                </a:lnTo>
                <a:lnTo>
                  <a:pt x="291077" y="48768"/>
                </a:lnTo>
                <a:lnTo>
                  <a:pt x="304793" y="58369"/>
                </a:lnTo>
                <a:lnTo>
                  <a:pt x="304793" y="57912"/>
                </a:lnTo>
                <a:lnTo>
                  <a:pt x="320033" y="68580"/>
                </a:lnTo>
                <a:lnTo>
                  <a:pt x="320033" y="69934"/>
                </a:lnTo>
                <a:lnTo>
                  <a:pt x="332225" y="80772"/>
                </a:lnTo>
                <a:lnTo>
                  <a:pt x="332225" y="79248"/>
                </a:lnTo>
                <a:lnTo>
                  <a:pt x="344417" y="92964"/>
                </a:lnTo>
                <a:lnTo>
                  <a:pt x="344417" y="94923"/>
                </a:lnTo>
                <a:lnTo>
                  <a:pt x="353561" y="106680"/>
                </a:lnTo>
                <a:lnTo>
                  <a:pt x="353561" y="105156"/>
                </a:lnTo>
                <a:lnTo>
                  <a:pt x="362705" y="121920"/>
                </a:lnTo>
                <a:lnTo>
                  <a:pt x="362705" y="120396"/>
                </a:lnTo>
                <a:lnTo>
                  <a:pt x="370325" y="137160"/>
                </a:lnTo>
                <a:lnTo>
                  <a:pt x="370325" y="135636"/>
                </a:lnTo>
                <a:lnTo>
                  <a:pt x="376421" y="153924"/>
                </a:lnTo>
                <a:lnTo>
                  <a:pt x="376421" y="152400"/>
                </a:lnTo>
                <a:lnTo>
                  <a:pt x="380993" y="170688"/>
                </a:lnTo>
                <a:lnTo>
                  <a:pt x="380993" y="169164"/>
                </a:lnTo>
                <a:lnTo>
                  <a:pt x="384041" y="188976"/>
                </a:lnTo>
                <a:lnTo>
                  <a:pt x="384041" y="311984"/>
                </a:lnTo>
                <a:lnTo>
                  <a:pt x="388613" y="304800"/>
                </a:lnTo>
                <a:lnTo>
                  <a:pt x="396233" y="286512"/>
                </a:lnTo>
                <a:lnTo>
                  <a:pt x="403853" y="266700"/>
                </a:lnTo>
                <a:lnTo>
                  <a:pt x="408425" y="246888"/>
                </a:lnTo>
                <a:lnTo>
                  <a:pt x="411473" y="227076"/>
                </a:lnTo>
                <a:lnTo>
                  <a:pt x="412997" y="205740"/>
                </a:lnTo>
                <a:close/>
              </a:path>
              <a:path w="413385" h="411479">
                <a:moveTo>
                  <a:pt x="59436" y="306324"/>
                </a:moveTo>
                <a:lnTo>
                  <a:pt x="50292" y="289560"/>
                </a:lnTo>
                <a:lnTo>
                  <a:pt x="50292" y="291084"/>
                </a:lnTo>
                <a:lnTo>
                  <a:pt x="42672" y="274320"/>
                </a:lnTo>
                <a:lnTo>
                  <a:pt x="42672" y="275844"/>
                </a:lnTo>
                <a:lnTo>
                  <a:pt x="36576" y="257556"/>
                </a:lnTo>
                <a:lnTo>
                  <a:pt x="36576" y="259080"/>
                </a:lnTo>
                <a:lnTo>
                  <a:pt x="32004" y="240792"/>
                </a:lnTo>
                <a:lnTo>
                  <a:pt x="32004" y="242316"/>
                </a:lnTo>
                <a:lnTo>
                  <a:pt x="28956" y="222504"/>
                </a:lnTo>
                <a:lnTo>
                  <a:pt x="28956" y="311984"/>
                </a:lnTo>
                <a:lnTo>
                  <a:pt x="35052" y="321564"/>
                </a:lnTo>
                <a:lnTo>
                  <a:pt x="47244" y="336804"/>
                </a:lnTo>
                <a:lnTo>
                  <a:pt x="57912" y="348657"/>
                </a:lnTo>
                <a:lnTo>
                  <a:pt x="57912" y="304800"/>
                </a:lnTo>
                <a:lnTo>
                  <a:pt x="59436" y="306324"/>
                </a:lnTo>
                <a:close/>
              </a:path>
              <a:path w="413385" h="411479">
                <a:moveTo>
                  <a:pt x="59436" y="105156"/>
                </a:moveTo>
                <a:lnTo>
                  <a:pt x="57912" y="106680"/>
                </a:lnTo>
                <a:lnTo>
                  <a:pt x="57912" y="107950"/>
                </a:lnTo>
                <a:lnTo>
                  <a:pt x="59436" y="105156"/>
                </a:lnTo>
                <a:close/>
              </a:path>
              <a:path w="413385" h="411479">
                <a:moveTo>
                  <a:pt x="70104" y="320040"/>
                </a:moveTo>
                <a:lnTo>
                  <a:pt x="57912" y="304800"/>
                </a:lnTo>
                <a:lnTo>
                  <a:pt x="57912" y="348657"/>
                </a:lnTo>
                <a:lnTo>
                  <a:pt x="60960" y="352044"/>
                </a:lnTo>
                <a:lnTo>
                  <a:pt x="68580" y="359664"/>
                </a:lnTo>
                <a:lnTo>
                  <a:pt x="68580" y="318516"/>
                </a:lnTo>
                <a:lnTo>
                  <a:pt x="70104" y="320040"/>
                </a:lnTo>
                <a:close/>
              </a:path>
              <a:path w="413385" h="411479">
                <a:moveTo>
                  <a:pt x="70104" y="92964"/>
                </a:moveTo>
                <a:lnTo>
                  <a:pt x="68580" y="92964"/>
                </a:lnTo>
                <a:lnTo>
                  <a:pt x="68580" y="94678"/>
                </a:lnTo>
                <a:lnTo>
                  <a:pt x="70104" y="92964"/>
                </a:lnTo>
                <a:close/>
              </a:path>
              <a:path w="413385" h="411479">
                <a:moveTo>
                  <a:pt x="94488" y="342900"/>
                </a:moveTo>
                <a:lnTo>
                  <a:pt x="80772" y="330708"/>
                </a:lnTo>
                <a:lnTo>
                  <a:pt x="80772" y="332232"/>
                </a:lnTo>
                <a:lnTo>
                  <a:pt x="68580" y="318516"/>
                </a:lnTo>
                <a:lnTo>
                  <a:pt x="68580" y="359664"/>
                </a:lnTo>
                <a:lnTo>
                  <a:pt x="74676" y="365760"/>
                </a:lnTo>
                <a:lnTo>
                  <a:pt x="92964" y="377397"/>
                </a:lnTo>
                <a:lnTo>
                  <a:pt x="92964" y="342900"/>
                </a:lnTo>
                <a:lnTo>
                  <a:pt x="94488" y="342900"/>
                </a:lnTo>
                <a:close/>
              </a:path>
              <a:path w="413385" h="411479">
                <a:moveTo>
                  <a:pt x="94488" y="68580"/>
                </a:moveTo>
                <a:lnTo>
                  <a:pt x="92964" y="68580"/>
                </a:lnTo>
                <a:lnTo>
                  <a:pt x="92964" y="69934"/>
                </a:lnTo>
                <a:lnTo>
                  <a:pt x="94488" y="68580"/>
                </a:lnTo>
                <a:close/>
              </a:path>
              <a:path w="413385" h="411479">
                <a:moveTo>
                  <a:pt x="108204" y="353568"/>
                </a:moveTo>
                <a:lnTo>
                  <a:pt x="92964" y="342900"/>
                </a:lnTo>
                <a:lnTo>
                  <a:pt x="92964" y="377397"/>
                </a:lnTo>
                <a:lnTo>
                  <a:pt x="106680" y="386126"/>
                </a:lnTo>
                <a:lnTo>
                  <a:pt x="106680" y="353568"/>
                </a:lnTo>
                <a:lnTo>
                  <a:pt x="108204" y="353568"/>
                </a:lnTo>
                <a:close/>
              </a:path>
              <a:path w="413385" h="411479">
                <a:moveTo>
                  <a:pt x="108204" y="58369"/>
                </a:moveTo>
                <a:lnTo>
                  <a:pt x="108204" y="57912"/>
                </a:lnTo>
                <a:lnTo>
                  <a:pt x="106680" y="59436"/>
                </a:lnTo>
                <a:lnTo>
                  <a:pt x="108204" y="58369"/>
                </a:lnTo>
                <a:close/>
              </a:path>
              <a:path w="413385" h="411479">
                <a:moveTo>
                  <a:pt x="121920" y="393954"/>
                </a:moveTo>
                <a:lnTo>
                  <a:pt x="121920" y="362712"/>
                </a:lnTo>
                <a:lnTo>
                  <a:pt x="106680" y="353568"/>
                </a:lnTo>
                <a:lnTo>
                  <a:pt x="106680" y="386126"/>
                </a:lnTo>
                <a:lnTo>
                  <a:pt x="108204" y="387096"/>
                </a:lnTo>
                <a:lnTo>
                  <a:pt x="121920" y="393954"/>
                </a:lnTo>
                <a:close/>
              </a:path>
              <a:path w="413385" h="411479">
                <a:moveTo>
                  <a:pt x="121920" y="49460"/>
                </a:moveTo>
                <a:lnTo>
                  <a:pt x="121920" y="48768"/>
                </a:lnTo>
                <a:lnTo>
                  <a:pt x="120396" y="50292"/>
                </a:lnTo>
                <a:lnTo>
                  <a:pt x="121920" y="49460"/>
                </a:lnTo>
                <a:close/>
              </a:path>
              <a:path w="413385" h="411479">
                <a:moveTo>
                  <a:pt x="153924" y="405149"/>
                </a:moveTo>
                <a:lnTo>
                  <a:pt x="153924" y="376428"/>
                </a:lnTo>
                <a:lnTo>
                  <a:pt x="137160" y="368808"/>
                </a:lnTo>
                <a:lnTo>
                  <a:pt x="137160" y="370332"/>
                </a:lnTo>
                <a:lnTo>
                  <a:pt x="120396" y="361188"/>
                </a:lnTo>
                <a:lnTo>
                  <a:pt x="121920" y="362712"/>
                </a:lnTo>
                <a:lnTo>
                  <a:pt x="121920" y="393954"/>
                </a:lnTo>
                <a:lnTo>
                  <a:pt x="126492" y="396240"/>
                </a:lnTo>
                <a:lnTo>
                  <a:pt x="144780" y="402336"/>
                </a:lnTo>
                <a:lnTo>
                  <a:pt x="153924" y="405149"/>
                </a:lnTo>
                <a:close/>
              </a:path>
              <a:path w="413385" h="411479">
                <a:moveTo>
                  <a:pt x="153924" y="36576"/>
                </a:moveTo>
                <a:lnTo>
                  <a:pt x="152400" y="36576"/>
                </a:lnTo>
                <a:lnTo>
                  <a:pt x="152400" y="37130"/>
                </a:lnTo>
                <a:lnTo>
                  <a:pt x="153924" y="36576"/>
                </a:lnTo>
                <a:close/>
              </a:path>
              <a:path w="413385" h="411479">
                <a:moveTo>
                  <a:pt x="188976" y="382524"/>
                </a:moveTo>
                <a:lnTo>
                  <a:pt x="170688" y="379476"/>
                </a:lnTo>
                <a:lnTo>
                  <a:pt x="152400" y="374904"/>
                </a:lnTo>
                <a:lnTo>
                  <a:pt x="153924" y="376428"/>
                </a:lnTo>
                <a:lnTo>
                  <a:pt x="153924" y="405149"/>
                </a:lnTo>
                <a:lnTo>
                  <a:pt x="164592" y="408432"/>
                </a:lnTo>
                <a:lnTo>
                  <a:pt x="185928" y="411480"/>
                </a:lnTo>
                <a:lnTo>
                  <a:pt x="187452" y="411480"/>
                </a:lnTo>
                <a:lnTo>
                  <a:pt x="187452" y="382524"/>
                </a:lnTo>
                <a:lnTo>
                  <a:pt x="188976" y="382524"/>
                </a:lnTo>
                <a:close/>
              </a:path>
              <a:path w="413385" h="411479">
                <a:moveTo>
                  <a:pt x="188976" y="28956"/>
                </a:moveTo>
                <a:lnTo>
                  <a:pt x="187452" y="28956"/>
                </a:lnTo>
                <a:lnTo>
                  <a:pt x="187452" y="29210"/>
                </a:lnTo>
                <a:lnTo>
                  <a:pt x="188976" y="28956"/>
                </a:lnTo>
                <a:close/>
              </a:path>
              <a:path w="413385" h="411479">
                <a:moveTo>
                  <a:pt x="207264" y="411480"/>
                </a:moveTo>
                <a:lnTo>
                  <a:pt x="207264" y="384048"/>
                </a:lnTo>
                <a:lnTo>
                  <a:pt x="205740" y="384048"/>
                </a:lnTo>
                <a:lnTo>
                  <a:pt x="187452" y="382524"/>
                </a:lnTo>
                <a:lnTo>
                  <a:pt x="187452" y="411480"/>
                </a:lnTo>
                <a:lnTo>
                  <a:pt x="207264" y="411480"/>
                </a:lnTo>
                <a:close/>
              </a:path>
              <a:path w="413385" h="411479">
                <a:moveTo>
                  <a:pt x="206502" y="27490"/>
                </a:moveTo>
                <a:lnTo>
                  <a:pt x="205740" y="27432"/>
                </a:lnTo>
                <a:lnTo>
                  <a:pt x="206502" y="27490"/>
                </a:lnTo>
                <a:close/>
              </a:path>
              <a:path w="413385" h="411479">
                <a:moveTo>
                  <a:pt x="206502" y="383989"/>
                </a:moveTo>
                <a:lnTo>
                  <a:pt x="205740" y="383930"/>
                </a:lnTo>
                <a:lnTo>
                  <a:pt x="206502" y="383989"/>
                </a:lnTo>
                <a:close/>
              </a:path>
              <a:path w="413385" h="411479">
                <a:moveTo>
                  <a:pt x="207264" y="27549"/>
                </a:moveTo>
                <a:lnTo>
                  <a:pt x="206502" y="27490"/>
                </a:lnTo>
                <a:lnTo>
                  <a:pt x="207264" y="27549"/>
                </a:lnTo>
                <a:close/>
              </a:path>
              <a:path w="413385" h="411479">
                <a:moveTo>
                  <a:pt x="225552" y="411480"/>
                </a:moveTo>
                <a:lnTo>
                  <a:pt x="225552" y="382524"/>
                </a:lnTo>
                <a:lnTo>
                  <a:pt x="206502" y="383989"/>
                </a:lnTo>
                <a:lnTo>
                  <a:pt x="207264" y="384048"/>
                </a:lnTo>
                <a:lnTo>
                  <a:pt x="207264" y="411480"/>
                </a:lnTo>
                <a:lnTo>
                  <a:pt x="225552" y="411480"/>
                </a:lnTo>
                <a:close/>
              </a:path>
              <a:path w="413385" h="411479">
                <a:moveTo>
                  <a:pt x="225552" y="29210"/>
                </a:moveTo>
                <a:lnTo>
                  <a:pt x="225552" y="28956"/>
                </a:lnTo>
                <a:lnTo>
                  <a:pt x="224028" y="28956"/>
                </a:lnTo>
                <a:lnTo>
                  <a:pt x="225552" y="29210"/>
                </a:lnTo>
                <a:close/>
              </a:path>
              <a:path w="413385" h="411479">
                <a:moveTo>
                  <a:pt x="260597" y="374904"/>
                </a:moveTo>
                <a:lnTo>
                  <a:pt x="242309" y="379476"/>
                </a:lnTo>
                <a:lnTo>
                  <a:pt x="224028" y="382524"/>
                </a:lnTo>
                <a:lnTo>
                  <a:pt x="225552" y="382524"/>
                </a:lnTo>
                <a:lnTo>
                  <a:pt x="225552" y="411480"/>
                </a:lnTo>
                <a:lnTo>
                  <a:pt x="227076" y="411480"/>
                </a:lnTo>
                <a:lnTo>
                  <a:pt x="248405" y="408432"/>
                </a:lnTo>
                <a:lnTo>
                  <a:pt x="259073" y="405149"/>
                </a:lnTo>
                <a:lnTo>
                  <a:pt x="259073" y="376428"/>
                </a:lnTo>
                <a:lnTo>
                  <a:pt x="260597" y="374904"/>
                </a:lnTo>
                <a:close/>
              </a:path>
              <a:path w="413385" h="411479">
                <a:moveTo>
                  <a:pt x="260597" y="37130"/>
                </a:moveTo>
                <a:lnTo>
                  <a:pt x="260597" y="36576"/>
                </a:lnTo>
                <a:lnTo>
                  <a:pt x="259073" y="36576"/>
                </a:lnTo>
                <a:lnTo>
                  <a:pt x="260597" y="37130"/>
                </a:lnTo>
                <a:close/>
              </a:path>
              <a:path w="413385" h="411479">
                <a:moveTo>
                  <a:pt x="275837" y="368808"/>
                </a:moveTo>
                <a:lnTo>
                  <a:pt x="259073" y="376428"/>
                </a:lnTo>
                <a:lnTo>
                  <a:pt x="259073" y="405149"/>
                </a:lnTo>
                <a:lnTo>
                  <a:pt x="268217" y="402336"/>
                </a:lnTo>
                <a:lnTo>
                  <a:pt x="274313" y="400304"/>
                </a:lnTo>
                <a:lnTo>
                  <a:pt x="274313" y="370332"/>
                </a:lnTo>
                <a:lnTo>
                  <a:pt x="275837" y="368808"/>
                </a:lnTo>
                <a:close/>
              </a:path>
              <a:path w="413385" h="411479">
                <a:moveTo>
                  <a:pt x="275837" y="42672"/>
                </a:moveTo>
                <a:lnTo>
                  <a:pt x="274313" y="41148"/>
                </a:lnTo>
                <a:lnTo>
                  <a:pt x="274313" y="42117"/>
                </a:lnTo>
                <a:lnTo>
                  <a:pt x="275837" y="42672"/>
                </a:lnTo>
                <a:close/>
              </a:path>
              <a:path w="413385" h="411479">
                <a:moveTo>
                  <a:pt x="306317" y="386126"/>
                </a:moveTo>
                <a:lnTo>
                  <a:pt x="306317" y="353568"/>
                </a:lnTo>
                <a:lnTo>
                  <a:pt x="291077" y="362712"/>
                </a:lnTo>
                <a:lnTo>
                  <a:pt x="291077" y="361188"/>
                </a:lnTo>
                <a:lnTo>
                  <a:pt x="274313" y="370332"/>
                </a:lnTo>
                <a:lnTo>
                  <a:pt x="274313" y="400304"/>
                </a:lnTo>
                <a:lnTo>
                  <a:pt x="286505" y="396240"/>
                </a:lnTo>
                <a:lnTo>
                  <a:pt x="304793" y="387096"/>
                </a:lnTo>
                <a:lnTo>
                  <a:pt x="306317" y="386126"/>
                </a:lnTo>
                <a:close/>
              </a:path>
              <a:path w="413385" h="411479">
                <a:moveTo>
                  <a:pt x="306317" y="59436"/>
                </a:moveTo>
                <a:lnTo>
                  <a:pt x="304793" y="57912"/>
                </a:lnTo>
                <a:lnTo>
                  <a:pt x="304793" y="58369"/>
                </a:lnTo>
                <a:lnTo>
                  <a:pt x="306317" y="59436"/>
                </a:lnTo>
                <a:close/>
              </a:path>
              <a:path w="413385" h="411479">
                <a:moveTo>
                  <a:pt x="320033" y="377397"/>
                </a:moveTo>
                <a:lnTo>
                  <a:pt x="320033" y="342900"/>
                </a:lnTo>
                <a:lnTo>
                  <a:pt x="304793" y="353568"/>
                </a:lnTo>
                <a:lnTo>
                  <a:pt x="306317" y="353568"/>
                </a:lnTo>
                <a:lnTo>
                  <a:pt x="306317" y="386126"/>
                </a:lnTo>
                <a:lnTo>
                  <a:pt x="320033" y="377397"/>
                </a:lnTo>
                <a:close/>
              </a:path>
              <a:path w="413385" h="411479">
                <a:moveTo>
                  <a:pt x="320033" y="69934"/>
                </a:moveTo>
                <a:lnTo>
                  <a:pt x="320033" y="68580"/>
                </a:lnTo>
                <a:lnTo>
                  <a:pt x="318509" y="68580"/>
                </a:lnTo>
                <a:lnTo>
                  <a:pt x="320033" y="69934"/>
                </a:lnTo>
                <a:close/>
              </a:path>
              <a:path w="413385" h="411479">
                <a:moveTo>
                  <a:pt x="344417" y="359664"/>
                </a:moveTo>
                <a:lnTo>
                  <a:pt x="344417" y="318516"/>
                </a:lnTo>
                <a:lnTo>
                  <a:pt x="332225" y="332232"/>
                </a:lnTo>
                <a:lnTo>
                  <a:pt x="332225" y="330708"/>
                </a:lnTo>
                <a:lnTo>
                  <a:pt x="318509" y="342900"/>
                </a:lnTo>
                <a:lnTo>
                  <a:pt x="320033" y="342900"/>
                </a:lnTo>
                <a:lnTo>
                  <a:pt x="320033" y="377397"/>
                </a:lnTo>
                <a:lnTo>
                  <a:pt x="338321" y="365760"/>
                </a:lnTo>
                <a:lnTo>
                  <a:pt x="344417" y="359664"/>
                </a:lnTo>
                <a:close/>
              </a:path>
              <a:path w="413385" h="411479">
                <a:moveTo>
                  <a:pt x="344417" y="94923"/>
                </a:moveTo>
                <a:lnTo>
                  <a:pt x="344417" y="92964"/>
                </a:lnTo>
                <a:lnTo>
                  <a:pt x="342893" y="92964"/>
                </a:lnTo>
                <a:lnTo>
                  <a:pt x="344417" y="94923"/>
                </a:lnTo>
                <a:close/>
              </a:path>
              <a:path w="413385" h="411479">
                <a:moveTo>
                  <a:pt x="384041" y="311984"/>
                </a:moveTo>
                <a:lnTo>
                  <a:pt x="384041" y="222504"/>
                </a:lnTo>
                <a:lnTo>
                  <a:pt x="380993" y="242316"/>
                </a:lnTo>
                <a:lnTo>
                  <a:pt x="380993" y="240792"/>
                </a:lnTo>
                <a:lnTo>
                  <a:pt x="376421" y="259080"/>
                </a:lnTo>
                <a:lnTo>
                  <a:pt x="376421" y="257556"/>
                </a:lnTo>
                <a:lnTo>
                  <a:pt x="370325" y="275844"/>
                </a:lnTo>
                <a:lnTo>
                  <a:pt x="370325" y="274320"/>
                </a:lnTo>
                <a:lnTo>
                  <a:pt x="362705" y="291084"/>
                </a:lnTo>
                <a:lnTo>
                  <a:pt x="362705" y="289560"/>
                </a:lnTo>
                <a:lnTo>
                  <a:pt x="353561" y="306324"/>
                </a:lnTo>
                <a:lnTo>
                  <a:pt x="353561" y="304800"/>
                </a:lnTo>
                <a:lnTo>
                  <a:pt x="342893" y="320040"/>
                </a:lnTo>
                <a:lnTo>
                  <a:pt x="344417" y="318516"/>
                </a:lnTo>
                <a:lnTo>
                  <a:pt x="344417" y="359664"/>
                </a:lnTo>
                <a:lnTo>
                  <a:pt x="352037" y="352044"/>
                </a:lnTo>
                <a:lnTo>
                  <a:pt x="365753" y="336804"/>
                </a:lnTo>
                <a:lnTo>
                  <a:pt x="377945" y="321564"/>
                </a:lnTo>
                <a:lnTo>
                  <a:pt x="384041" y="311984"/>
                </a:lnTo>
                <a:close/>
              </a:path>
              <a:path w="413385" h="411479">
                <a:moveTo>
                  <a:pt x="384041" y="205740"/>
                </a:moveTo>
                <a:lnTo>
                  <a:pt x="384041" y="188976"/>
                </a:lnTo>
                <a:lnTo>
                  <a:pt x="382517" y="187452"/>
                </a:lnTo>
                <a:lnTo>
                  <a:pt x="384041" y="205740"/>
                </a:lnTo>
                <a:close/>
              </a:path>
              <a:path w="413385" h="411479">
                <a:moveTo>
                  <a:pt x="384041" y="222504"/>
                </a:moveTo>
                <a:lnTo>
                  <a:pt x="384041" y="205740"/>
                </a:lnTo>
                <a:lnTo>
                  <a:pt x="382517" y="224028"/>
                </a:lnTo>
                <a:lnTo>
                  <a:pt x="384041" y="222504"/>
                </a:lnTo>
                <a:close/>
              </a:path>
            </a:pathLst>
          </a:custGeom>
          <a:solidFill>
            <a:srgbClr val="006FBF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28" name="object 6">
            <a:extLst>
              <a:ext uri="{FF2B5EF4-FFF2-40B4-BE49-F238E27FC236}">
                <a16:creationId xmlns:a16="http://schemas.microsoft.com/office/drawing/2014/main" id="{93FFC240-5036-4D96-A134-1CF01E7CC956}"/>
              </a:ext>
            </a:extLst>
          </p:cNvPr>
          <p:cNvSpPr txBox="1"/>
          <p:nvPr/>
        </p:nvSpPr>
        <p:spPr>
          <a:xfrm>
            <a:off x="1062514" y="1955635"/>
            <a:ext cx="122396" cy="21736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pc="56" dirty="0">
                <a:solidFill>
                  <a:srgbClr val="FFFFFF"/>
                </a:solidFill>
                <a:latin typeface="Microsoft Sans Serif"/>
                <a:cs typeface="Microsoft Sans Serif"/>
              </a:rPr>
              <a:t>2</a:t>
            </a:r>
            <a:endParaRPr>
              <a:latin typeface="Microsoft Sans Serif"/>
              <a:cs typeface="Microsoft Sans Serif"/>
            </a:endParaRPr>
          </a:p>
        </p:txBody>
      </p:sp>
      <p:sp>
        <p:nvSpPr>
          <p:cNvPr id="29" name="object 7">
            <a:extLst>
              <a:ext uri="{FF2B5EF4-FFF2-40B4-BE49-F238E27FC236}">
                <a16:creationId xmlns:a16="http://schemas.microsoft.com/office/drawing/2014/main" id="{CF0CC6C8-5A90-4825-B66D-81E1414570CC}"/>
              </a:ext>
            </a:extLst>
          </p:cNvPr>
          <p:cNvSpPr/>
          <p:nvPr/>
        </p:nvSpPr>
        <p:spPr>
          <a:xfrm>
            <a:off x="978310" y="2647533"/>
            <a:ext cx="288131" cy="288131"/>
          </a:xfrm>
          <a:custGeom>
            <a:avLst/>
            <a:gdLst/>
            <a:ahLst/>
            <a:cxnLst/>
            <a:rect l="l" t="t" r="r" b="b"/>
            <a:pathLst>
              <a:path w="384175" h="384175">
                <a:moveTo>
                  <a:pt x="384041" y="192024"/>
                </a:moveTo>
                <a:lnTo>
                  <a:pt x="379003" y="148276"/>
                </a:lnTo>
                <a:lnTo>
                  <a:pt x="364634" y="107968"/>
                </a:lnTo>
                <a:lnTo>
                  <a:pt x="342054" y="72298"/>
                </a:lnTo>
                <a:lnTo>
                  <a:pt x="312383" y="42467"/>
                </a:lnTo>
                <a:lnTo>
                  <a:pt x="276742" y="19674"/>
                </a:lnTo>
                <a:lnTo>
                  <a:pt x="236248" y="5118"/>
                </a:lnTo>
                <a:lnTo>
                  <a:pt x="192024" y="0"/>
                </a:lnTo>
                <a:lnTo>
                  <a:pt x="148276" y="5118"/>
                </a:lnTo>
                <a:lnTo>
                  <a:pt x="107968" y="19674"/>
                </a:lnTo>
                <a:lnTo>
                  <a:pt x="72298" y="42467"/>
                </a:lnTo>
                <a:lnTo>
                  <a:pt x="42467" y="72298"/>
                </a:lnTo>
                <a:lnTo>
                  <a:pt x="19674" y="107968"/>
                </a:lnTo>
                <a:lnTo>
                  <a:pt x="5118" y="148276"/>
                </a:lnTo>
                <a:lnTo>
                  <a:pt x="0" y="192024"/>
                </a:lnTo>
                <a:lnTo>
                  <a:pt x="5118" y="236251"/>
                </a:lnTo>
                <a:lnTo>
                  <a:pt x="19674" y="276745"/>
                </a:lnTo>
                <a:lnTo>
                  <a:pt x="42467" y="312388"/>
                </a:lnTo>
                <a:lnTo>
                  <a:pt x="72298" y="342060"/>
                </a:lnTo>
                <a:lnTo>
                  <a:pt x="107968" y="364640"/>
                </a:lnTo>
                <a:lnTo>
                  <a:pt x="148276" y="379009"/>
                </a:lnTo>
                <a:lnTo>
                  <a:pt x="192024" y="384048"/>
                </a:lnTo>
                <a:lnTo>
                  <a:pt x="236248" y="379009"/>
                </a:lnTo>
                <a:lnTo>
                  <a:pt x="276742" y="364640"/>
                </a:lnTo>
                <a:lnTo>
                  <a:pt x="312383" y="342060"/>
                </a:lnTo>
                <a:lnTo>
                  <a:pt x="342054" y="312388"/>
                </a:lnTo>
                <a:lnTo>
                  <a:pt x="364634" y="276745"/>
                </a:lnTo>
                <a:lnTo>
                  <a:pt x="379003" y="236251"/>
                </a:lnTo>
                <a:lnTo>
                  <a:pt x="384041" y="192024"/>
                </a:lnTo>
                <a:close/>
              </a:path>
            </a:pathLst>
          </a:custGeom>
          <a:solidFill>
            <a:srgbClr val="006FBF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30" name="object 8">
            <a:extLst>
              <a:ext uri="{FF2B5EF4-FFF2-40B4-BE49-F238E27FC236}">
                <a16:creationId xmlns:a16="http://schemas.microsoft.com/office/drawing/2014/main" id="{48C32675-DE8C-4144-9D8C-0C76442DD5E3}"/>
              </a:ext>
            </a:extLst>
          </p:cNvPr>
          <p:cNvSpPr/>
          <p:nvPr/>
        </p:nvSpPr>
        <p:spPr>
          <a:xfrm>
            <a:off x="968022" y="2637245"/>
            <a:ext cx="310038" cy="308610"/>
          </a:xfrm>
          <a:custGeom>
            <a:avLst/>
            <a:gdLst/>
            <a:ahLst/>
            <a:cxnLst/>
            <a:rect l="l" t="t" r="r" b="b"/>
            <a:pathLst>
              <a:path w="413385" h="411479">
                <a:moveTo>
                  <a:pt x="412997" y="205740"/>
                </a:moveTo>
                <a:lnTo>
                  <a:pt x="408425" y="164592"/>
                </a:lnTo>
                <a:lnTo>
                  <a:pt x="396233" y="124968"/>
                </a:lnTo>
                <a:lnTo>
                  <a:pt x="377945" y="89916"/>
                </a:lnTo>
                <a:lnTo>
                  <a:pt x="352037" y="59436"/>
                </a:lnTo>
                <a:lnTo>
                  <a:pt x="321557" y="35052"/>
                </a:lnTo>
                <a:lnTo>
                  <a:pt x="286505" y="15240"/>
                </a:lnTo>
                <a:lnTo>
                  <a:pt x="248405" y="3048"/>
                </a:lnTo>
                <a:lnTo>
                  <a:pt x="227076" y="0"/>
                </a:lnTo>
                <a:lnTo>
                  <a:pt x="185928" y="0"/>
                </a:lnTo>
                <a:lnTo>
                  <a:pt x="144780" y="9144"/>
                </a:lnTo>
                <a:lnTo>
                  <a:pt x="108204" y="24384"/>
                </a:lnTo>
                <a:lnTo>
                  <a:pt x="74676" y="47244"/>
                </a:lnTo>
                <a:lnTo>
                  <a:pt x="47244" y="74676"/>
                </a:lnTo>
                <a:lnTo>
                  <a:pt x="24384" y="108204"/>
                </a:lnTo>
                <a:lnTo>
                  <a:pt x="9144" y="144780"/>
                </a:lnTo>
                <a:lnTo>
                  <a:pt x="1524" y="184404"/>
                </a:lnTo>
                <a:lnTo>
                  <a:pt x="0" y="205740"/>
                </a:lnTo>
                <a:lnTo>
                  <a:pt x="1524" y="227076"/>
                </a:lnTo>
                <a:lnTo>
                  <a:pt x="9144" y="266700"/>
                </a:lnTo>
                <a:lnTo>
                  <a:pt x="24384" y="304800"/>
                </a:lnTo>
                <a:lnTo>
                  <a:pt x="28956" y="311984"/>
                </a:lnTo>
                <a:lnTo>
                  <a:pt x="28956" y="188976"/>
                </a:lnTo>
                <a:lnTo>
                  <a:pt x="32004" y="169164"/>
                </a:lnTo>
                <a:lnTo>
                  <a:pt x="32004" y="170688"/>
                </a:lnTo>
                <a:lnTo>
                  <a:pt x="36576" y="152400"/>
                </a:lnTo>
                <a:lnTo>
                  <a:pt x="36576" y="153924"/>
                </a:lnTo>
                <a:lnTo>
                  <a:pt x="42672" y="135636"/>
                </a:lnTo>
                <a:lnTo>
                  <a:pt x="42672" y="137160"/>
                </a:lnTo>
                <a:lnTo>
                  <a:pt x="50292" y="120396"/>
                </a:lnTo>
                <a:lnTo>
                  <a:pt x="50292" y="121920"/>
                </a:lnTo>
                <a:lnTo>
                  <a:pt x="57912" y="109220"/>
                </a:lnTo>
                <a:lnTo>
                  <a:pt x="57912" y="106680"/>
                </a:lnTo>
                <a:lnTo>
                  <a:pt x="68580" y="94678"/>
                </a:lnTo>
                <a:lnTo>
                  <a:pt x="68580" y="92964"/>
                </a:lnTo>
                <a:lnTo>
                  <a:pt x="80772" y="79248"/>
                </a:lnTo>
                <a:lnTo>
                  <a:pt x="80772" y="80772"/>
                </a:lnTo>
                <a:lnTo>
                  <a:pt x="92964" y="69934"/>
                </a:lnTo>
                <a:lnTo>
                  <a:pt x="92964" y="68580"/>
                </a:lnTo>
                <a:lnTo>
                  <a:pt x="108204" y="57912"/>
                </a:lnTo>
                <a:lnTo>
                  <a:pt x="108204" y="58369"/>
                </a:lnTo>
                <a:lnTo>
                  <a:pt x="121920" y="48768"/>
                </a:lnTo>
                <a:lnTo>
                  <a:pt x="121920" y="49460"/>
                </a:lnTo>
                <a:lnTo>
                  <a:pt x="137160" y="41148"/>
                </a:lnTo>
                <a:lnTo>
                  <a:pt x="137160" y="42672"/>
                </a:lnTo>
                <a:lnTo>
                  <a:pt x="152400" y="37130"/>
                </a:lnTo>
                <a:lnTo>
                  <a:pt x="152400" y="36576"/>
                </a:lnTo>
                <a:lnTo>
                  <a:pt x="170688" y="32004"/>
                </a:lnTo>
                <a:lnTo>
                  <a:pt x="187452" y="29210"/>
                </a:lnTo>
                <a:lnTo>
                  <a:pt x="187452" y="28956"/>
                </a:lnTo>
                <a:lnTo>
                  <a:pt x="205740" y="27549"/>
                </a:lnTo>
                <a:lnTo>
                  <a:pt x="225552" y="28956"/>
                </a:lnTo>
                <a:lnTo>
                  <a:pt x="225552" y="29210"/>
                </a:lnTo>
                <a:lnTo>
                  <a:pt x="242309" y="32004"/>
                </a:lnTo>
                <a:lnTo>
                  <a:pt x="260597" y="36576"/>
                </a:lnTo>
                <a:lnTo>
                  <a:pt x="260597" y="37130"/>
                </a:lnTo>
                <a:lnTo>
                  <a:pt x="274313" y="42117"/>
                </a:lnTo>
                <a:lnTo>
                  <a:pt x="274313" y="41148"/>
                </a:lnTo>
                <a:lnTo>
                  <a:pt x="291077" y="50292"/>
                </a:lnTo>
                <a:lnTo>
                  <a:pt x="291077" y="48768"/>
                </a:lnTo>
                <a:lnTo>
                  <a:pt x="304793" y="58369"/>
                </a:lnTo>
                <a:lnTo>
                  <a:pt x="304793" y="57912"/>
                </a:lnTo>
                <a:lnTo>
                  <a:pt x="320033" y="68580"/>
                </a:lnTo>
                <a:lnTo>
                  <a:pt x="320033" y="69934"/>
                </a:lnTo>
                <a:lnTo>
                  <a:pt x="332225" y="80772"/>
                </a:lnTo>
                <a:lnTo>
                  <a:pt x="332225" y="79248"/>
                </a:lnTo>
                <a:lnTo>
                  <a:pt x="344417" y="92964"/>
                </a:lnTo>
                <a:lnTo>
                  <a:pt x="344417" y="94923"/>
                </a:lnTo>
                <a:lnTo>
                  <a:pt x="353561" y="106680"/>
                </a:lnTo>
                <a:lnTo>
                  <a:pt x="362705" y="121920"/>
                </a:lnTo>
                <a:lnTo>
                  <a:pt x="362705" y="120396"/>
                </a:lnTo>
                <a:lnTo>
                  <a:pt x="370325" y="137160"/>
                </a:lnTo>
                <a:lnTo>
                  <a:pt x="370325" y="135636"/>
                </a:lnTo>
                <a:lnTo>
                  <a:pt x="376421" y="153924"/>
                </a:lnTo>
                <a:lnTo>
                  <a:pt x="376421" y="152400"/>
                </a:lnTo>
                <a:lnTo>
                  <a:pt x="380993" y="170688"/>
                </a:lnTo>
                <a:lnTo>
                  <a:pt x="380993" y="169164"/>
                </a:lnTo>
                <a:lnTo>
                  <a:pt x="384041" y="188976"/>
                </a:lnTo>
                <a:lnTo>
                  <a:pt x="384041" y="311984"/>
                </a:lnTo>
                <a:lnTo>
                  <a:pt x="388613" y="304800"/>
                </a:lnTo>
                <a:lnTo>
                  <a:pt x="396233" y="286512"/>
                </a:lnTo>
                <a:lnTo>
                  <a:pt x="403853" y="266700"/>
                </a:lnTo>
                <a:lnTo>
                  <a:pt x="408425" y="246888"/>
                </a:lnTo>
                <a:lnTo>
                  <a:pt x="411473" y="227076"/>
                </a:lnTo>
                <a:lnTo>
                  <a:pt x="412997" y="205740"/>
                </a:lnTo>
                <a:close/>
              </a:path>
              <a:path w="413385" h="411479">
                <a:moveTo>
                  <a:pt x="59436" y="306324"/>
                </a:moveTo>
                <a:lnTo>
                  <a:pt x="50292" y="289560"/>
                </a:lnTo>
                <a:lnTo>
                  <a:pt x="50292" y="291084"/>
                </a:lnTo>
                <a:lnTo>
                  <a:pt x="42672" y="274320"/>
                </a:lnTo>
                <a:lnTo>
                  <a:pt x="42672" y="275844"/>
                </a:lnTo>
                <a:lnTo>
                  <a:pt x="36576" y="257556"/>
                </a:lnTo>
                <a:lnTo>
                  <a:pt x="36576" y="259080"/>
                </a:lnTo>
                <a:lnTo>
                  <a:pt x="32004" y="240792"/>
                </a:lnTo>
                <a:lnTo>
                  <a:pt x="32004" y="242316"/>
                </a:lnTo>
                <a:lnTo>
                  <a:pt x="28956" y="224028"/>
                </a:lnTo>
                <a:lnTo>
                  <a:pt x="28956" y="311984"/>
                </a:lnTo>
                <a:lnTo>
                  <a:pt x="35052" y="321564"/>
                </a:lnTo>
                <a:lnTo>
                  <a:pt x="47244" y="336804"/>
                </a:lnTo>
                <a:lnTo>
                  <a:pt x="57912" y="348657"/>
                </a:lnTo>
                <a:lnTo>
                  <a:pt x="57912" y="304800"/>
                </a:lnTo>
                <a:lnTo>
                  <a:pt x="59436" y="306324"/>
                </a:lnTo>
                <a:close/>
              </a:path>
              <a:path w="413385" h="411479">
                <a:moveTo>
                  <a:pt x="59436" y="106680"/>
                </a:moveTo>
                <a:lnTo>
                  <a:pt x="57912" y="106680"/>
                </a:lnTo>
                <a:lnTo>
                  <a:pt x="57912" y="109220"/>
                </a:lnTo>
                <a:lnTo>
                  <a:pt x="59436" y="106680"/>
                </a:lnTo>
                <a:close/>
              </a:path>
              <a:path w="413385" h="411479">
                <a:moveTo>
                  <a:pt x="70104" y="320040"/>
                </a:moveTo>
                <a:lnTo>
                  <a:pt x="57912" y="304800"/>
                </a:lnTo>
                <a:lnTo>
                  <a:pt x="57912" y="348657"/>
                </a:lnTo>
                <a:lnTo>
                  <a:pt x="60960" y="352044"/>
                </a:lnTo>
                <a:lnTo>
                  <a:pt x="68580" y="359664"/>
                </a:lnTo>
                <a:lnTo>
                  <a:pt x="68580" y="318516"/>
                </a:lnTo>
                <a:lnTo>
                  <a:pt x="70104" y="320040"/>
                </a:lnTo>
                <a:close/>
              </a:path>
              <a:path w="413385" h="411479">
                <a:moveTo>
                  <a:pt x="70104" y="92964"/>
                </a:moveTo>
                <a:lnTo>
                  <a:pt x="68580" y="92964"/>
                </a:lnTo>
                <a:lnTo>
                  <a:pt x="68580" y="94678"/>
                </a:lnTo>
                <a:lnTo>
                  <a:pt x="70104" y="92964"/>
                </a:lnTo>
                <a:close/>
              </a:path>
              <a:path w="413385" h="411479">
                <a:moveTo>
                  <a:pt x="94488" y="342900"/>
                </a:moveTo>
                <a:lnTo>
                  <a:pt x="80772" y="330708"/>
                </a:lnTo>
                <a:lnTo>
                  <a:pt x="80772" y="332232"/>
                </a:lnTo>
                <a:lnTo>
                  <a:pt x="68580" y="318516"/>
                </a:lnTo>
                <a:lnTo>
                  <a:pt x="68580" y="359664"/>
                </a:lnTo>
                <a:lnTo>
                  <a:pt x="74676" y="365760"/>
                </a:lnTo>
                <a:lnTo>
                  <a:pt x="92964" y="377397"/>
                </a:lnTo>
                <a:lnTo>
                  <a:pt x="92964" y="342900"/>
                </a:lnTo>
                <a:lnTo>
                  <a:pt x="94488" y="342900"/>
                </a:lnTo>
                <a:close/>
              </a:path>
              <a:path w="413385" h="411479">
                <a:moveTo>
                  <a:pt x="94488" y="68580"/>
                </a:moveTo>
                <a:lnTo>
                  <a:pt x="92964" y="68580"/>
                </a:lnTo>
                <a:lnTo>
                  <a:pt x="92964" y="69934"/>
                </a:lnTo>
                <a:lnTo>
                  <a:pt x="94488" y="68580"/>
                </a:lnTo>
                <a:close/>
              </a:path>
              <a:path w="413385" h="411479">
                <a:moveTo>
                  <a:pt x="108204" y="353568"/>
                </a:moveTo>
                <a:lnTo>
                  <a:pt x="92964" y="342900"/>
                </a:lnTo>
                <a:lnTo>
                  <a:pt x="92964" y="377397"/>
                </a:lnTo>
                <a:lnTo>
                  <a:pt x="106680" y="386126"/>
                </a:lnTo>
                <a:lnTo>
                  <a:pt x="106680" y="353568"/>
                </a:lnTo>
                <a:lnTo>
                  <a:pt x="108204" y="353568"/>
                </a:lnTo>
                <a:close/>
              </a:path>
              <a:path w="413385" h="411479">
                <a:moveTo>
                  <a:pt x="108204" y="58369"/>
                </a:moveTo>
                <a:lnTo>
                  <a:pt x="108204" y="57912"/>
                </a:lnTo>
                <a:lnTo>
                  <a:pt x="106680" y="59436"/>
                </a:lnTo>
                <a:lnTo>
                  <a:pt x="108204" y="58369"/>
                </a:lnTo>
                <a:close/>
              </a:path>
              <a:path w="413385" h="411479">
                <a:moveTo>
                  <a:pt x="121920" y="393954"/>
                </a:moveTo>
                <a:lnTo>
                  <a:pt x="121920" y="362712"/>
                </a:lnTo>
                <a:lnTo>
                  <a:pt x="106680" y="353568"/>
                </a:lnTo>
                <a:lnTo>
                  <a:pt x="106680" y="386126"/>
                </a:lnTo>
                <a:lnTo>
                  <a:pt x="108204" y="387096"/>
                </a:lnTo>
                <a:lnTo>
                  <a:pt x="121920" y="393954"/>
                </a:lnTo>
                <a:close/>
              </a:path>
              <a:path w="413385" h="411479">
                <a:moveTo>
                  <a:pt x="121920" y="49460"/>
                </a:moveTo>
                <a:lnTo>
                  <a:pt x="121920" y="48768"/>
                </a:lnTo>
                <a:lnTo>
                  <a:pt x="120396" y="50292"/>
                </a:lnTo>
                <a:lnTo>
                  <a:pt x="121920" y="49460"/>
                </a:lnTo>
                <a:close/>
              </a:path>
              <a:path w="413385" h="411479">
                <a:moveTo>
                  <a:pt x="153924" y="405149"/>
                </a:moveTo>
                <a:lnTo>
                  <a:pt x="153924" y="376428"/>
                </a:lnTo>
                <a:lnTo>
                  <a:pt x="137160" y="368808"/>
                </a:lnTo>
                <a:lnTo>
                  <a:pt x="137160" y="370332"/>
                </a:lnTo>
                <a:lnTo>
                  <a:pt x="120396" y="361188"/>
                </a:lnTo>
                <a:lnTo>
                  <a:pt x="121920" y="362712"/>
                </a:lnTo>
                <a:lnTo>
                  <a:pt x="121920" y="393954"/>
                </a:lnTo>
                <a:lnTo>
                  <a:pt x="126492" y="396240"/>
                </a:lnTo>
                <a:lnTo>
                  <a:pt x="144780" y="402336"/>
                </a:lnTo>
                <a:lnTo>
                  <a:pt x="153924" y="405149"/>
                </a:lnTo>
                <a:close/>
              </a:path>
              <a:path w="413385" h="411479">
                <a:moveTo>
                  <a:pt x="153924" y="36576"/>
                </a:moveTo>
                <a:lnTo>
                  <a:pt x="152400" y="36576"/>
                </a:lnTo>
                <a:lnTo>
                  <a:pt x="152400" y="37130"/>
                </a:lnTo>
                <a:lnTo>
                  <a:pt x="153924" y="36576"/>
                </a:lnTo>
                <a:close/>
              </a:path>
              <a:path w="413385" h="411479">
                <a:moveTo>
                  <a:pt x="188976" y="382524"/>
                </a:moveTo>
                <a:lnTo>
                  <a:pt x="170688" y="379476"/>
                </a:lnTo>
                <a:lnTo>
                  <a:pt x="152400" y="374904"/>
                </a:lnTo>
                <a:lnTo>
                  <a:pt x="153924" y="376428"/>
                </a:lnTo>
                <a:lnTo>
                  <a:pt x="153924" y="405149"/>
                </a:lnTo>
                <a:lnTo>
                  <a:pt x="164592" y="408432"/>
                </a:lnTo>
                <a:lnTo>
                  <a:pt x="185928" y="411480"/>
                </a:lnTo>
                <a:lnTo>
                  <a:pt x="187452" y="411480"/>
                </a:lnTo>
                <a:lnTo>
                  <a:pt x="187452" y="382524"/>
                </a:lnTo>
                <a:lnTo>
                  <a:pt x="188976" y="382524"/>
                </a:lnTo>
                <a:close/>
              </a:path>
              <a:path w="413385" h="411479">
                <a:moveTo>
                  <a:pt x="188976" y="28956"/>
                </a:moveTo>
                <a:lnTo>
                  <a:pt x="187452" y="28956"/>
                </a:lnTo>
                <a:lnTo>
                  <a:pt x="187452" y="29210"/>
                </a:lnTo>
                <a:lnTo>
                  <a:pt x="188976" y="28956"/>
                </a:lnTo>
                <a:close/>
              </a:path>
              <a:path w="413385" h="411479">
                <a:moveTo>
                  <a:pt x="207264" y="411480"/>
                </a:moveTo>
                <a:lnTo>
                  <a:pt x="207264" y="384048"/>
                </a:lnTo>
                <a:lnTo>
                  <a:pt x="205740" y="384048"/>
                </a:lnTo>
                <a:lnTo>
                  <a:pt x="187452" y="382524"/>
                </a:lnTo>
                <a:lnTo>
                  <a:pt x="187452" y="411480"/>
                </a:lnTo>
                <a:lnTo>
                  <a:pt x="207264" y="411480"/>
                </a:lnTo>
                <a:close/>
              </a:path>
              <a:path w="413385" h="411479">
                <a:moveTo>
                  <a:pt x="206502" y="27490"/>
                </a:moveTo>
                <a:lnTo>
                  <a:pt x="205740" y="27432"/>
                </a:lnTo>
                <a:lnTo>
                  <a:pt x="206502" y="27490"/>
                </a:lnTo>
                <a:close/>
              </a:path>
              <a:path w="413385" h="411479">
                <a:moveTo>
                  <a:pt x="206502" y="383989"/>
                </a:moveTo>
                <a:lnTo>
                  <a:pt x="205740" y="383930"/>
                </a:lnTo>
                <a:lnTo>
                  <a:pt x="206502" y="383989"/>
                </a:lnTo>
                <a:close/>
              </a:path>
              <a:path w="413385" h="411479">
                <a:moveTo>
                  <a:pt x="207264" y="27549"/>
                </a:moveTo>
                <a:lnTo>
                  <a:pt x="206502" y="27490"/>
                </a:lnTo>
                <a:lnTo>
                  <a:pt x="207264" y="27549"/>
                </a:lnTo>
                <a:close/>
              </a:path>
              <a:path w="413385" h="411479">
                <a:moveTo>
                  <a:pt x="225552" y="411480"/>
                </a:moveTo>
                <a:lnTo>
                  <a:pt x="225552" y="382524"/>
                </a:lnTo>
                <a:lnTo>
                  <a:pt x="206502" y="383989"/>
                </a:lnTo>
                <a:lnTo>
                  <a:pt x="207264" y="384048"/>
                </a:lnTo>
                <a:lnTo>
                  <a:pt x="207264" y="411480"/>
                </a:lnTo>
                <a:lnTo>
                  <a:pt x="225552" y="411480"/>
                </a:lnTo>
                <a:close/>
              </a:path>
              <a:path w="413385" h="411479">
                <a:moveTo>
                  <a:pt x="225552" y="29210"/>
                </a:moveTo>
                <a:lnTo>
                  <a:pt x="225552" y="28956"/>
                </a:lnTo>
                <a:lnTo>
                  <a:pt x="224028" y="28956"/>
                </a:lnTo>
                <a:lnTo>
                  <a:pt x="225552" y="29210"/>
                </a:lnTo>
                <a:close/>
              </a:path>
              <a:path w="413385" h="411479">
                <a:moveTo>
                  <a:pt x="260597" y="374904"/>
                </a:moveTo>
                <a:lnTo>
                  <a:pt x="242309" y="379476"/>
                </a:lnTo>
                <a:lnTo>
                  <a:pt x="224028" y="382524"/>
                </a:lnTo>
                <a:lnTo>
                  <a:pt x="225552" y="382524"/>
                </a:lnTo>
                <a:lnTo>
                  <a:pt x="225552" y="411480"/>
                </a:lnTo>
                <a:lnTo>
                  <a:pt x="227076" y="411480"/>
                </a:lnTo>
                <a:lnTo>
                  <a:pt x="248405" y="408432"/>
                </a:lnTo>
                <a:lnTo>
                  <a:pt x="259073" y="405149"/>
                </a:lnTo>
                <a:lnTo>
                  <a:pt x="259073" y="376428"/>
                </a:lnTo>
                <a:lnTo>
                  <a:pt x="260597" y="374904"/>
                </a:lnTo>
                <a:close/>
              </a:path>
              <a:path w="413385" h="411479">
                <a:moveTo>
                  <a:pt x="260597" y="37130"/>
                </a:moveTo>
                <a:lnTo>
                  <a:pt x="260597" y="36576"/>
                </a:lnTo>
                <a:lnTo>
                  <a:pt x="259073" y="36576"/>
                </a:lnTo>
                <a:lnTo>
                  <a:pt x="260597" y="37130"/>
                </a:lnTo>
                <a:close/>
              </a:path>
              <a:path w="413385" h="411479">
                <a:moveTo>
                  <a:pt x="275837" y="368808"/>
                </a:moveTo>
                <a:lnTo>
                  <a:pt x="259073" y="376428"/>
                </a:lnTo>
                <a:lnTo>
                  <a:pt x="259073" y="405149"/>
                </a:lnTo>
                <a:lnTo>
                  <a:pt x="268217" y="402336"/>
                </a:lnTo>
                <a:lnTo>
                  <a:pt x="274313" y="400304"/>
                </a:lnTo>
                <a:lnTo>
                  <a:pt x="274313" y="370332"/>
                </a:lnTo>
                <a:lnTo>
                  <a:pt x="275837" y="368808"/>
                </a:lnTo>
                <a:close/>
              </a:path>
              <a:path w="413385" h="411479">
                <a:moveTo>
                  <a:pt x="275837" y="42672"/>
                </a:moveTo>
                <a:lnTo>
                  <a:pt x="274313" y="41148"/>
                </a:lnTo>
                <a:lnTo>
                  <a:pt x="274313" y="42117"/>
                </a:lnTo>
                <a:lnTo>
                  <a:pt x="275837" y="42672"/>
                </a:lnTo>
                <a:close/>
              </a:path>
              <a:path w="413385" h="411479">
                <a:moveTo>
                  <a:pt x="306317" y="386126"/>
                </a:moveTo>
                <a:lnTo>
                  <a:pt x="306317" y="353568"/>
                </a:lnTo>
                <a:lnTo>
                  <a:pt x="291077" y="362712"/>
                </a:lnTo>
                <a:lnTo>
                  <a:pt x="291077" y="361188"/>
                </a:lnTo>
                <a:lnTo>
                  <a:pt x="274313" y="370332"/>
                </a:lnTo>
                <a:lnTo>
                  <a:pt x="274313" y="400304"/>
                </a:lnTo>
                <a:lnTo>
                  <a:pt x="286505" y="396240"/>
                </a:lnTo>
                <a:lnTo>
                  <a:pt x="304793" y="387096"/>
                </a:lnTo>
                <a:lnTo>
                  <a:pt x="306317" y="386126"/>
                </a:lnTo>
                <a:close/>
              </a:path>
              <a:path w="413385" h="411479">
                <a:moveTo>
                  <a:pt x="306317" y="59436"/>
                </a:moveTo>
                <a:lnTo>
                  <a:pt x="304793" y="57912"/>
                </a:lnTo>
                <a:lnTo>
                  <a:pt x="304793" y="58369"/>
                </a:lnTo>
                <a:lnTo>
                  <a:pt x="306317" y="59436"/>
                </a:lnTo>
                <a:close/>
              </a:path>
              <a:path w="413385" h="411479">
                <a:moveTo>
                  <a:pt x="320033" y="377397"/>
                </a:moveTo>
                <a:lnTo>
                  <a:pt x="320033" y="342900"/>
                </a:lnTo>
                <a:lnTo>
                  <a:pt x="304793" y="353568"/>
                </a:lnTo>
                <a:lnTo>
                  <a:pt x="306317" y="353568"/>
                </a:lnTo>
                <a:lnTo>
                  <a:pt x="306317" y="386126"/>
                </a:lnTo>
                <a:lnTo>
                  <a:pt x="320033" y="377397"/>
                </a:lnTo>
                <a:close/>
              </a:path>
              <a:path w="413385" h="411479">
                <a:moveTo>
                  <a:pt x="320033" y="69934"/>
                </a:moveTo>
                <a:lnTo>
                  <a:pt x="320033" y="68580"/>
                </a:lnTo>
                <a:lnTo>
                  <a:pt x="318509" y="68580"/>
                </a:lnTo>
                <a:lnTo>
                  <a:pt x="320033" y="69934"/>
                </a:lnTo>
                <a:close/>
              </a:path>
              <a:path w="413385" h="411479">
                <a:moveTo>
                  <a:pt x="344417" y="359664"/>
                </a:moveTo>
                <a:lnTo>
                  <a:pt x="344417" y="318516"/>
                </a:lnTo>
                <a:lnTo>
                  <a:pt x="332225" y="332232"/>
                </a:lnTo>
                <a:lnTo>
                  <a:pt x="332225" y="330708"/>
                </a:lnTo>
                <a:lnTo>
                  <a:pt x="318509" y="342900"/>
                </a:lnTo>
                <a:lnTo>
                  <a:pt x="320033" y="342900"/>
                </a:lnTo>
                <a:lnTo>
                  <a:pt x="320033" y="377397"/>
                </a:lnTo>
                <a:lnTo>
                  <a:pt x="338321" y="365760"/>
                </a:lnTo>
                <a:lnTo>
                  <a:pt x="344417" y="359664"/>
                </a:lnTo>
                <a:close/>
              </a:path>
              <a:path w="413385" h="411479">
                <a:moveTo>
                  <a:pt x="344417" y="94923"/>
                </a:moveTo>
                <a:lnTo>
                  <a:pt x="344417" y="92964"/>
                </a:lnTo>
                <a:lnTo>
                  <a:pt x="342893" y="92964"/>
                </a:lnTo>
                <a:lnTo>
                  <a:pt x="344417" y="94923"/>
                </a:lnTo>
                <a:close/>
              </a:path>
              <a:path w="413385" h="411479">
                <a:moveTo>
                  <a:pt x="384041" y="311984"/>
                </a:moveTo>
                <a:lnTo>
                  <a:pt x="384041" y="224028"/>
                </a:lnTo>
                <a:lnTo>
                  <a:pt x="380993" y="242316"/>
                </a:lnTo>
                <a:lnTo>
                  <a:pt x="380993" y="240792"/>
                </a:lnTo>
                <a:lnTo>
                  <a:pt x="376421" y="259080"/>
                </a:lnTo>
                <a:lnTo>
                  <a:pt x="376421" y="257556"/>
                </a:lnTo>
                <a:lnTo>
                  <a:pt x="370325" y="275844"/>
                </a:lnTo>
                <a:lnTo>
                  <a:pt x="370325" y="274320"/>
                </a:lnTo>
                <a:lnTo>
                  <a:pt x="362705" y="291084"/>
                </a:lnTo>
                <a:lnTo>
                  <a:pt x="362705" y="289560"/>
                </a:lnTo>
                <a:lnTo>
                  <a:pt x="353561" y="306324"/>
                </a:lnTo>
                <a:lnTo>
                  <a:pt x="353561" y="304800"/>
                </a:lnTo>
                <a:lnTo>
                  <a:pt x="342893" y="320040"/>
                </a:lnTo>
                <a:lnTo>
                  <a:pt x="344417" y="318516"/>
                </a:lnTo>
                <a:lnTo>
                  <a:pt x="344417" y="359664"/>
                </a:lnTo>
                <a:lnTo>
                  <a:pt x="352037" y="352044"/>
                </a:lnTo>
                <a:lnTo>
                  <a:pt x="365753" y="336804"/>
                </a:lnTo>
                <a:lnTo>
                  <a:pt x="377945" y="321564"/>
                </a:lnTo>
                <a:lnTo>
                  <a:pt x="384041" y="311984"/>
                </a:lnTo>
                <a:close/>
              </a:path>
              <a:path w="413385" h="411479">
                <a:moveTo>
                  <a:pt x="384041" y="205740"/>
                </a:moveTo>
                <a:lnTo>
                  <a:pt x="384041" y="188976"/>
                </a:lnTo>
                <a:lnTo>
                  <a:pt x="382517" y="187452"/>
                </a:lnTo>
                <a:lnTo>
                  <a:pt x="383983" y="206502"/>
                </a:lnTo>
                <a:lnTo>
                  <a:pt x="384041" y="205740"/>
                </a:lnTo>
                <a:close/>
              </a:path>
              <a:path w="413385" h="411479">
                <a:moveTo>
                  <a:pt x="384041" y="224028"/>
                </a:moveTo>
                <a:lnTo>
                  <a:pt x="384041" y="207264"/>
                </a:lnTo>
                <a:lnTo>
                  <a:pt x="383983" y="206502"/>
                </a:lnTo>
                <a:lnTo>
                  <a:pt x="382517" y="225552"/>
                </a:lnTo>
                <a:lnTo>
                  <a:pt x="384041" y="224028"/>
                </a:lnTo>
                <a:close/>
              </a:path>
              <a:path w="413385" h="411479">
                <a:moveTo>
                  <a:pt x="384041" y="207264"/>
                </a:moveTo>
                <a:lnTo>
                  <a:pt x="384041" y="205740"/>
                </a:lnTo>
                <a:lnTo>
                  <a:pt x="383983" y="206502"/>
                </a:lnTo>
                <a:lnTo>
                  <a:pt x="384041" y="207264"/>
                </a:lnTo>
                <a:close/>
              </a:path>
            </a:pathLst>
          </a:custGeom>
          <a:solidFill>
            <a:srgbClr val="006FBF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31" name="object 9">
            <a:extLst>
              <a:ext uri="{FF2B5EF4-FFF2-40B4-BE49-F238E27FC236}">
                <a16:creationId xmlns:a16="http://schemas.microsoft.com/office/drawing/2014/main" id="{F5DC4FFD-27D2-42D0-8E86-9905CFA874DE}"/>
              </a:ext>
            </a:extLst>
          </p:cNvPr>
          <p:cNvSpPr txBox="1"/>
          <p:nvPr/>
        </p:nvSpPr>
        <p:spPr>
          <a:xfrm>
            <a:off x="1062514" y="2680297"/>
            <a:ext cx="122396" cy="21736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pc="56" dirty="0">
                <a:solidFill>
                  <a:srgbClr val="FFFFFF"/>
                </a:solidFill>
                <a:latin typeface="Microsoft Sans Serif"/>
                <a:cs typeface="Microsoft Sans Serif"/>
              </a:rPr>
              <a:t>3</a:t>
            </a:r>
            <a:endParaRPr>
              <a:latin typeface="Microsoft Sans Serif"/>
              <a:cs typeface="Microsoft Sans Serif"/>
            </a:endParaRPr>
          </a:p>
        </p:txBody>
      </p:sp>
      <p:sp>
        <p:nvSpPr>
          <p:cNvPr id="32" name="object 10">
            <a:extLst>
              <a:ext uri="{FF2B5EF4-FFF2-40B4-BE49-F238E27FC236}">
                <a16:creationId xmlns:a16="http://schemas.microsoft.com/office/drawing/2014/main" id="{7CB3E5CB-4EC1-4D28-BAF4-98157968E0AA}"/>
              </a:ext>
            </a:extLst>
          </p:cNvPr>
          <p:cNvSpPr/>
          <p:nvPr/>
        </p:nvSpPr>
        <p:spPr>
          <a:xfrm>
            <a:off x="978310" y="3372195"/>
            <a:ext cx="288131" cy="288131"/>
          </a:xfrm>
          <a:custGeom>
            <a:avLst/>
            <a:gdLst/>
            <a:ahLst/>
            <a:cxnLst/>
            <a:rect l="l" t="t" r="r" b="b"/>
            <a:pathLst>
              <a:path w="384175" h="384175">
                <a:moveTo>
                  <a:pt x="384041" y="192024"/>
                </a:moveTo>
                <a:lnTo>
                  <a:pt x="379003" y="148276"/>
                </a:lnTo>
                <a:lnTo>
                  <a:pt x="364634" y="107968"/>
                </a:lnTo>
                <a:lnTo>
                  <a:pt x="342054" y="72298"/>
                </a:lnTo>
                <a:lnTo>
                  <a:pt x="312383" y="42467"/>
                </a:lnTo>
                <a:lnTo>
                  <a:pt x="276742" y="19674"/>
                </a:lnTo>
                <a:lnTo>
                  <a:pt x="236248" y="5118"/>
                </a:lnTo>
                <a:lnTo>
                  <a:pt x="192024" y="0"/>
                </a:lnTo>
                <a:lnTo>
                  <a:pt x="148276" y="5118"/>
                </a:lnTo>
                <a:lnTo>
                  <a:pt x="107968" y="19674"/>
                </a:lnTo>
                <a:lnTo>
                  <a:pt x="72298" y="42467"/>
                </a:lnTo>
                <a:lnTo>
                  <a:pt x="42467" y="72298"/>
                </a:lnTo>
                <a:lnTo>
                  <a:pt x="19674" y="107968"/>
                </a:lnTo>
                <a:lnTo>
                  <a:pt x="5118" y="148276"/>
                </a:lnTo>
                <a:lnTo>
                  <a:pt x="0" y="192024"/>
                </a:lnTo>
                <a:lnTo>
                  <a:pt x="5118" y="236251"/>
                </a:lnTo>
                <a:lnTo>
                  <a:pt x="19674" y="276745"/>
                </a:lnTo>
                <a:lnTo>
                  <a:pt x="42467" y="312388"/>
                </a:lnTo>
                <a:lnTo>
                  <a:pt x="72298" y="342060"/>
                </a:lnTo>
                <a:lnTo>
                  <a:pt x="107968" y="364640"/>
                </a:lnTo>
                <a:lnTo>
                  <a:pt x="148276" y="379009"/>
                </a:lnTo>
                <a:lnTo>
                  <a:pt x="192024" y="384048"/>
                </a:lnTo>
                <a:lnTo>
                  <a:pt x="236248" y="379009"/>
                </a:lnTo>
                <a:lnTo>
                  <a:pt x="276742" y="364640"/>
                </a:lnTo>
                <a:lnTo>
                  <a:pt x="312383" y="342060"/>
                </a:lnTo>
                <a:lnTo>
                  <a:pt x="342054" y="312388"/>
                </a:lnTo>
                <a:lnTo>
                  <a:pt x="364634" y="276745"/>
                </a:lnTo>
                <a:lnTo>
                  <a:pt x="379003" y="236251"/>
                </a:lnTo>
                <a:lnTo>
                  <a:pt x="384041" y="192024"/>
                </a:lnTo>
                <a:close/>
              </a:path>
            </a:pathLst>
          </a:custGeom>
          <a:solidFill>
            <a:srgbClr val="006FBF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33" name="object 11">
            <a:extLst>
              <a:ext uri="{FF2B5EF4-FFF2-40B4-BE49-F238E27FC236}">
                <a16:creationId xmlns:a16="http://schemas.microsoft.com/office/drawing/2014/main" id="{DC340E24-603B-44CE-9072-82C69AC124FD}"/>
              </a:ext>
            </a:extLst>
          </p:cNvPr>
          <p:cNvSpPr/>
          <p:nvPr/>
        </p:nvSpPr>
        <p:spPr>
          <a:xfrm>
            <a:off x="968022" y="3361907"/>
            <a:ext cx="310038" cy="310038"/>
          </a:xfrm>
          <a:custGeom>
            <a:avLst/>
            <a:gdLst/>
            <a:ahLst/>
            <a:cxnLst/>
            <a:rect l="l" t="t" r="r" b="b"/>
            <a:pathLst>
              <a:path w="413385" h="413385">
                <a:moveTo>
                  <a:pt x="412997" y="205740"/>
                </a:moveTo>
                <a:lnTo>
                  <a:pt x="408425" y="164592"/>
                </a:lnTo>
                <a:lnTo>
                  <a:pt x="388613" y="108204"/>
                </a:lnTo>
                <a:lnTo>
                  <a:pt x="365753" y="74676"/>
                </a:lnTo>
                <a:lnTo>
                  <a:pt x="338321" y="47244"/>
                </a:lnTo>
                <a:lnTo>
                  <a:pt x="304793" y="24384"/>
                </a:lnTo>
                <a:lnTo>
                  <a:pt x="268217" y="9144"/>
                </a:lnTo>
                <a:lnTo>
                  <a:pt x="227076" y="1524"/>
                </a:lnTo>
                <a:lnTo>
                  <a:pt x="205740" y="0"/>
                </a:lnTo>
                <a:lnTo>
                  <a:pt x="185928" y="1524"/>
                </a:lnTo>
                <a:lnTo>
                  <a:pt x="144780" y="9144"/>
                </a:lnTo>
                <a:lnTo>
                  <a:pt x="108204" y="24384"/>
                </a:lnTo>
                <a:lnTo>
                  <a:pt x="74676" y="47244"/>
                </a:lnTo>
                <a:lnTo>
                  <a:pt x="47244" y="74676"/>
                </a:lnTo>
                <a:lnTo>
                  <a:pt x="24384" y="108204"/>
                </a:lnTo>
                <a:lnTo>
                  <a:pt x="9144" y="144780"/>
                </a:lnTo>
                <a:lnTo>
                  <a:pt x="1524" y="184404"/>
                </a:lnTo>
                <a:lnTo>
                  <a:pt x="0" y="205740"/>
                </a:lnTo>
                <a:lnTo>
                  <a:pt x="1524" y="227076"/>
                </a:lnTo>
                <a:lnTo>
                  <a:pt x="9144" y="266700"/>
                </a:lnTo>
                <a:lnTo>
                  <a:pt x="24384" y="304800"/>
                </a:lnTo>
                <a:lnTo>
                  <a:pt x="28956" y="311984"/>
                </a:lnTo>
                <a:lnTo>
                  <a:pt x="28956" y="188976"/>
                </a:lnTo>
                <a:lnTo>
                  <a:pt x="32004" y="169164"/>
                </a:lnTo>
                <a:lnTo>
                  <a:pt x="32004" y="170688"/>
                </a:lnTo>
                <a:lnTo>
                  <a:pt x="36576" y="152400"/>
                </a:lnTo>
                <a:lnTo>
                  <a:pt x="36576" y="153924"/>
                </a:lnTo>
                <a:lnTo>
                  <a:pt x="42672" y="135636"/>
                </a:lnTo>
                <a:lnTo>
                  <a:pt x="42672" y="137160"/>
                </a:lnTo>
                <a:lnTo>
                  <a:pt x="50292" y="120396"/>
                </a:lnTo>
                <a:lnTo>
                  <a:pt x="50292" y="121920"/>
                </a:lnTo>
                <a:lnTo>
                  <a:pt x="57912" y="109220"/>
                </a:lnTo>
                <a:lnTo>
                  <a:pt x="57912" y="106680"/>
                </a:lnTo>
                <a:lnTo>
                  <a:pt x="68580" y="94678"/>
                </a:lnTo>
                <a:lnTo>
                  <a:pt x="68580" y="92964"/>
                </a:lnTo>
                <a:lnTo>
                  <a:pt x="80772" y="79248"/>
                </a:lnTo>
                <a:lnTo>
                  <a:pt x="80772" y="80772"/>
                </a:lnTo>
                <a:lnTo>
                  <a:pt x="92964" y="69934"/>
                </a:lnTo>
                <a:lnTo>
                  <a:pt x="92964" y="68580"/>
                </a:lnTo>
                <a:lnTo>
                  <a:pt x="108204" y="57912"/>
                </a:lnTo>
                <a:lnTo>
                  <a:pt x="108204" y="58369"/>
                </a:lnTo>
                <a:lnTo>
                  <a:pt x="121920" y="48768"/>
                </a:lnTo>
                <a:lnTo>
                  <a:pt x="121920" y="49599"/>
                </a:lnTo>
                <a:lnTo>
                  <a:pt x="137160" y="42672"/>
                </a:lnTo>
                <a:lnTo>
                  <a:pt x="152400" y="37130"/>
                </a:lnTo>
                <a:lnTo>
                  <a:pt x="152400" y="36576"/>
                </a:lnTo>
                <a:lnTo>
                  <a:pt x="170688" y="32004"/>
                </a:lnTo>
                <a:lnTo>
                  <a:pt x="187452" y="29210"/>
                </a:lnTo>
                <a:lnTo>
                  <a:pt x="187452" y="28956"/>
                </a:lnTo>
                <a:lnTo>
                  <a:pt x="225552" y="28956"/>
                </a:lnTo>
                <a:lnTo>
                  <a:pt x="225552" y="29210"/>
                </a:lnTo>
                <a:lnTo>
                  <a:pt x="242309" y="32004"/>
                </a:lnTo>
                <a:lnTo>
                  <a:pt x="260597" y="36576"/>
                </a:lnTo>
                <a:lnTo>
                  <a:pt x="260597" y="37130"/>
                </a:lnTo>
                <a:lnTo>
                  <a:pt x="275837" y="42672"/>
                </a:lnTo>
                <a:lnTo>
                  <a:pt x="275837" y="43364"/>
                </a:lnTo>
                <a:lnTo>
                  <a:pt x="291077" y="50292"/>
                </a:lnTo>
                <a:lnTo>
                  <a:pt x="291077" y="48768"/>
                </a:lnTo>
                <a:lnTo>
                  <a:pt x="304793" y="58369"/>
                </a:lnTo>
                <a:lnTo>
                  <a:pt x="304793" y="57912"/>
                </a:lnTo>
                <a:lnTo>
                  <a:pt x="320033" y="68580"/>
                </a:lnTo>
                <a:lnTo>
                  <a:pt x="320033" y="69934"/>
                </a:lnTo>
                <a:lnTo>
                  <a:pt x="332225" y="80772"/>
                </a:lnTo>
                <a:lnTo>
                  <a:pt x="332225" y="79248"/>
                </a:lnTo>
                <a:lnTo>
                  <a:pt x="344417" y="92964"/>
                </a:lnTo>
                <a:lnTo>
                  <a:pt x="344417" y="94923"/>
                </a:lnTo>
                <a:lnTo>
                  <a:pt x="353561" y="106680"/>
                </a:lnTo>
                <a:lnTo>
                  <a:pt x="362705" y="121920"/>
                </a:lnTo>
                <a:lnTo>
                  <a:pt x="362705" y="120396"/>
                </a:lnTo>
                <a:lnTo>
                  <a:pt x="370325" y="137160"/>
                </a:lnTo>
                <a:lnTo>
                  <a:pt x="370325" y="135636"/>
                </a:lnTo>
                <a:lnTo>
                  <a:pt x="376421" y="153924"/>
                </a:lnTo>
                <a:lnTo>
                  <a:pt x="376421" y="152400"/>
                </a:lnTo>
                <a:lnTo>
                  <a:pt x="380993" y="170688"/>
                </a:lnTo>
                <a:lnTo>
                  <a:pt x="380993" y="169164"/>
                </a:lnTo>
                <a:lnTo>
                  <a:pt x="384041" y="188976"/>
                </a:lnTo>
                <a:lnTo>
                  <a:pt x="384041" y="311984"/>
                </a:lnTo>
                <a:lnTo>
                  <a:pt x="388613" y="304800"/>
                </a:lnTo>
                <a:lnTo>
                  <a:pt x="396233" y="286512"/>
                </a:lnTo>
                <a:lnTo>
                  <a:pt x="403853" y="266700"/>
                </a:lnTo>
                <a:lnTo>
                  <a:pt x="408425" y="246888"/>
                </a:lnTo>
                <a:lnTo>
                  <a:pt x="411473" y="227076"/>
                </a:lnTo>
                <a:lnTo>
                  <a:pt x="412997" y="205740"/>
                </a:lnTo>
                <a:close/>
              </a:path>
              <a:path w="413385" h="413385">
                <a:moveTo>
                  <a:pt x="59436" y="306324"/>
                </a:moveTo>
                <a:lnTo>
                  <a:pt x="50292" y="289560"/>
                </a:lnTo>
                <a:lnTo>
                  <a:pt x="50292" y="291084"/>
                </a:lnTo>
                <a:lnTo>
                  <a:pt x="42672" y="274320"/>
                </a:lnTo>
                <a:lnTo>
                  <a:pt x="42672" y="275844"/>
                </a:lnTo>
                <a:lnTo>
                  <a:pt x="36576" y="257556"/>
                </a:lnTo>
                <a:lnTo>
                  <a:pt x="36576" y="259080"/>
                </a:lnTo>
                <a:lnTo>
                  <a:pt x="32004" y="240792"/>
                </a:lnTo>
                <a:lnTo>
                  <a:pt x="32004" y="242316"/>
                </a:lnTo>
                <a:lnTo>
                  <a:pt x="28956" y="224028"/>
                </a:lnTo>
                <a:lnTo>
                  <a:pt x="28956" y="311984"/>
                </a:lnTo>
                <a:lnTo>
                  <a:pt x="35052" y="321564"/>
                </a:lnTo>
                <a:lnTo>
                  <a:pt x="47244" y="336804"/>
                </a:lnTo>
                <a:lnTo>
                  <a:pt x="57912" y="348657"/>
                </a:lnTo>
                <a:lnTo>
                  <a:pt x="57912" y="304800"/>
                </a:lnTo>
                <a:lnTo>
                  <a:pt x="59436" y="306324"/>
                </a:lnTo>
                <a:close/>
              </a:path>
              <a:path w="413385" h="413385">
                <a:moveTo>
                  <a:pt x="59436" y="106680"/>
                </a:moveTo>
                <a:lnTo>
                  <a:pt x="57912" y="106680"/>
                </a:lnTo>
                <a:lnTo>
                  <a:pt x="57912" y="109220"/>
                </a:lnTo>
                <a:lnTo>
                  <a:pt x="59436" y="106680"/>
                </a:lnTo>
                <a:close/>
              </a:path>
              <a:path w="413385" h="413385">
                <a:moveTo>
                  <a:pt x="70104" y="320040"/>
                </a:moveTo>
                <a:lnTo>
                  <a:pt x="57912" y="304800"/>
                </a:lnTo>
                <a:lnTo>
                  <a:pt x="57912" y="348657"/>
                </a:lnTo>
                <a:lnTo>
                  <a:pt x="60960" y="352044"/>
                </a:lnTo>
                <a:lnTo>
                  <a:pt x="68580" y="359664"/>
                </a:lnTo>
                <a:lnTo>
                  <a:pt x="68580" y="318516"/>
                </a:lnTo>
                <a:lnTo>
                  <a:pt x="70104" y="320040"/>
                </a:lnTo>
                <a:close/>
              </a:path>
              <a:path w="413385" h="413385">
                <a:moveTo>
                  <a:pt x="70104" y="92964"/>
                </a:moveTo>
                <a:lnTo>
                  <a:pt x="68580" y="92964"/>
                </a:lnTo>
                <a:lnTo>
                  <a:pt x="68580" y="94678"/>
                </a:lnTo>
                <a:lnTo>
                  <a:pt x="70104" y="92964"/>
                </a:lnTo>
                <a:close/>
              </a:path>
              <a:path w="413385" h="413385">
                <a:moveTo>
                  <a:pt x="94488" y="378367"/>
                </a:moveTo>
                <a:lnTo>
                  <a:pt x="94488" y="344424"/>
                </a:lnTo>
                <a:lnTo>
                  <a:pt x="80772" y="330708"/>
                </a:lnTo>
                <a:lnTo>
                  <a:pt x="80772" y="332232"/>
                </a:lnTo>
                <a:lnTo>
                  <a:pt x="68580" y="318516"/>
                </a:lnTo>
                <a:lnTo>
                  <a:pt x="68580" y="359664"/>
                </a:lnTo>
                <a:lnTo>
                  <a:pt x="74676" y="365760"/>
                </a:lnTo>
                <a:lnTo>
                  <a:pt x="94488" y="378367"/>
                </a:lnTo>
                <a:close/>
              </a:path>
              <a:path w="413385" h="413385">
                <a:moveTo>
                  <a:pt x="94488" y="68580"/>
                </a:moveTo>
                <a:lnTo>
                  <a:pt x="92964" y="68580"/>
                </a:lnTo>
                <a:lnTo>
                  <a:pt x="92964" y="69934"/>
                </a:lnTo>
                <a:lnTo>
                  <a:pt x="94488" y="68580"/>
                </a:lnTo>
                <a:close/>
              </a:path>
              <a:path w="413385" h="413385">
                <a:moveTo>
                  <a:pt x="108204" y="353568"/>
                </a:moveTo>
                <a:lnTo>
                  <a:pt x="92964" y="342900"/>
                </a:lnTo>
                <a:lnTo>
                  <a:pt x="94488" y="344424"/>
                </a:lnTo>
                <a:lnTo>
                  <a:pt x="94488" y="378367"/>
                </a:lnTo>
                <a:lnTo>
                  <a:pt x="106680" y="386126"/>
                </a:lnTo>
                <a:lnTo>
                  <a:pt x="106680" y="353568"/>
                </a:lnTo>
                <a:lnTo>
                  <a:pt x="108204" y="353568"/>
                </a:lnTo>
                <a:close/>
              </a:path>
              <a:path w="413385" h="413385">
                <a:moveTo>
                  <a:pt x="108204" y="58369"/>
                </a:moveTo>
                <a:lnTo>
                  <a:pt x="108204" y="57912"/>
                </a:lnTo>
                <a:lnTo>
                  <a:pt x="106680" y="59436"/>
                </a:lnTo>
                <a:lnTo>
                  <a:pt x="108204" y="58369"/>
                </a:lnTo>
                <a:close/>
              </a:path>
              <a:path w="413385" h="413385">
                <a:moveTo>
                  <a:pt x="121920" y="362712"/>
                </a:moveTo>
                <a:lnTo>
                  <a:pt x="106680" y="353568"/>
                </a:lnTo>
                <a:lnTo>
                  <a:pt x="106680" y="386126"/>
                </a:lnTo>
                <a:lnTo>
                  <a:pt x="108204" y="387096"/>
                </a:lnTo>
                <a:lnTo>
                  <a:pt x="120396" y="393192"/>
                </a:lnTo>
                <a:lnTo>
                  <a:pt x="120396" y="362712"/>
                </a:lnTo>
                <a:lnTo>
                  <a:pt x="121920" y="362712"/>
                </a:lnTo>
                <a:close/>
              </a:path>
              <a:path w="413385" h="413385">
                <a:moveTo>
                  <a:pt x="121920" y="49599"/>
                </a:moveTo>
                <a:lnTo>
                  <a:pt x="121920" y="48768"/>
                </a:lnTo>
                <a:lnTo>
                  <a:pt x="120396" y="50292"/>
                </a:lnTo>
                <a:lnTo>
                  <a:pt x="121920" y="49599"/>
                </a:lnTo>
                <a:close/>
              </a:path>
              <a:path w="413385" h="413385">
                <a:moveTo>
                  <a:pt x="153924" y="405149"/>
                </a:moveTo>
                <a:lnTo>
                  <a:pt x="153924" y="376428"/>
                </a:lnTo>
                <a:lnTo>
                  <a:pt x="137160" y="370332"/>
                </a:lnTo>
                <a:lnTo>
                  <a:pt x="120396" y="362712"/>
                </a:lnTo>
                <a:lnTo>
                  <a:pt x="120396" y="393192"/>
                </a:lnTo>
                <a:lnTo>
                  <a:pt x="126492" y="396240"/>
                </a:lnTo>
                <a:lnTo>
                  <a:pt x="144780" y="402336"/>
                </a:lnTo>
                <a:lnTo>
                  <a:pt x="153924" y="405149"/>
                </a:lnTo>
                <a:close/>
              </a:path>
              <a:path w="413385" h="413385">
                <a:moveTo>
                  <a:pt x="153924" y="36576"/>
                </a:moveTo>
                <a:lnTo>
                  <a:pt x="152400" y="36576"/>
                </a:lnTo>
                <a:lnTo>
                  <a:pt x="152400" y="37130"/>
                </a:lnTo>
                <a:lnTo>
                  <a:pt x="153924" y="36576"/>
                </a:lnTo>
                <a:close/>
              </a:path>
              <a:path w="413385" h="413385">
                <a:moveTo>
                  <a:pt x="188976" y="382524"/>
                </a:moveTo>
                <a:lnTo>
                  <a:pt x="170688" y="379476"/>
                </a:lnTo>
                <a:lnTo>
                  <a:pt x="170688" y="381000"/>
                </a:lnTo>
                <a:lnTo>
                  <a:pt x="152400" y="374904"/>
                </a:lnTo>
                <a:lnTo>
                  <a:pt x="153924" y="376428"/>
                </a:lnTo>
                <a:lnTo>
                  <a:pt x="153924" y="405149"/>
                </a:lnTo>
                <a:lnTo>
                  <a:pt x="164592" y="408432"/>
                </a:lnTo>
                <a:lnTo>
                  <a:pt x="185928" y="411480"/>
                </a:lnTo>
                <a:lnTo>
                  <a:pt x="187452" y="411597"/>
                </a:lnTo>
                <a:lnTo>
                  <a:pt x="187452" y="382524"/>
                </a:lnTo>
                <a:lnTo>
                  <a:pt x="188976" y="382524"/>
                </a:lnTo>
                <a:close/>
              </a:path>
              <a:path w="413385" h="413385">
                <a:moveTo>
                  <a:pt x="188976" y="28956"/>
                </a:moveTo>
                <a:lnTo>
                  <a:pt x="187452" y="28956"/>
                </a:lnTo>
                <a:lnTo>
                  <a:pt x="187452" y="29210"/>
                </a:lnTo>
                <a:lnTo>
                  <a:pt x="188976" y="28956"/>
                </a:lnTo>
                <a:close/>
              </a:path>
              <a:path w="413385" h="413385">
                <a:moveTo>
                  <a:pt x="207264" y="412895"/>
                </a:moveTo>
                <a:lnTo>
                  <a:pt x="207264" y="384048"/>
                </a:lnTo>
                <a:lnTo>
                  <a:pt x="205740" y="384048"/>
                </a:lnTo>
                <a:lnTo>
                  <a:pt x="187452" y="382524"/>
                </a:lnTo>
                <a:lnTo>
                  <a:pt x="187452" y="411597"/>
                </a:lnTo>
                <a:lnTo>
                  <a:pt x="205740" y="413004"/>
                </a:lnTo>
                <a:lnTo>
                  <a:pt x="207264" y="412895"/>
                </a:lnTo>
                <a:close/>
              </a:path>
              <a:path w="413385" h="413385">
                <a:moveTo>
                  <a:pt x="206502" y="383989"/>
                </a:moveTo>
                <a:lnTo>
                  <a:pt x="205740" y="383930"/>
                </a:lnTo>
                <a:lnTo>
                  <a:pt x="206502" y="383989"/>
                </a:lnTo>
                <a:close/>
              </a:path>
              <a:path w="413385" h="413385">
                <a:moveTo>
                  <a:pt x="225552" y="411588"/>
                </a:moveTo>
                <a:lnTo>
                  <a:pt x="225552" y="382524"/>
                </a:lnTo>
                <a:lnTo>
                  <a:pt x="206502" y="383989"/>
                </a:lnTo>
                <a:lnTo>
                  <a:pt x="207264" y="384048"/>
                </a:lnTo>
                <a:lnTo>
                  <a:pt x="207264" y="412895"/>
                </a:lnTo>
                <a:lnTo>
                  <a:pt x="225552" y="411588"/>
                </a:lnTo>
                <a:close/>
              </a:path>
              <a:path w="413385" h="413385">
                <a:moveTo>
                  <a:pt x="225552" y="29210"/>
                </a:moveTo>
                <a:lnTo>
                  <a:pt x="225552" y="28956"/>
                </a:lnTo>
                <a:lnTo>
                  <a:pt x="224028" y="28956"/>
                </a:lnTo>
                <a:lnTo>
                  <a:pt x="225552" y="29210"/>
                </a:lnTo>
                <a:close/>
              </a:path>
              <a:path w="413385" h="413385">
                <a:moveTo>
                  <a:pt x="260597" y="374904"/>
                </a:moveTo>
                <a:lnTo>
                  <a:pt x="242309" y="381000"/>
                </a:lnTo>
                <a:lnTo>
                  <a:pt x="242309" y="379476"/>
                </a:lnTo>
                <a:lnTo>
                  <a:pt x="224028" y="382524"/>
                </a:lnTo>
                <a:lnTo>
                  <a:pt x="225552" y="382524"/>
                </a:lnTo>
                <a:lnTo>
                  <a:pt x="225552" y="411588"/>
                </a:lnTo>
                <a:lnTo>
                  <a:pt x="227076" y="411480"/>
                </a:lnTo>
                <a:lnTo>
                  <a:pt x="248405" y="408432"/>
                </a:lnTo>
                <a:lnTo>
                  <a:pt x="259073" y="405149"/>
                </a:lnTo>
                <a:lnTo>
                  <a:pt x="259073" y="376428"/>
                </a:lnTo>
                <a:lnTo>
                  <a:pt x="260597" y="374904"/>
                </a:lnTo>
                <a:close/>
              </a:path>
              <a:path w="413385" h="413385">
                <a:moveTo>
                  <a:pt x="260597" y="37130"/>
                </a:moveTo>
                <a:lnTo>
                  <a:pt x="260597" y="36576"/>
                </a:lnTo>
                <a:lnTo>
                  <a:pt x="259073" y="36576"/>
                </a:lnTo>
                <a:lnTo>
                  <a:pt x="260597" y="37130"/>
                </a:lnTo>
                <a:close/>
              </a:path>
              <a:path w="413385" h="413385">
                <a:moveTo>
                  <a:pt x="275837" y="399796"/>
                </a:moveTo>
                <a:lnTo>
                  <a:pt x="275837" y="370332"/>
                </a:lnTo>
                <a:lnTo>
                  <a:pt x="259073" y="376428"/>
                </a:lnTo>
                <a:lnTo>
                  <a:pt x="259073" y="405149"/>
                </a:lnTo>
                <a:lnTo>
                  <a:pt x="268217" y="402336"/>
                </a:lnTo>
                <a:lnTo>
                  <a:pt x="275837" y="399796"/>
                </a:lnTo>
                <a:close/>
              </a:path>
              <a:path w="413385" h="413385">
                <a:moveTo>
                  <a:pt x="275837" y="43364"/>
                </a:moveTo>
                <a:lnTo>
                  <a:pt x="275837" y="42672"/>
                </a:lnTo>
                <a:lnTo>
                  <a:pt x="274313" y="42672"/>
                </a:lnTo>
                <a:lnTo>
                  <a:pt x="275837" y="43364"/>
                </a:lnTo>
                <a:close/>
              </a:path>
              <a:path w="413385" h="413385">
                <a:moveTo>
                  <a:pt x="306317" y="386126"/>
                </a:moveTo>
                <a:lnTo>
                  <a:pt x="306317" y="353568"/>
                </a:lnTo>
                <a:lnTo>
                  <a:pt x="291077" y="362712"/>
                </a:lnTo>
                <a:lnTo>
                  <a:pt x="274313" y="370332"/>
                </a:lnTo>
                <a:lnTo>
                  <a:pt x="275837" y="370332"/>
                </a:lnTo>
                <a:lnTo>
                  <a:pt x="275837" y="399796"/>
                </a:lnTo>
                <a:lnTo>
                  <a:pt x="286505" y="396240"/>
                </a:lnTo>
                <a:lnTo>
                  <a:pt x="304793" y="387096"/>
                </a:lnTo>
                <a:lnTo>
                  <a:pt x="306317" y="386126"/>
                </a:lnTo>
                <a:close/>
              </a:path>
              <a:path w="413385" h="413385">
                <a:moveTo>
                  <a:pt x="306317" y="59436"/>
                </a:moveTo>
                <a:lnTo>
                  <a:pt x="304793" y="57912"/>
                </a:lnTo>
                <a:lnTo>
                  <a:pt x="304793" y="58369"/>
                </a:lnTo>
                <a:lnTo>
                  <a:pt x="306317" y="59436"/>
                </a:lnTo>
                <a:close/>
              </a:path>
              <a:path w="413385" h="413385">
                <a:moveTo>
                  <a:pt x="320033" y="342900"/>
                </a:moveTo>
                <a:lnTo>
                  <a:pt x="304793" y="353568"/>
                </a:lnTo>
                <a:lnTo>
                  <a:pt x="306317" y="353568"/>
                </a:lnTo>
                <a:lnTo>
                  <a:pt x="306317" y="386126"/>
                </a:lnTo>
                <a:lnTo>
                  <a:pt x="318509" y="378367"/>
                </a:lnTo>
                <a:lnTo>
                  <a:pt x="318509" y="344424"/>
                </a:lnTo>
                <a:lnTo>
                  <a:pt x="320033" y="342900"/>
                </a:lnTo>
                <a:close/>
              </a:path>
              <a:path w="413385" h="413385">
                <a:moveTo>
                  <a:pt x="320033" y="69934"/>
                </a:moveTo>
                <a:lnTo>
                  <a:pt x="320033" y="68580"/>
                </a:lnTo>
                <a:lnTo>
                  <a:pt x="318509" y="68580"/>
                </a:lnTo>
                <a:lnTo>
                  <a:pt x="320033" y="69934"/>
                </a:lnTo>
                <a:close/>
              </a:path>
              <a:path w="413385" h="413385">
                <a:moveTo>
                  <a:pt x="344417" y="359664"/>
                </a:moveTo>
                <a:lnTo>
                  <a:pt x="344417" y="318516"/>
                </a:lnTo>
                <a:lnTo>
                  <a:pt x="332225" y="332232"/>
                </a:lnTo>
                <a:lnTo>
                  <a:pt x="332225" y="330708"/>
                </a:lnTo>
                <a:lnTo>
                  <a:pt x="318509" y="344424"/>
                </a:lnTo>
                <a:lnTo>
                  <a:pt x="318509" y="378367"/>
                </a:lnTo>
                <a:lnTo>
                  <a:pt x="338321" y="365760"/>
                </a:lnTo>
                <a:lnTo>
                  <a:pt x="344417" y="359664"/>
                </a:lnTo>
                <a:close/>
              </a:path>
              <a:path w="413385" h="413385">
                <a:moveTo>
                  <a:pt x="344417" y="94923"/>
                </a:moveTo>
                <a:lnTo>
                  <a:pt x="344417" y="92964"/>
                </a:lnTo>
                <a:lnTo>
                  <a:pt x="342893" y="92964"/>
                </a:lnTo>
                <a:lnTo>
                  <a:pt x="344417" y="94923"/>
                </a:lnTo>
                <a:close/>
              </a:path>
              <a:path w="413385" h="413385">
                <a:moveTo>
                  <a:pt x="384041" y="311984"/>
                </a:moveTo>
                <a:lnTo>
                  <a:pt x="384041" y="224028"/>
                </a:lnTo>
                <a:lnTo>
                  <a:pt x="380993" y="242316"/>
                </a:lnTo>
                <a:lnTo>
                  <a:pt x="380993" y="240792"/>
                </a:lnTo>
                <a:lnTo>
                  <a:pt x="376421" y="259080"/>
                </a:lnTo>
                <a:lnTo>
                  <a:pt x="376421" y="257556"/>
                </a:lnTo>
                <a:lnTo>
                  <a:pt x="370325" y="275844"/>
                </a:lnTo>
                <a:lnTo>
                  <a:pt x="370325" y="274320"/>
                </a:lnTo>
                <a:lnTo>
                  <a:pt x="362705" y="291084"/>
                </a:lnTo>
                <a:lnTo>
                  <a:pt x="362705" y="289560"/>
                </a:lnTo>
                <a:lnTo>
                  <a:pt x="353561" y="306324"/>
                </a:lnTo>
                <a:lnTo>
                  <a:pt x="353561" y="304800"/>
                </a:lnTo>
                <a:lnTo>
                  <a:pt x="342893" y="320040"/>
                </a:lnTo>
                <a:lnTo>
                  <a:pt x="344417" y="318516"/>
                </a:lnTo>
                <a:lnTo>
                  <a:pt x="344417" y="359664"/>
                </a:lnTo>
                <a:lnTo>
                  <a:pt x="352037" y="352044"/>
                </a:lnTo>
                <a:lnTo>
                  <a:pt x="365753" y="336804"/>
                </a:lnTo>
                <a:lnTo>
                  <a:pt x="377945" y="321564"/>
                </a:lnTo>
                <a:lnTo>
                  <a:pt x="384041" y="311984"/>
                </a:lnTo>
                <a:close/>
              </a:path>
              <a:path w="413385" h="413385">
                <a:moveTo>
                  <a:pt x="384041" y="205740"/>
                </a:moveTo>
                <a:lnTo>
                  <a:pt x="384041" y="188976"/>
                </a:lnTo>
                <a:lnTo>
                  <a:pt x="382517" y="187452"/>
                </a:lnTo>
                <a:lnTo>
                  <a:pt x="383983" y="206502"/>
                </a:lnTo>
                <a:lnTo>
                  <a:pt x="384041" y="205740"/>
                </a:lnTo>
                <a:close/>
              </a:path>
              <a:path w="413385" h="413385">
                <a:moveTo>
                  <a:pt x="384041" y="224028"/>
                </a:moveTo>
                <a:lnTo>
                  <a:pt x="384041" y="207264"/>
                </a:lnTo>
                <a:lnTo>
                  <a:pt x="383983" y="206502"/>
                </a:lnTo>
                <a:lnTo>
                  <a:pt x="382517" y="225552"/>
                </a:lnTo>
                <a:lnTo>
                  <a:pt x="384041" y="224028"/>
                </a:lnTo>
                <a:close/>
              </a:path>
              <a:path w="413385" h="413385">
                <a:moveTo>
                  <a:pt x="384041" y="207264"/>
                </a:moveTo>
                <a:lnTo>
                  <a:pt x="384041" y="205740"/>
                </a:lnTo>
                <a:lnTo>
                  <a:pt x="383983" y="206502"/>
                </a:lnTo>
                <a:lnTo>
                  <a:pt x="384041" y="207264"/>
                </a:lnTo>
                <a:close/>
              </a:path>
            </a:pathLst>
          </a:custGeom>
          <a:solidFill>
            <a:srgbClr val="006FBF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44" name="object 12">
            <a:extLst>
              <a:ext uri="{FF2B5EF4-FFF2-40B4-BE49-F238E27FC236}">
                <a16:creationId xmlns:a16="http://schemas.microsoft.com/office/drawing/2014/main" id="{0ED68002-A7B3-4ED5-8380-C6345AE9F831}"/>
              </a:ext>
            </a:extLst>
          </p:cNvPr>
          <p:cNvSpPr txBox="1"/>
          <p:nvPr/>
        </p:nvSpPr>
        <p:spPr>
          <a:xfrm>
            <a:off x="1062514" y="3406101"/>
            <a:ext cx="122396" cy="21736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pc="56" dirty="0">
                <a:solidFill>
                  <a:srgbClr val="FFFFFF"/>
                </a:solidFill>
                <a:latin typeface="Microsoft Sans Serif"/>
                <a:cs typeface="Microsoft Sans Serif"/>
              </a:rPr>
              <a:t>4</a:t>
            </a:r>
            <a:endParaRPr dirty="0">
              <a:latin typeface="Microsoft Sans Serif"/>
              <a:cs typeface="Microsoft Sans Serif"/>
            </a:endParaRPr>
          </a:p>
        </p:txBody>
      </p:sp>
      <p:sp>
        <p:nvSpPr>
          <p:cNvPr id="45" name="object 13">
            <a:extLst>
              <a:ext uri="{FF2B5EF4-FFF2-40B4-BE49-F238E27FC236}">
                <a16:creationId xmlns:a16="http://schemas.microsoft.com/office/drawing/2014/main" id="{B167A7A4-F0FE-43CF-A410-3B704EE2EE30}"/>
              </a:ext>
            </a:extLst>
          </p:cNvPr>
          <p:cNvSpPr/>
          <p:nvPr/>
        </p:nvSpPr>
        <p:spPr>
          <a:xfrm>
            <a:off x="978310" y="4152273"/>
            <a:ext cx="288131" cy="288131"/>
          </a:xfrm>
          <a:custGeom>
            <a:avLst/>
            <a:gdLst/>
            <a:ahLst/>
            <a:cxnLst/>
            <a:rect l="l" t="t" r="r" b="b"/>
            <a:pathLst>
              <a:path w="384175" h="384175">
                <a:moveTo>
                  <a:pt x="384041" y="192024"/>
                </a:moveTo>
                <a:lnTo>
                  <a:pt x="379003" y="148276"/>
                </a:lnTo>
                <a:lnTo>
                  <a:pt x="364634" y="107968"/>
                </a:lnTo>
                <a:lnTo>
                  <a:pt x="342054" y="72298"/>
                </a:lnTo>
                <a:lnTo>
                  <a:pt x="312383" y="42467"/>
                </a:lnTo>
                <a:lnTo>
                  <a:pt x="276742" y="19674"/>
                </a:lnTo>
                <a:lnTo>
                  <a:pt x="236248" y="5118"/>
                </a:lnTo>
                <a:lnTo>
                  <a:pt x="192024" y="0"/>
                </a:lnTo>
                <a:lnTo>
                  <a:pt x="148276" y="5118"/>
                </a:lnTo>
                <a:lnTo>
                  <a:pt x="107968" y="19674"/>
                </a:lnTo>
                <a:lnTo>
                  <a:pt x="72298" y="42467"/>
                </a:lnTo>
                <a:lnTo>
                  <a:pt x="42467" y="72298"/>
                </a:lnTo>
                <a:lnTo>
                  <a:pt x="19674" y="107968"/>
                </a:lnTo>
                <a:lnTo>
                  <a:pt x="5118" y="148276"/>
                </a:lnTo>
                <a:lnTo>
                  <a:pt x="0" y="192024"/>
                </a:lnTo>
                <a:lnTo>
                  <a:pt x="5118" y="236251"/>
                </a:lnTo>
                <a:lnTo>
                  <a:pt x="19674" y="276745"/>
                </a:lnTo>
                <a:lnTo>
                  <a:pt x="42467" y="312388"/>
                </a:lnTo>
                <a:lnTo>
                  <a:pt x="72298" y="342060"/>
                </a:lnTo>
                <a:lnTo>
                  <a:pt x="107968" y="364640"/>
                </a:lnTo>
                <a:lnTo>
                  <a:pt x="148276" y="379009"/>
                </a:lnTo>
                <a:lnTo>
                  <a:pt x="192024" y="384048"/>
                </a:lnTo>
                <a:lnTo>
                  <a:pt x="236248" y="379009"/>
                </a:lnTo>
                <a:lnTo>
                  <a:pt x="276742" y="364640"/>
                </a:lnTo>
                <a:lnTo>
                  <a:pt x="312383" y="342060"/>
                </a:lnTo>
                <a:lnTo>
                  <a:pt x="342054" y="312388"/>
                </a:lnTo>
                <a:lnTo>
                  <a:pt x="364634" y="276745"/>
                </a:lnTo>
                <a:lnTo>
                  <a:pt x="379003" y="236251"/>
                </a:lnTo>
                <a:lnTo>
                  <a:pt x="384041" y="192024"/>
                </a:lnTo>
                <a:close/>
              </a:path>
            </a:pathLst>
          </a:custGeom>
          <a:solidFill>
            <a:srgbClr val="006FBF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46" name="object 14">
            <a:extLst>
              <a:ext uri="{FF2B5EF4-FFF2-40B4-BE49-F238E27FC236}">
                <a16:creationId xmlns:a16="http://schemas.microsoft.com/office/drawing/2014/main" id="{5F8C52E4-10A8-4752-8230-5BB2EDDE5A77}"/>
              </a:ext>
            </a:extLst>
          </p:cNvPr>
          <p:cNvSpPr/>
          <p:nvPr/>
        </p:nvSpPr>
        <p:spPr>
          <a:xfrm>
            <a:off x="968022" y="4141985"/>
            <a:ext cx="310038" cy="310038"/>
          </a:xfrm>
          <a:custGeom>
            <a:avLst/>
            <a:gdLst/>
            <a:ahLst/>
            <a:cxnLst/>
            <a:rect l="l" t="t" r="r" b="b"/>
            <a:pathLst>
              <a:path w="413385" h="413385">
                <a:moveTo>
                  <a:pt x="412997" y="205740"/>
                </a:moveTo>
                <a:lnTo>
                  <a:pt x="408425" y="164592"/>
                </a:lnTo>
                <a:lnTo>
                  <a:pt x="388613" y="108204"/>
                </a:lnTo>
                <a:lnTo>
                  <a:pt x="365753" y="74676"/>
                </a:lnTo>
                <a:lnTo>
                  <a:pt x="338321" y="47244"/>
                </a:lnTo>
                <a:lnTo>
                  <a:pt x="304793" y="24384"/>
                </a:lnTo>
                <a:lnTo>
                  <a:pt x="268217" y="9144"/>
                </a:lnTo>
                <a:lnTo>
                  <a:pt x="227076" y="1524"/>
                </a:lnTo>
                <a:lnTo>
                  <a:pt x="205740" y="0"/>
                </a:lnTo>
                <a:lnTo>
                  <a:pt x="185928" y="1524"/>
                </a:lnTo>
                <a:lnTo>
                  <a:pt x="144780" y="9144"/>
                </a:lnTo>
                <a:lnTo>
                  <a:pt x="108204" y="24384"/>
                </a:lnTo>
                <a:lnTo>
                  <a:pt x="74676" y="47244"/>
                </a:lnTo>
                <a:lnTo>
                  <a:pt x="47244" y="74676"/>
                </a:lnTo>
                <a:lnTo>
                  <a:pt x="24384" y="108204"/>
                </a:lnTo>
                <a:lnTo>
                  <a:pt x="9144" y="144780"/>
                </a:lnTo>
                <a:lnTo>
                  <a:pt x="1524" y="184404"/>
                </a:lnTo>
                <a:lnTo>
                  <a:pt x="0" y="205740"/>
                </a:lnTo>
                <a:lnTo>
                  <a:pt x="1524" y="227076"/>
                </a:lnTo>
                <a:lnTo>
                  <a:pt x="9144" y="266700"/>
                </a:lnTo>
                <a:lnTo>
                  <a:pt x="24384" y="304800"/>
                </a:lnTo>
                <a:lnTo>
                  <a:pt x="28956" y="311984"/>
                </a:lnTo>
                <a:lnTo>
                  <a:pt x="28956" y="188976"/>
                </a:lnTo>
                <a:lnTo>
                  <a:pt x="32004" y="169164"/>
                </a:lnTo>
                <a:lnTo>
                  <a:pt x="32004" y="170688"/>
                </a:lnTo>
                <a:lnTo>
                  <a:pt x="36576" y="152400"/>
                </a:lnTo>
                <a:lnTo>
                  <a:pt x="36576" y="153924"/>
                </a:lnTo>
                <a:lnTo>
                  <a:pt x="42672" y="135636"/>
                </a:lnTo>
                <a:lnTo>
                  <a:pt x="42672" y="137160"/>
                </a:lnTo>
                <a:lnTo>
                  <a:pt x="50292" y="120396"/>
                </a:lnTo>
                <a:lnTo>
                  <a:pt x="50292" y="121920"/>
                </a:lnTo>
                <a:lnTo>
                  <a:pt x="57912" y="109220"/>
                </a:lnTo>
                <a:lnTo>
                  <a:pt x="57912" y="106680"/>
                </a:lnTo>
                <a:lnTo>
                  <a:pt x="68580" y="94678"/>
                </a:lnTo>
                <a:lnTo>
                  <a:pt x="68580" y="92964"/>
                </a:lnTo>
                <a:lnTo>
                  <a:pt x="80772" y="80772"/>
                </a:lnTo>
                <a:lnTo>
                  <a:pt x="94488" y="68580"/>
                </a:lnTo>
                <a:lnTo>
                  <a:pt x="94488" y="68884"/>
                </a:lnTo>
                <a:lnTo>
                  <a:pt x="108204" y="57912"/>
                </a:lnTo>
                <a:lnTo>
                  <a:pt x="108204" y="58369"/>
                </a:lnTo>
                <a:lnTo>
                  <a:pt x="121920" y="48768"/>
                </a:lnTo>
                <a:lnTo>
                  <a:pt x="121920" y="49599"/>
                </a:lnTo>
                <a:lnTo>
                  <a:pt x="137160" y="42672"/>
                </a:lnTo>
                <a:lnTo>
                  <a:pt x="152400" y="37130"/>
                </a:lnTo>
                <a:lnTo>
                  <a:pt x="152400" y="36576"/>
                </a:lnTo>
                <a:lnTo>
                  <a:pt x="170688" y="32004"/>
                </a:lnTo>
                <a:lnTo>
                  <a:pt x="187452" y="29210"/>
                </a:lnTo>
                <a:lnTo>
                  <a:pt x="187452" y="28956"/>
                </a:lnTo>
                <a:lnTo>
                  <a:pt x="225552" y="28956"/>
                </a:lnTo>
                <a:lnTo>
                  <a:pt x="225552" y="29210"/>
                </a:lnTo>
                <a:lnTo>
                  <a:pt x="242309" y="32004"/>
                </a:lnTo>
                <a:lnTo>
                  <a:pt x="260597" y="36576"/>
                </a:lnTo>
                <a:lnTo>
                  <a:pt x="260597" y="37130"/>
                </a:lnTo>
                <a:lnTo>
                  <a:pt x="275837" y="42672"/>
                </a:lnTo>
                <a:lnTo>
                  <a:pt x="275837" y="43364"/>
                </a:lnTo>
                <a:lnTo>
                  <a:pt x="291077" y="50292"/>
                </a:lnTo>
                <a:lnTo>
                  <a:pt x="291077" y="48768"/>
                </a:lnTo>
                <a:lnTo>
                  <a:pt x="304793" y="58369"/>
                </a:lnTo>
                <a:lnTo>
                  <a:pt x="304793" y="57912"/>
                </a:lnTo>
                <a:lnTo>
                  <a:pt x="318509" y="68884"/>
                </a:lnTo>
                <a:lnTo>
                  <a:pt x="318509" y="68580"/>
                </a:lnTo>
                <a:lnTo>
                  <a:pt x="332225" y="80772"/>
                </a:lnTo>
                <a:lnTo>
                  <a:pt x="344417" y="92964"/>
                </a:lnTo>
                <a:lnTo>
                  <a:pt x="344417" y="94923"/>
                </a:lnTo>
                <a:lnTo>
                  <a:pt x="353561" y="106680"/>
                </a:lnTo>
                <a:lnTo>
                  <a:pt x="362705" y="121920"/>
                </a:lnTo>
                <a:lnTo>
                  <a:pt x="362705" y="120396"/>
                </a:lnTo>
                <a:lnTo>
                  <a:pt x="370325" y="137160"/>
                </a:lnTo>
                <a:lnTo>
                  <a:pt x="370325" y="135636"/>
                </a:lnTo>
                <a:lnTo>
                  <a:pt x="376421" y="153924"/>
                </a:lnTo>
                <a:lnTo>
                  <a:pt x="376421" y="152400"/>
                </a:lnTo>
                <a:lnTo>
                  <a:pt x="380993" y="170688"/>
                </a:lnTo>
                <a:lnTo>
                  <a:pt x="380993" y="169164"/>
                </a:lnTo>
                <a:lnTo>
                  <a:pt x="384041" y="188976"/>
                </a:lnTo>
                <a:lnTo>
                  <a:pt x="384041" y="311984"/>
                </a:lnTo>
                <a:lnTo>
                  <a:pt x="388613" y="304800"/>
                </a:lnTo>
                <a:lnTo>
                  <a:pt x="396233" y="286512"/>
                </a:lnTo>
                <a:lnTo>
                  <a:pt x="403853" y="266700"/>
                </a:lnTo>
                <a:lnTo>
                  <a:pt x="408425" y="248412"/>
                </a:lnTo>
                <a:lnTo>
                  <a:pt x="411473" y="227076"/>
                </a:lnTo>
                <a:lnTo>
                  <a:pt x="412997" y="205740"/>
                </a:lnTo>
                <a:close/>
              </a:path>
              <a:path w="413385" h="413385">
                <a:moveTo>
                  <a:pt x="59436" y="306324"/>
                </a:moveTo>
                <a:lnTo>
                  <a:pt x="50292" y="289560"/>
                </a:lnTo>
                <a:lnTo>
                  <a:pt x="50292" y="291084"/>
                </a:lnTo>
                <a:lnTo>
                  <a:pt x="42672" y="274320"/>
                </a:lnTo>
                <a:lnTo>
                  <a:pt x="42672" y="275844"/>
                </a:lnTo>
                <a:lnTo>
                  <a:pt x="36576" y="259080"/>
                </a:lnTo>
                <a:lnTo>
                  <a:pt x="32004" y="240792"/>
                </a:lnTo>
                <a:lnTo>
                  <a:pt x="32004" y="242316"/>
                </a:lnTo>
                <a:lnTo>
                  <a:pt x="28956" y="224028"/>
                </a:lnTo>
                <a:lnTo>
                  <a:pt x="28956" y="311984"/>
                </a:lnTo>
                <a:lnTo>
                  <a:pt x="35052" y="321564"/>
                </a:lnTo>
                <a:lnTo>
                  <a:pt x="47244" y="336804"/>
                </a:lnTo>
                <a:lnTo>
                  <a:pt x="57912" y="348657"/>
                </a:lnTo>
                <a:lnTo>
                  <a:pt x="57912" y="304800"/>
                </a:lnTo>
                <a:lnTo>
                  <a:pt x="59436" y="306324"/>
                </a:lnTo>
                <a:close/>
              </a:path>
              <a:path w="413385" h="413385">
                <a:moveTo>
                  <a:pt x="59436" y="106680"/>
                </a:moveTo>
                <a:lnTo>
                  <a:pt x="57912" y="106680"/>
                </a:lnTo>
                <a:lnTo>
                  <a:pt x="57912" y="109220"/>
                </a:lnTo>
                <a:lnTo>
                  <a:pt x="59436" y="106680"/>
                </a:lnTo>
                <a:close/>
              </a:path>
              <a:path w="413385" h="413385">
                <a:moveTo>
                  <a:pt x="70104" y="320040"/>
                </a:moveTo>
                <a:lnTo>
                  <a:pt x="57912" y="304800"/>
                </a:lnTo>
                <a:lnTo>
                  <a:pt x="57912" y="348657"/>
                </a:lnTo>
                <a:lnTo>
                  <a:pt x="60960" y="352044"/>
                </a:lnTo>
                <a:lnTo>
                  <a:pt x="68580" y="359664"/>
                </a:lnTo>
                <a:lnTo>
                  <a:pt x="68580" y="318516"/>
                </a:lnTo>
                <a:lnTo>
                  <a:pt x="70104" y="320040"/>
                </a:lnTo>
                <a:close/>
              </a:path>
              <a:path w="413385" h="413385">
                <a:moveTo>
                  <a:pt x="70104" y="92964"/>
                </a:moveTo>
                <a:lnTo>
                  <a:pt x="68580" y="92964"/>
                </a:lnTo>
                <a:lnTo>
                  <a:pt x="68580" y="94678"/>
                </a:lnTo>
                <a:lnTo>
                  <a:pt x="70104" y="92964"/>
                </a:lnTo>
                <a:close/>
              </a:path>
              <a:path w="413385" h="413385">
                <a:moveTo>
                  <a:pt x="94488" y="379614"/>
                </a:moveTo>
                <a:lnTo>
                  <a:pt x="94488" y="344424"/>
                </a:lnTo>
                <a:lnTo>
                  <a:pt x="80772" y="330708"/>
                </a:lnTo>
                <a:lnTo>
                  <a:pt x="80772" y="332232"/>
                </a:lnTo>
                <a:lnTo>
                  <a:pt x="68580" y="318516"/>
                </a:lnTo>
                <a:lnTo>
                  <a:pt x="68580" y="359664"/>
                </a:lnTo>
                <a:lnTo>
                  <a:pt x="74676" y="365760"/>
                </a:lnTo>
                <a:lnTo>
                  <a:pt x="91440" y="377952"/>
                </a:lnTo>
                <a:lnTo>
                  <a:pt x="94488" y="379614"/>
                </a:lnTo>
                <a:close/>
              </a:path>
              <a:path w="413385" h="413385">
                <a:moveTo>
                  <a:pt x="94488" y="68884"/>
                </a:moveTo>
                <a:lnTo>
                  <a:pt x="94488" y="68580"/>
                </a:lnTo>
                <a:lnTo>
                  <a:pt x="92964" y="70104"/>
                </a:lnTo>
                <a:lnTo>
                  <a:pt x="94488" y="68884"/>
                </a:lnTo>
                <a:close/>
              </a:path>
              <a:path w="413385" h="413385">
                <a:moveTo>
                  <a:pt x="108204" y="353568"/>
                </a:moveTo>
                <a:lnTo>
                  <a:pt x="92964" y="342900"/>
                </a:lnTo>
                <a:lnTo>
                  <a:pt x="94488" y="344424"/>
                </a:lnTo>
                <a:lnTo>
                  <a:pt x="94488" y="379614"/>
                </a:lnTo>
                <a:lnTo>
                  <a:pt x="106680" y="386264"/>
                </a:lnTo>
                <a:lnTo>
                  <a:pt x="106680" y="353568"/>
                </a:lnTo>
                <a:lnTo>
                  <a:pt x="108204" y="353568"/>
                </a:lnTo>
                <a:close/>
              </a:path>
              <a:path w="413385" h="413385">
                <a:moveTo>
                  <a:pt x="108204" y="58369"/>
                </a:moveTo>
                <a:lnTo>
                  <a:pt x="108204" y="57912"/>
                </a:lnTo>
                <a:lnTo>
                  <a:pt x="106680" y="59436"/>
                </a:lnTo>
                <a:lnTo>
                  <a:pt x="108204" y="58369"/>
                </a:lnTo>
                <a:close/>
              </a:path>
              <a:path w="413385" h="413385">
                <a:moveTo>
                  <a:pt x="121920" y="362712"/>
                </a:moveTo>
                <a:lnTo>
                  <a:pt x="106680" y="353568"/>
                </a:lnTo>
                <a:lnTo>
                  <a:pt x="106680" y="386264"/>
                </a:lnTo>
                <a:lnTo>
                  <a:pt x="108204" y="387096"/>
                </a:lnTo>
                <a:lnTo>
                  <a:pt x="120396" y="393192"/>
                </a:lnTo>
                <a:lnTo>
                  <a:pt x="120396" y="362712"/>
                </a:lnTo>
                <a:lnTo>
                  <a:pt x="121920" y="362712"/>
                </a:lnTo>
                <a:close/>
              </a:path>
              <a:path w="413385" h="413385">
                <a:moveTo>
                  <a:pt x="121920" y="49599"/>
                </a:moveTo>
                <a:lnTo>
                  <a:pt x="121920" y="48768"/>
                </a:lnTo>
                <a:lnTo>
                  <a:pt x="120396" y="50292"/>
                </a:lnTo>
                <a:lnTo>
                  <a:pt x="121920" y="49599"/>
                </a:lnTo>
                <a:close/>
              </a:path>
              <a:path w="413385" h="413385">
                <a:moveTo>
                  <a:pt x="153924" y="376428"/>
                </a:moveTo>
                <a:lnTo>
                  <a:pt x="137160" y="370332"/>
                </a:lnTo>
                <a:lnTo>
                  <a:pt x="120396" y="362712"/>
                </a:lnTo>
                <a:lnTo>
                  <a:pt x="120396" y="393192"/>
                </a:lnTo>
                <a:lnTo>
                  <a:pt x="126492" y="396240"/>
                </a:lnTo>
                <a:lnTo>
                  <a:pt x="144780" y="403860"/>
                </a:lnTo>
                <a:lnTo>
                  <a:pt x="152400" y="405618"/>
                </a:lnTo>
                <a:lnTo>
                  <a:pt x="152400" y="376428"/>
                </a:lnTo>
                <a:lnTo>
                  <a:pt x="153924" y="376428"/>
                </a:lnTo>
                <a:close/>
              </a:path>
              <a:path w="413385" h="413385">
                <a:moveTo>
                  <a:pt x="153924" y="36576"/>
                </a:moveTo>
                <a:lnTo>
                  <a:pt x="152400" y="36576"/>
                </a:lnTo>
                <a:lnTo>
                  <a:pt x="152400" y="37130"/>
                </a:lnTo>
                <a:lnTo>
                  <a:pt x="153924" y="36576"/>
                </a:lnTo>
                <a:close/>
              </a:path>
              <a:path w="413385" h="413385">
                <a:moveTo>
                  <a:pt x="188976" y="382524"/>
                </a:moveTo>
                <a:lnTo>
                  <a:pt x="170688" y="379476"/>
                </a:lnTo>
                <a:lnTo>
                  <a:pt x="170688" y="381000"/>
                </a:lnTo>
                <a:lnTo>
                  <a:pt x="152400" y="376428"/>
                </a:lnTo>
                <a:lnTo>
                  <a:pt x="152400" y="405618"/>
                </a:lnTo>
                <a:lnTo>
                  <a:pt x="164592" y="408432"/>
                </a:lnTo>
                <a:lnTo>
                  <a:pt x="185928" y="411480"/>
                </a:lnTo>
                <a:lnTo>
                  <a:pt x="187452" y="411597"/>
                </a:lnTo>
                <a:lnTo>
                  <a:pt x="187452" y="382524"/>
                </a:lnTo>
                <a:lnTo>
                  <a:pt x="188976" y="382524"/>
                </a:lnTo>
                <a:close/>
              </a:path>
              <a:path w="413385" h="413385">
                <a:moveTo>
                  <a:pt x="188976" y="28956"/>
                </a:moveTo>
                <a:lnTo>
                  <a:pt x="187452" y="28956"/>
                </a:lnTo>
                <a:lnTo>
                  <a:pt x="187452" y="29210"/>
                </a:lnTo>
                <a:lnTo>
                  <a:pt x="188976" y="28956"/>
                </a:lnTo>
                <a:close/>
              </a:path>
              <a:path w="413385" h="413385">
                <a:moveTo>
                  <a:pt x="207264" y="412895"/>
                </a:moveTo>
                <a:lnTo>
                  <a:pt x="207264" y="384048"/>
                </a:lnTo>
                <a:lnTo>
                  <a:pt x="205740" y="384048"/>
                </a:lnTo>
                <a:lnTo>
                  <a:pt x="187452" y="382524"/>
                </a:lnTo>
                <a:lnTo>
                  <a:pt x="187452" y="411597"/>
                </a:lnTo>
                <a:lnTo>
                  <a:pt x="205740" y="413004"/>
                </a:lnTo>
                <a:lnTo>
                  <a:pt x="207264" y="412895"/>
                </a:lnTo>
                <a:close/>
              </a:path>
              <a:path w="413385" h="413385">
                <a:moveTo>
                  <a:pt x="206502" y="383989"/>
                </a:moveTo>
                <a:lnTo>
                  <a:pt x="205740" y="383930"/>
                </a:lnTo>
                <a:lnTo>
                  <a:pt x="206502" y="383989"/>
                </a:lnTo>
                <a:close/>
              </a:path>
              <a:path w="413385" h="413385">
                <a:moveTo>
                  <a:pt x="225552" y="411588"/>
                </a:moveTo>
                <a:lnTo>
                  <a:pt x="225552" y="382524"/>
                </a:lnTo>
                <a:lnTo>
                  <a:pt x="206502" y="383989"/>
                </a:lnTo>
                <a:lnTo>
                  <a:pt x="207264" y="384048"/>
                </a:lnTo>
                <a:lnTo>
                  <a:pt x="207264" y="412895"/>
                </a:lnTo>
                <a:lnTo>
                  <a:pt x="225552" y="411588"/>
                </a:lnTo>
                <a:close/>
              </a:path>
              <a:path w="413385" h="413385">
                <a:moveTo>
                  <a:pt x="225552" y="29210"/>
                </a:moveTo>
                <a:lnTo>
                  <a:pt x="225552" y="28956"/>
                </a:lnTo>
                <a:lnTo>
                  <a:pt x="224028" y="28956"/>
                </a:lnTo>
                <a:lnTo>
                  <a:pt x="225552" y="29210"/>
                </a:lnTo>
                <a:close/>
              </a:path>
              <a:path w="413385" h="413385">
                <a:moveTo>
                  <a:pt x="260597" y="405618"/>
                </a:moveTo>
                <a:lnTo>
                  <a:pt x="260597" y="376428"/>
                </a:lnTo>
                <a:lnTo>
                  <a:pt x="242309" y="381000"/>
                </a:lnTo>
                <a:lnTo>
                  <a:pt x="242309" y="379476"/>
                </a:lnTo>
                <a:lnTo>
                  <a:pt x="224028" y="382524"/>
                </a:lnTo>
                <a:lnTo>
                  <a:pt x="225552" y="382524"/>
                </a:lnTo>
                <a:lnTo>
                  <a:pt x="225552" y="411588"/>
                </a:lnTo>
                <a:lnTo>
                  <a:pt x="227076" y="411480"/>
                </a:lnTo>
                <a:lnTo>
                  <a:pt x="248405" y="408432"/>
                </a:lnTo>
                <a:lnTo>
                  <a:pt x="260597" y="405618"/>
                </a:lnTo>
                <a:close/>
              </a:path>
              <a:path w="413385" h="413385">
                <a:moveTo>
                  <a:pt x="260597" y="37130"/>
                </a:moveTo>
                <a:lnTo>
                  <a:pt x="260597" y="36576"/>
                </a:lnTo>
                <a:lnTo>
                  <a:pt x="259073" y="36576"/>
                </a:lnTo>
                <a:lnTo>
                  <a:pt x="260597" y="37130"/>
                </a:lnTo>
                <a:close/>
              </a:path>
              <a:path w="413385" h="413385">
                <a:moveTo>
                  <a:pt x="275837" y="400685"/>
                </a:moveTo>
                <a:lnTo>
                  <a:pt x="275837" y="370332"/>
                </a:lnTo>
                <a:lnTo>
                  <a:pt x="259073" y="376428"/>
                </a:lnTo>
                <a:lnTo>
                  <a:pt x="260597" y="376428"/>
                </a:lnTo>
                <a:lnTo>
                  <a:pt x="260597" y="405618"/>
                </a:lnTo>
                <a:lnTo>
                  <a:pt x="268217" y="403860"/>
                </a:lnTo>
                <a:lnTo>
                  <a:pt x="275837" y="400685"/>
                </a:lnTo>
                <a:close/>
              </a:path>
              <a:path w="413385" h="413385">
                <a:moveTo>
                  <a:pt x="275837" y="43364"/>
                </a:moveTo>
                <a:lnTo>
                  <a:pt x="275837" y="42672"/>
                </a:lnTo>
                <a:lnTo>
                  <a:pt x="274313" y="42672"/>
                </a:lnTo>
                <a:lnTo>
                  <a:pt x="275837" y="43364"/>
                </a:lnTo>
                <a:close/>
              </a:path>
              <a:path w="413385" h="413385">
                <a:moveTo>
                  <a:pt x="306317" y="386264"/>
                </a:moveTo>
                <a:lnTo>
                  <a:pt x="306317" y="353568"/>
                </a:lnTo>
                <a:lnTo>
                  <a:pt x="291077" y="362712"/>
                </a:lnTo>
                <a:lnTo>
                  <a:pt x="274313" y="370332"/>
                </a:lnTo>
                <a:lnTo>
                  <a:pt x="275837" y="370332"/>
                </a:lnTo>
                <a:lnTo>
                  <a:pt x="275837" y="400685"/>
                </a:lnTo>
                <a:lnTo>
                  <a:pt x="286505" y="396240"/>
                </a:lnTo>
                <a:lnTo>
                  <a:pt x="304793" y="387096"/>
                </a:lnTo>
                <a:lnTo>
                  <a:pt x="306317" y="386264"/>
                </a:lnTo>
                <a:close/>
              </a:path>
              <a:path w="413385" h="413385">
                <a:moveTo>
                  <a:pt x="306317" y="59436"/>
                </a:moveTo>
                <a:lnTo>
                  <a:pt x="304793" y="57912"/>
                </a:lnTo>
                <a:lnTo>
                  <a:pt x="304793" y="58369"/>
                </a:lnTo>
                <a:lnTo>
                  <a:pt x="306317" y="59436"/>
                </a:lnTo>
                <a:close/>
              </a:path>
              <a:path w="413385" h="413385">
                <a:moveTo>
                  <a:pt x="320033" y="342900"/>
                </a:moveTo>
                <a:lnTo>
                  <a:pt x="304793" y="353568"/>
                </a:lnTo>
                <a:lnTo>
                  <a:pt x="306317" y="353568"/>
                </a:lnTo>
                <a:lnTo>
                  <a:pt x="306317" y="386264"/>
                </a:lnTo>
                <a:lnTo>
                  <a:pt x="318509" y="379614"/>
                </a:lnTo>
                <a:lnTo>
                  <a:pt x="318509" y="344424"/>
                </a:lnTo>
                <a:lnTo>
                  <a:pt x="320033" y="342900"/>
                </a:lnTo>
                <a:close/>
              </a:path>
              <a:path w="413385" h="413385">
                <a:moveTo>
                  <a:pt x="320033" y="70104"/>
                </a:moveTo>
                <a:lnTo>
                  <a:pt x="318509" y="68580"/>
                </a:lnTo>
                <a:lnTo>
                  <a:pt x="318509" y="68884"/>
                </a:lnTo>
                <a:lnTo>
                  <a:pt x="320033" y="70104"/>
                </a:lnTo>
                <a:close/>
              </a:path>
              <a:path w="413385" h="413385">
                <a:moveTo>
                  <a:pt x="344417" y="359664"/>
                </a:moveTo>
                <a:lnTo>
                  <a:pt x="344417" y="318516"/>
                </a:lnTo>
                <a:lnTo>
                  <a:pt x="332225" y="332232"/>
                </a:lnTo>
                <a:lnTo>
                  <a:pt x="332225" y="330708"/>
                </a:lnTo>
                <a:lnTo>
                  <a:pt x="318509" y="344424"/>
                </a:lnTo>
                <a:lnTo>
                  <a:pt x="318509" y="379614"/>
                </a:lnTo>
                <a:lnTo>
                  <a:pt x="321557" y="377952"/>
                </a:lnTo>
                <a:lnTo>
                  <a:pt x="338321" y="365760"/>
                </a:lnTo>
                <a:lnTo>
                  <a:pt x="344417" y="359664"/>
                </a:lnTo>
                <a:close/>
              </a:path>
              <a:path w="413385" h="413385">
                <a:moveTo>
                  <a:pt x="344417" y="94923"/>
                </a:moveTo>
                <a:lnTo>
                  <a:pt x="344417" y="92964"/>
                </a:lnTo>
                <a:lnTo>
                  <a:pt x="342893" y="92964"/>
                </a:lnTo>
                <a:lnTo>
                  <a:pt x="344417" y="94923"/>
                </a:lnTo>
                <a:close/>
              </a:path>
              <a:path w="413385" h="413385">
                <a:moveTo>
                  <a:pt x="384041" y="311984"/>
                </a:moveTo>
                <a:lnTo>
                  <a:pt x="384041" y="224028"/>
                </a:lnTo>
                <a:lnTo>
                  <a:pt x="380993" y="242316"/>
                </a:lnTo>
                <a:lnTo>
                  <a:pt x="380993" y="240792"/>
                </a:lnTo>
                <a:lnTo>
                  <a:pt x="376421" y="259080"/>
                </a:lnTo>
                <a:lnTo>
                  <a:pt x="370325" y="275844"/>
                </a:lnTo>
                <a:lnTo>
                  <a:pt x="370325" y="274320"/>
                </a:lnTo>
                <a:lnTo>
                  <a:pt x="362705" y="291084"/>
                </a:lnTo>
                <a:lnTo>
                  <a:pt x="362705" y="289560"/>
                </a:lnTo>
                <a:lnTo>
                  <a:pt x="353561" y="306324"/>
                </a:lnTo>
                <a:lnTo>
                  <a:pt x="353561" y="304800"/>
                </a:lnTo>
                <a:lnTo>
                  <a:pt x="342893" y="320040"/>
                </a:lnTo>
                <a:lnTo>
                  <a:pt x="344417" y="318516"/>
                </a:lnTo>
                <a:lnTo>
                  <a:pt x="344417" y="359664"/>
                </a:lnTo>
                <a:lnTo>
                  <a:pt x="352037" y="352044"/>
                </a:lnTo>
                <a:lnTo>
                  <a:pt x="365753" y="336804"/>
                </a:lnTo>
                <a:lnTo>
                  <a:pt x="377945" y="321564"/>
                </a:lnTo>
                <a:lnTo>
                  <a:pt x="384041" y="311984"/>
                </a:lnTo>
                <a:close/>
              </a:path>
              <a:path w="413385" h="413385">
                <a:moveTo>
                  <a:pt x="384041" y="205740"/>
                </a:moveTo>
                <a:lnTo>
                  <a:pt x="384041" y="188976"/>
                </a:lnTo>
                <a:lnTo>
                  <a:pt x="382517" y="187452"/>
                </a:lnTo>
                <a:lnTo>
                  <a:pt x="383983" y="206502"/>
                </a:lnTo>
                <a:lnTo>
                  <a:pt x="384041" y="205740"/>
                </a:lnTo>
                <a:close/>
              </a:path>
              <a:path w="413385" h="413385">
                <a:moveTo>
                  <a:pt x="384041" y="224028"/>
                </a:moveTo>
                <a:lnTo>
                  <a:pt x="384041" y="207264"/>
                </a:lnTo>
                <a:lnTo>
                  <a:pt x="383983" y="206502"/>
                </a:lnTo>
                <a:lnTo>
                  <a:pt x="382517" y="225552"/>
                </a:lnTo>
                <a:lnTo>
                  <a:pt x="384041" y="224028"/>
                </a:lnTo>
                <a:close/>
              </a:path>
              <a:path w="413385" h="413385">
                <a:moveTo>
                  <a:pt x="384041" y="207264"/>
                </a:moveTo>
                <a:lnTo>
                  <a:pt x="384041" y="205740"/>
                </a:lnTo>
                <a:lnTo>
                  <a:pt x="383983" y="206502"/>
                </a:lnTo>
                <a:lnTo>
                  <a:pt x="384041" y="207264"/>
                </a:lnTo>
                <a:close/>
              </a:path>
            </a:pathLst>
          </a:custGeom>
          <a:solidFill>
            <a:srgbClr val="006FBF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47" name="object 15">
            <a:extLst>
              <a:ext uri="{FF2B5EF4-FFF2-40B4-BE49-F238E27FC236}">
                <a16:creationId xmlns:a16="http://schemas.microsoft.com/office/drawing/2014/main" id="{91C92C10-9C62-4E92-BC7B-FABBE3C8D705}"/>
              </a:ext>
            </a:extLst>
          </p:cNvPr>
          <p:cNvSpPr/>
          <p:nvPr/>
        </p:nvSpPr>
        <p:spPr>
          <a:xfrm>
            <a:off x="978310" y="1198209"/>
            <a:ext cx="288131" cy="288131"/>
          </a:xfrm>
          <a:custGeom>
            <a:avLst/>
            <a:gdLst/>
            <a:ahLst/>
            <a:cxnLst/>
            <a:rect l="l" t="t" r="r" b="b"/>
            <a:pathLst>
              <a:path w="384175" h="384175">
                <a:moveTo>
                  <a:pt x="384041" y="192024"/>
                </a:moveTo>
                <a:lnTo>
                  <a:pt x="379003" y="147796"/>
                </a:lnTo>
                <a:lnTo>
                  <a:pt x="364634" y="107302"/>
                </a:lnTo>
                <a:lnTo>
                  <a:pt x="342054" y="71659"/>
                </a:lnTo>
                <a:lnTo>
                  <a:pt x="312383" y="41987"/>
                </a:lnTo>
                <a:lnTo>
                  <a:pt x="276742" y="19407"/>
                </a:lnTo>
                <a:lnTo>
                  <a:pt x="236248" y="5038"/>
                </a:lnTo>
                <a:lnTo>
                  <a:pt x="192024" y="0"/>
                </a:lnTo>
                <a:lnTo>
                  <a:pt x="148276" y="5038"/>
                </a:lnTo>
                <a:lnTo>
                  <a:pt x="107968" y="19407"/>
                </a:lnTo>
                <a:lnTo>
                  <a:pt x="72298" y="41987"/>
                </a:lnTo>
                <a:lnTo>
                  <a:pt x="42467" y="71659"/>
                </a:lnTo>
                <a:lnTo>
                  <a:pt x="19674" y="107302"/>
                </a:lnTo>
                <a:lnTo>
                  <a:pt x="5118" y="147796"/>
                </a:lnTo>
                <a:lnTo>
                  <a:pt x="0" y="192024"/>
                </a:lnTo>
                <a:lnTo>
                  <a:pt x="5118" y="236251"/>
                </a:lnTo>
                <a:lnTo>
                  <a:pt x="19674" y="276745"/>
                </a:lnTo>
                <a:lnTo>
                  <a:pt x="42467" y="312388"/>
                </a:lnTo>
                <a:lnTo>
                  <a:pt x="72298" y="342060"/>
                </a:lnTo>
                <a:lnTo>
                  <a:pt x="107968" y="364640"/>
                </a:lnTo>
                <a:lnTo>
                  <a:pt x="148276" y="379009"/>
                </a:lnTo>
                <a:lnTo>
                  <a:pt x="192024" y="384048"/>
                </a:lnTo>
                <a:lnTo>
                  <a:pt x="236248" y="379009"/>
                </a:lnTo>
                <a:lnTo>
                  <a:pt x="276742" y="364640"/>
                </a:lnTo>
                <a:lnTo>
                  <a:pt x="312383" y="342060"/>
                </a:lnTo>
                <a:lnTo>
                  <a:pt x="342054" y="312388"/>
                </a:lnTo>
                <a:lnTo>
                  <a:pt x="364634" y="276745"/>
                </a:lnTo>
                <a:lnTo>
                  <a:pt x="379003" y="236251"/>
                </a:lnTo>
                <a:lnTo>
                  <a:pt x="384041" y="192024"/>
                </a:lnTo>
                <a:close/>
              </a:path>
            </a:pathLst>
          </a:custGeom>
          <a:solidFill>
            <a:srgbClr val="006FBF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48" name="object 16">
            <a:extLst>
              <a:ext uri="{FF2B5EF4-FFF2-40B4-BE49-F238E27FC236}">
                <a16:creationId xmlns:a16="http://schemas.microsoft.com/office/drawing/2014/main" id="{72954685-8F47-4EB8-A208-97C623B9F582}"/>
              </a:ext>
            </a:extLst>
          </p:cNvPr>
          <p:cNvSpPr/>
          <p:nvPr/>
        </p:nvSpPr>
        <p:spPr>
          <a:xfrm>
            <a:off x="968022" y="1187921"/>
            <a:ext cx="310038" cy="308610"/>
          </a:xfrm>
          <a:custGeom>
            <a:avLst/>
            <a:gdLst/>
            <a:ahLst/>
            <a:cxnLst/>
            <a:rect l="l" t="t" r="r" b="b"/>
            <a:pathLst>
              <a:path w="413385" h="411480">
                <a:moveTo>
                  <a:pt x="412997" y="205740"/>
                </a:moveTo>
                <a:lnTo>
                  <a:pt x="408425" y="164592"/>
                </a:lnTo>
                <a:lnTo>
                  <a:pt x="396233" y="124968"/>
                </a:lnTo>
                <a:lnTo>
                  <a:pt x="377945" y="89916"/>
                </a:lnTo>
                <a:lnTo>
                  <a:pt x="352037" y="59436"/>
                </a:lnTo>
                <a:lnTo>
                  <a:pt x="304793" y="24384"/>
                </a:lnTo>
                <a:lnTo>
                  <a:pt x="268217" y="9144"/>
                </a:lnTo>
                <a:lnTo>
                  <a:pt x="227076" y="0"/>
                </a:lnTo>
                <a:lnTo>
                  <a:pt x="185928" y="0"/>
                </a:lnTo>
                <a:lnTo>
                  <a:pt x="144780" y="9144"/>
                </a:lnTo>
                <a:lnTo>
                  <a:pt x="108204" y="24384"/>
                </a:lnTo>
                <a:lnTo>
                  <a:pt x="74676" y="45720"/>
                </a:lnTo>
                <a:lnTo>
                  <a:pt x="47244" y="74676"/>
                </a:lnTo>
                <a:lnTo>
                  <a:pt x="24384" y="106680"/>
                </a:lnTo>
                <a:lnTo>
                  <a:pt x="9144" y="144780"/>
                </a:lnTo>
                <a:lnTo>
                  <a:pt x="1524" y="184404"/>
                </a:lnTo>
                <a:lnTo>
                  <a:pt x="0" y="205740"/>
                </a:lnTo>
                <a:lnTo>
                  <a:pt x="1524" y="227076"/>
                </a:lnTo>
                <a:lnTo>
                  <a:pt x="9144" y="266700"/>
                </a:lnTo>
                <a:lnTo>
                  <a:pt x="24384" y="304800"/>
                </a:lnTo>
                <a:lnTo>
                  <a:pt x="28956" y="311984"/>
                </a:lnTo>
                <a:lnTo>
                  <a:pt x="28956" y="188976"/>
                </a:lnTo>
                <a:lnTo>
                  <a:pt x="32004" y="169164"/>
                </a:lnTo>
                <a:lnTo>
                  <a:pt x="32004" y="170688"/>
                </a:lnTo>
                <a:lnTo>
                  <a:pt x="36576" y="152400"/>
                </a:lnTo>
                <a:lnTo>
                  <a:pt x="36576" y="153924"/>
                </a:lnTo>
                <a:lnTo>
                  <a:pt x="42672" y="135636"/>
                </a:lnTo>
                <a:lnTo>
                  <a:pt x="42672" y="137160"/>
                </a:lnTo>
                <a:lnTo>
                  <a:pt x="50292" y="120396"/>
                </a:lnTo>
                <a:lnTo>
                  <a:pt x="50292" y="121920"/>
                </a:lnTo>
                <a:lnTo>
                  <a:pt x="57912" y="107950"/>
                </a:lnTo>
                <a:lnTo>
                  <a:pt x="57912" y="106680"/>
                </a:lnTo>
                <a:lnTo>
                  <a:pt x="68580" y="93345"/>
                </a:lnTo>
                <a:lnTo>
                  <a:pt x="68580" y="92964"/>
                </a:lnTo>
                <a:lnTo>
                  <a:pt x="80772" y="79248"/>
                </a:lnTo>
                <a:lnTo>
                  <a:pt x="80772" y="80772"/>
                </a:lnTo>
                <a:lnTo>
                  <a:pt x="92964" y="69934"/>
                </a:lnTo>
                <a:lnTo>
                  <a:pt x="92964" y="68580"/>
                </a:lnTo>
                <a:lnTo>
                  <a:pt x="106680" y="58978"/>
                </a:lnTo>
                <a:lnTo>
                  <a:pt x="106680" y="57912"/>
                </a:lnTo>
                <a:lnTo>
                  <a:pt x="121920" y="48768"/>
                </a:lnTo>
                <a:lnTo>
                  <a:pt x="121920" y="49460"/>
                </a:lnTo>
                <a:lnTo>
                  <a:pt x="137160" y="41148"/>
                </a:lnTo>
                <a:lnTo>
                  <a:pt x="137160" y="42672"/>
                </a:lnTo>
                <a:lnTo>
                  <a:pt x="153924" y="35052"/>
                </a:lnTo>
                <a:lnTo>
                  <a:pt x="153924" y="36195"/>
                </a:lnTo>
                <a:lnTo>
                  <a:pt x="170688" y="32004"/>
                </a:lnTo>
                <a:lnTo>
                  <a:pt x="187452" y="29210"/>
                </a:lnTo>
                <a:lnTo>
                  <a:pt x="187452" y="28956"/>
                </a:lnTo>
                <a:lnTo>
                  <a:pt x="205740" y="27549"/>
                </a:lnTo>
                <a:lnTo>
                  <a:pt x="225552" y="28956"/>
                </a:lnTo>
                <a:lnTo>
                  <a:pt x="225552" y="29210"/>
                </a:lnTo>
                <a:lnTo>
                  <a:pt x="242309" y="32004"/>
                </a:lnTo>
                <a:lnTo>
                  <a:pt x="259073" y="36195"/>
                </a:lnTo>
                <a:lnTo>
                  <a:pt x="259073" y="35052"/>
                </a:lnTo>
                <a:lnTo>
                  <a:pt x="274313" y="41979"/>
                </a:lnTo>
                <a:lnTo>
                  <a:pt x="274313" y="41148"/>
                </a:lnTo>
                <a:lnTo>
                  <a:pt x="291077" y="50292"/>
                </a:lnTo>
                <a:lnTo>
                  <a:pt x="291077" y="48768"/>
                </a:lnTo>
                <a:lnTo>
                  <a:pt x="306317" y="57912"/>
                </a:lnTo>
                <a:lnTo>
                  <a:pt x="306317" y="58978"/>
                </a:lnTo>
                <a:lnTo>
                  <a:pt x="320033" y="68580"/>
                </a:lnTo>
                <a:lnTo>
                  <a:pt x="320033" y="69934"/>
                </a:lnTo>
                <a:lnTo>
                  <a:pt x="332225" y="80772"/>
                </a:lnTo>
                <a:lnTo>
                  <a:pt x="332225" y="79248"/>
                </a:lnTo>
                <a:lnTo>
                  <a:pt x="344417" y="92964"/>
                </a:lnTo>
                <a:lnTo>
                  <a:pt x="344417" y="93617"/>
                </a:lnTo>
                <a:lnTo>
                  <a:pt x="353561" y="106680"/>
                </a:lnTo>
                <a:lnTo>
                  <a:pt x="353561" y="105156"/>
                </a:lnTo>
                <a:lnTo>
                  <a:pt x="362705" y="121920"/>
                </a:lnTo>
                <a:lnTo>
                  <a:pt x="362705" y="120396"/>
                </a:lnTo>
                <a:lnTo>
                  <a:pt x="370325" y="137160"/>
                </a:lnTo>
                <a:lnTo>
                  <a:pt x="370325" y="135636"/>
                </a:lnTo>
                <a:lnTo>
                  <a:pt x="376421" y="153924"/>
                </a:lnTo>
                <a:lnTo>
                  <a:pt x="376421" y="152400"/>
                </a:lnTo>
                <a:lnTo>
                  <a:pt x="380993" y="170688"/>
                </a:lnTo>
                <a:lnTo>
                  <a:pt x="380993" y="169164"/>
                </a:lnTo>
                <a:lnTo>
                  <a:pt x="384041" y="188976"/>
                </a:lnTo>
                <a:lnTo>
                  <a:pt x="384041" y="311984"/>
                </a:lnTo>
                <a:lnTo>
                  <a:pt x="388613" y="304800"/>
                </a:lnTo>
                <a:lnTo>
                  <a:pt x="396233" y="286512"/>
                </a:lnTo>
                <a:lnTo>
                  <a:pt x="403853" y="266700"/>
                </a:lnTo>
                <a:lnTo>
                  <a:pt x="408425" y="246888"/>
                </a:lnTo>
                <a:lnTo>
                  <a:pt x="411473" y="227076"/>
                </a:lnTo>
                <a:lnTo>
                  <a:pt x="412997" y="205740"/>
                </a:lnTo>
                <a:close/>
              </a:path>
              <a:path w="413385" h="411480">
                <a:moveTo>
                  <a:pt x="59436" y="306324"/>
                </a:moveTo>
                <a:lnTo>
                  <a:pt x="50292" y="289560"/>
                </a:lnTo>
                <a:lnTo>
                  <a:pt x="50292" y="291084"/>
                </a:lnTo>
                <a:lnTo>
                  <a:pt x="42672" y="274320"/>
                </a:lnTo>
                <a:lnTo>
                  <a:pt x="42672" y="275844"/>
                </a:lnTo>
                <a:lnTo>
                  <a:pt x="36576" y="257556"/>
                </a:lnTo>
                <a:lnTo>
                  <a:pt x="36576" y="259080"/>
                </a:lnTo>
                <a:lnTo>
                  <a:pt x="32004" y="240792"/>
                </a:lnTo>
                <a:lnTo>
                  <a:pt x="32004" y="242316"/>
                </a:lnTo>
                <a:lnTo>
                  <a:pt x="28956" y="222504"/>
                </a:lnTo>
                <a:lnTo>
                  <a:pt x="28956" y="311984"/>
                </a:lnTo>
                <a:lnTo>
                  <a:pt x="35052" y="321564"/>
                </a:lnTo>
                <a:lnTo>
                  <a:pt x="47244" y="336804"/>
                </a:lnTo>
                <a:lnTo>
                  <a:pt x="57912" y="348657"/>
                </a:lnTo>
                <a:lnTo>
                  <a:pt x="57912" y="304800"/>
                </a:lnTo>
                <a:lnTo>
                  <a:pt x="59436" y="306324"/>
                </a:lnTo>
                <a:close/>
              </a:path>
              <a:path w="413385" h="411480">
                <a:moveTo>
                  <a:pt x="59436" y="105156"/>
                </a:moveTo>
                <a:lnTo>
                  <a:pt x="57912" y="106680"/>
                </a:lnTo>
                <a:lnTo>
                  <a:pt x="57912" y="107950"/>
                </a:lnTo>
                <a:lnTo>
                  <a:pt x="59436" y="105156"/>
                </a:lnTo>
                <a:close/>
              </a:path>
              <a:path w="413385" h="411480">
                <a:moveTo>
                  <a:pt x="70104" y="318516"/>
                </a:moveTo>
                <a:lnTo>
                  <a:pt x="57912" y="304800"/>
                </a:lnTo>
                <a:lnTo>
                  <a:pt x="57912" y="348657"/>
                </a:lnTo>
                <a:lnTo>
                  <a:pt x="60960" y="352044"/>
                </a:lnTo>
                <a:lnTo>
                  <a:pt x="68580" y="358817"/>
                </a:lnTo>
                <a:lnTo>
                  <a:pt x="68580" y="318516"/>
                </a:lnTo>
                <a:lnTo>
                  <a:pt x="70104" y="318516"/>
                </a:lnTo>
                <a:close/>
              </a:path>
              <a:path w="413385" h="411480">
                <a:moveTo>
                  <a:pt x="70104" y="91440"/>
                </a:moveTo>
                <a:lnTo>
                  <a:pt x="68580" y="92964"/>
                </a:lnTo>
                <a:lnTo>
                  <a:pt x="68580" y="93345"/>
                </a:lnTo>
                <a:lnTo>
                  <a:pt x="70104" y="91440"/>
                </a:lnTo>
                <a:close/>
              </a:path>
              <a:path w="413385" h="411480">
                <a:moveTo>
                  <a:pt x="94488" y="342900"/>
                </a:moveTo>
                <a:lnTo>
                  <a:pt x="80772" y="330708"/>
                </a:lnTo>
                <a:lnTo>
                  <a:pt x="80772" y="332232"/>
                </a:lnTo>
                <a:lnTo>
                  <a:pt x="68580" y="318516"/>
                </a:lnTo>
                <a:lnTo>
                  <a:pt x="68580" y="358817"/>
                </a:lnTo>
                <a:lnTo>
                  <a:pt x="74676" y="364236"/>
                </a:lnTo>
                <a:lnTo>
                  <a:pt x="91440" y="376428"/>
                </a:lnTo>
                <a:lnTo>
                  <a:pt x="92964" y="377397"/>
                </a:lnTo>
                <a:lnTo>
                  <a:pt x="92964" y="342900"/>
                </a:lnTo>
                <a:lnTo>
                  <a:pt x="94488" y="342900"/>
                </a:lnTo>
                <a:close/>
              </a:path>
              <a:path w="413385" h="411480">
                <a:moveTo>
                  <a:pt x="94488" y="68580"/>
                </a:moveTo>
                <a:lnTo>
                  <a:pt x="92964" y="68580"/>
                </a:lnTo>
                <a:lnTo>
                  <a:pt x="92964" y="69934"/>
                </a:lnTo>
                <a:lnTo>
                  <a:pt x="94488" y="68580"/>
                </a:lnTo>
                <a:close/>
              </a:path>
              <a:path w="413385" h="411480">
                <a:moveTo>
                  <a:pt x="108204" y="387096"/>
                </a:moveTo>
                <a:lnTo>
                  <a:pt x="108204" y="353568"/>
                </a:lnTo>
                <a:lnTo>
                  <a:pt x="92964" y="342900"/>
                </a:lnTo>
                <a:lnTo>
                  <a:pt x="92964" y="377397"/>
                </a:lnTo>
                <a:lnTo>
                  <a:pt x="108204" y="387096"/>
                </a:lnTo>
                <a:close/>
              </a:path>
              <a:path w="413385" h="411480">
                <a:moveTo>
                  <a:pt x="108204" y="57912"/>
                </a:moveTo>
                <a:lnTo>
                  <a:pt x="106680" y="57912"/>
                </a:lnTo>
                <a:lnTo>
                  <a:pt x="106680" y="58978"/>
                </a:lnTo>
                <a:lnTo>
                  <a:pt x="108204" y="57912"/>
                </a:lnTo>
                <a:close/>
              </a:path>
              <a:path w="413385" h="411480">
                <a:moveTo>
                  <a:pt x="121920" y="393954"/>
                </a:moveTo>
                <a:lnTo>
                  <a:pt x="121920" y="362712"/>
                </a:lnTo>
                <a:lnTo>
                  <a:pt x="106680" y="352044"/>
                </a:lnTo>
                <a:lnTo>
                  <a:pt x="108204" y="353568"/>
                </a:lnTo>
                <a:lnTo>
                  <a:pt x="108204" y="387096"/>
                </a:lnTo>
                <a:lnTo>
                  <a:pt x="121920" y="393954"/>
                </a:lnTo>
                <a:close/>
              </a:path>
              <a:path w="413385" h="411480">
                <a:moveTo>
                  <a:pt x="121920" y="49460"/>
                </a:moveTo>
                <a:lnTo>
                  <a:pt x="121920" y="48768"/>
                </a:lnTo>
                <a:lnTo>
                  <a:pt x="120396" y="50292"/>
                </a:lnTo>
                <a:lnTo>
                  <a:pt x="121920" y="49460"/>
                </a:lnTo>
                <a:close/>
              </a:path>
              <a:path w="413385" h="411480">
                <a:moveTo>
                  <a:pt x="153924" y="374904"/>
                </a:moveTo>
                <a:lnTo>
                  <a:pt x="137160" y="368808"/>
                </a:lnTo>
                <a:lnTo>
                  <a:pt x="137160" y="370332"/>
                </a:lnTo>
                <a:lnTo>
                  <a:pt x="120396" y="361188"/>
                </a:lnTo>
                <a:lnTo>
                  <a:pt x="121920" y="362712"/>
                </a:lnTo>
                <a:lnTo>
                  <a:pt x="121920" y="393954"/>
                </a:lnTo>
                <a:lnTo>
                  <a:pt x="126492" y="396240"/>
                </a:lnTo>
                <a:lnTo>
                  <a:pt x="144780" y="402336"/>
                </a:lnTo>
                <a:lnTo>
                  <a:pt x="152400" y="404680"/>
                </a:lnTo>
                <a:lnTo>
                  <a:pt x="152400" y="374904"/>
                </a:lnTo>
                <a:lnTo>
                  <a:pt x="153924" y="374904"/>
                </a:lnTo>
                <a:close/>
              </a:path>
              <a:path w="413385" h="411480">
                <a:moveTo>
                  <a:pt x="153924" y="36195"/>
                </a:moveTo>
                <a:lnTo>
                  <a:pt x="153924" y="35052"/>
                </a:lnTo>
                <a:lnTo>
                  <a:pt x="152400" y="36576"/>
                </a:lnTo>
                <a:lnTo>
                  <a:pt x="153924" y="36195"/>
                </a:lnTo>
                <a:close/>
              </a:path>
              <a:path w="413385" h="411480">
                <a:moveTo>
                  <a:pt x="188976" y="382524"/>
                </a:moveTo>
                <a:lnTo>
                  <a:pt x="170688" y="379476"/>
                </a:lnTo>
                <a:lnTo>
                  <a:pt x="152400" y="374904"/>
                </a:lnTo>
                <a:lnTo>
                  <a:pt x="152400" y="404680"/>
                </a:lnTo>
                <a:lnTo>
                  <a:pt x="164592" y="408432"/>
                </a:lnTo>
                <a:lnTo>
                  <a:pt x="185928" y="411480"/>
                </a:lnTo>
                <a:lnTo>
                  <a:pt x="187452" y="411480"/>
                </a:lnTo>
                <a:lnTo>
                  <a:pt x="187452" y="382524"/>
                </a:lnTo>
                <a:lnTo>
                  <a:pt x="188976" y="382524"/>
                </a:lnTo>
                <a:close/>
              </a:path>
              <a:path w="413385" h="411480">
                <a:moveTo>
                  <a:pt x="188976" y="28956"/>
                </a:moveTo>
                <a:lnTo>
                  <a:pt x="187452" y="28956"/>
                </a:lnTo>
                <a:lnTo>
                  <a:pt x="187452" y="29210"/>
                </a:lnTo>
                <a:lnTo>
                  <a:pt x="188976" y="28956"/>
                </a:lnTo>
                <a:close/>
              </a:path>
              <a:path w="413385" h="411480">
                <a:moveTo>
                  <a:pt x="207264" y="411480"/>
                </a:moveTo>
                <a:lnTo>
                  <a:pt x="207264" y="384048"/>
                </a:lnTo>
                <a:lnTo>
                  <a:pt x="205740" y="384048"/>
                </a:lnTo>
                <a:lnTo>
                  <a:pt x="187452" y="382524"/>
                </a:lnTo>
                <a:lnTo>
                  <a:pt x="187452" y="411480"/>
                </a:lnTo>
                <a:lnTo>
                  <a:pt x="207264" y="411480"/>
                </a:lnTo>
                <a:close/>
              </a:path>
              <a:path w="413385" h="411480">
                <a:moveTo>
                  <a:pt x="206502" y="27490"/>
                </a:moveTo>
                <a:lnTo>
                  <a:pt x="205740" y="27432"/>
                </a:lnTo>
                <a:lnTo>
                  <a:pt x="206502" y="27490"/>
                </a:lnTo>
                <a:close/>
              </a:path>
              <a:path w="413385" h="411480">
                <a:moveTo>
                  <a:pt x="206502" y="383989"/>
                </a:moveTo>
                <a:lnTo>
                  <a:pt x="205740" y="383930"/>
                </a:lnTo>
                <a:lnTo>
                  <a:pt x="206502" y="383989"/>
                </a:lnTo>
                <a:close/>
              </a:path>
              <a:path w="413385" h="411480">
                <a:moveTo>
                  <a:pt x="207264" y="27549"/>
                </a:moveTo>
                <a:lnTo>
                  <a:pt x="206502" y="27490"/>
                </a:lnTo>
                <a:lnTo>
                  <a:pt x="207264" y="27549"/>
                </a:lnTo>
                <a:close/>
              </a:path>
              <a:path w="413385" h="411480">
                <a:moveTo>
                  <a:pt x="225552" y="411480"/>
                </a:moveTo>
                <a:lnTo>
                  <a:pt x="225552" y="382524"/>
                </a:lnTo>
                <a:lnTo>
                  <a:pt x="206502" y="383989"/>
                </a:lnTo>
                <a:lnTo>
                  <a:pt x="207264" y="384048"/>
                </a:lnTo>
                <a:lnTo>
                  <a:pt x="207264" y="411480"/>
                </a:lnTo>
                <a:lnTo>
                  <a:pt x="225552" y="411480"/>
                </a:lnTo>
                <a:close/>
              </a:path>
              <a:path w="413385" h="411480">
                <a:moveTo>
                  <a:pt x="225552" y="29210"/>
                </a:moveTo>
                <a:lnTo>
                  <a:pt x="225552" y="28956"/>
                </a:lnTo>
                <a:lnTo>
                  <a:pt x="224028" y="28956"/>
                </a:lnTo>
                <a:lnTo>
                  <a:pt x="225552" y="29210"/>
                </a:lnTo>
                <a:close/>
              </a:path>
              <a:path w="413385" h="411480">
                <a:moveTo>
                  <a:pt x="260597" y="404680"/>
                </a:moveTo>
                <a:lnTo>
                  <a:pt x="260597" y="374904"/>
                </a:lnTo>
                <a:lnTo>
                  <a:pt x="242309" y="379476"/>
                </a:lnTo>
                <a:lnTo>
                  <a:pt x="224028" y="382524"/>
                </a:lnTo>
                <a:lnTo>
                  <a:pt x="225552" y="382524"/>
                </a:lnTo>
                <a:lnTo>
                  <a:pt x="225552" y="411480"/>
                </a:lnTo>
                <a:lnTo>
                  <a:pt x="227076" y="411480"/>
                </a:lnTo>
                <a:lnTo>
                  <a:pt x="248405" y="408432"/>
                </a:lnTo>
                <a:lnTo>
                  <a:pt x="260597" y="404680"/>
                </a:lnTo>
                <a:close/>
              </a:path>
              <a:path w="413385" h="411480">
                <a:moveTo>
                  <a:pt x="260597" y="36576"/>
                </a:moveTo>
                <a:lnTo>
                  <a:pt x="259073" y="35052"/>
                </a:lnTo>
                <a:lnTo>
                  <a:pt x="259073" y="36195"/>
                </a:lnTo>
                <a:lnTo>
                  <a:pt x="260597" y="36576"/>
                </a:lnTo>
                <a:close/>
              </a:path>
              <a:path w="413385" h="411480">
                <a:moveTo>
                  <a:pt x="275837" y="368808"/>
                </a:moveTo>
                <a:lnTo>
                  <a:pt x="259073" y="374904"/>
                </a:lnTo>
                <a:lnTo>
                  <a:pt x="260597" y="374904"/>
                </a:lnTo>
                <a:lnTo>
                  <a:pt x="260597" y="404680"/>
                </a:lnTo>
                <a:lnTo>
                  <a:pt x="268217" y="402336"/>
                </a:lnTo>
                <a:lnTo>
                  <a:pt x="274313" y="400304"/>
                </a:lnTo>
                <a:lnTo>
                  <a:pt x="274313" y="370332"/>
                </a:lnTo>
                <a:lnTo>
                  <a:pt x="275837" y="368808"/>
                </a:lnTo>
                <a:close/>
              </a:path>
              <a:path w="413385" h="411480">
                <a:moveTo>
                  <a:pt x="275837" y="42672"/>
                </a:moveTo>
                <a:lnTo>
                  <a:pt x="274313" y="41148"/>
                </a:lnTo>
                <a:lnTo>
                  <a:pt x="274313" y="41979"/>
                </a:lnTo>
                <a:lnTo>
                  <a:pt x="275837" y="42672"/>
                </a:lnTo>
                <a:close/>
              </a:path>
              <a:path w="413385" h="411480">
                <a:moveTo>
                  <a:pt x="306317" y="352044"/>
                </a:moveTo>
                <a:lnTo>
                  <a:pt x="291077" y="362712"/>
                </a:lnTo>
                <a:lnTo>
                  <a:pt x="291077" y="361188"/>
                </a:lnTo>
                <a:lnTo>
                  <a:pt x="274313" y="370332"/>
                </a:lnTo>
                <a:lnTo>
                  <a:pt x="274313" y="400304"/>
                </a:lnTo>
                <a:lnTo>
                  <a:pt x="286505" y="396240"/>
                </a:lnTo>
                <a:lnTo>
                  <a:pt x="304793" y="387096"/>
                </a:lnTo>
                <a:lnTo>
                  <a:pt x="304793" y="353568"/>
                </a:lnTo>
                <a:lnTo>
                  <a:pt x="306317" y="352044"/>
                </a:lnTo>
                <a:close/>
              </a:path>
              <a:path w="413385" h="411480">
                <a:moveTo>
                  <a:pt x="306317" y="58978"/>
                </a:moveTo>
                <a:lnTo>
                  <a:pt x="306317" y="57912"/>
                </a:lnTo>
                <a:lnTo>
                  <a:pt x="304793" y="57912"/>
                </a:lnTo>
                <a:lnTo>
                  <a:pt x="306317" y="58978"/>
                </a:lnTo>
                <a:close/>
              </a:path>
              <a:path w="413385" h="411480">
                <a:moveTo>
                  <a:pt x="320033" y="377397"/>
                </a:moveTo>
                <a:lnTo>
                  <a:pt x="320033" y="342900"/>
                </a:lnTo>
                <a:lnTo>
                  <a:pt x="304793" y="353568"/>
                </a:lnTo>
                <a:lnTo>
                  <a:pt x="304793" y="387096"/>
                </a:lnTo>
                <a:lnTo>
                  <a:pt x="320033" y="377397"/>
                </a:lnTo>
                <a:close/>
              </a:path>
              <a:path w="413385" h="411480">
                <a:moveTo>
                  <a:pt x="320033" y="69934"/>
                </a:moveTo>
                <a:lnTo>
                  <a:pt x="320033" y="68580"/>
                </a:lnTo>
                <a:lnTo>
                  <a:pt x="318509" y="68580"/>
                </a:lnTo>
                <a:lnTo>
                  <a:pt x="320033" y="69934"/>
                </a:lnTo>
                <a:close/>
              </a:path>
              <a:path w="413385" h="411480">
                <a:moveTo>
                  <a:pt x="344417" y="358817"/>
                </a:moveTo>
                <a:lnTo>
                  <a:pt x="344417" y="318516"/>
                </a:lnTo>
                <a:lnTo>
                  <a:pt x="332225" y="332232"/>
                </a:lnTo>
                <a:lnTo>
                  <a:pt x="332225" y="330708"/>
                </a:lnTo>
                <a:lnTo>
                  <a:pt x="318509" y="342900"/>
                </a:lnTo>
                <a:lnTo>
                  <a:pt x="320033" y="342900"/>
                </a:lnTo>
                <a:lnTo>
                  <a:pt x="320033" y="377397"/>
                </a:lnTo>
                <a:lnTo>
                  <a:pt x="321557" y="376428"/>
                </a:lnTo>
                <a:lnTo>
                  <a:pt x="338321" y="364236"/>
                </a:lnTo>
                <a:lnTo>
                  <a:pt x="344417" y="358817"/>
                </a:lnTo>
                <a:close/>
              </a:path>
              <a:path w="413385" h="411480">
                <a:moveTo>
                  <a:pt x="344417" y="93617"/>
                </a:moveTo>
                <a:lnTo>
                  <a:pt x="344417" y="92964"/>
                </a:lnTo>
                <a:lnTo>
                  <a:pt x="342893" y="91440"/>
                </a:lnTo>
                <a:lnTo>
                  <a:pt x="344417" y="93617"/>
                </a:lnTo>
                <a:close/>
              </a:path>
              <a:path w="413385" h="411480">
                <a:moveTo>
                  <a:pt x="384041" y="311984"/>
                </a:moveTo>
                <a:lnTo>
                  <a:pt x="384041" y="222504"/>
                </a:lnTo>
                <a:lnTo>
                  <a:pt x="380993" y="242316"/>
                </a:lnTo>
                <a:lnTo>
                  <a:pt x="380993" y="240792"/>
                </a:lnTo>
                <a:lnTo>
                  <a:pt x="376421" y="259080"/>
                </a:lnTo>
                <a:lnTo>
                  <a:pt x="376421" y="257556"/>
                </a:lnTo>
                <a:lnTo>
                  <a:pt x="370325" y="275844"/>
                </a:lnTo>
                <a:lnTo>
                  <a:pt x="370325" y="274320"/>
                </a:lnTo>
                <a:lnTo>
                  <a:pt x="362705" y="291084"/>
                </a:lnTo>
                <a:lnTo>
                  <a:pt x="362705" y="289560"/>
                </a:lnTo>
                <a:lnTo>
                  <a:pt x="353561" y="306324"/>
                </a:lnTo>
                <a:lnTo>
                  <a:pt x="353561" y="304800"/>
                </a:lnTo>
                <a:lnTo>
                  <a:pt x="342893" y="318516"/>
                </a:lnTo>
                <a:lnTo>
                  <a:pt x="344417" y="318516"/>
                </a:lnTo>
                <a:lnTo>
                  <a:pt x="344417" y="358817"/>
                </a:lnTo>
                <a:lnTo>
                  <a:pt x="352037" y="352044"/>
                </a:lnTo>
                <a:lnTo>
                  <a:pt x="365753" y="336804"/>
                </a:lnTo>
                <a:lnTo>
                  <a:pt x="377945" y="321564"/>
                </a:lnTo>
                <a:lnTo>
                  <a:pt x="384041" y="311984"/>
                </a:lnTo>
                <a:close/>
              </a:path>
              <a:path w="413385" h="411480">
                <a:moveTo>
                  <a:pt x="384041" y="205740"/>
                </a:moveTo>
                <a:lnTo>
                  <a:pt x="384041" y="188976"/>
                </a:lnTo>
                <a:lnTo>
                  <a:pt x="382517" y="187452"/>
                </a:lnTo>
                <a:lnTo>
                  <a:pt x="384041" y="205740"/>
                </a:lnTo>
                <a:close/>
              </a:path>
              <a:path w="413385" h="411480">
                <a:moveTo>
                  <a:pt x="384041" y="222504"/>
                </a:moveTo>
                <a:lnTo>
                  <a:pt x="384041" y="205740"/>
                </a:lnTo>
                <a:lnTo>
                  <a:pt x="382517" y="224028"/>
                </a:lnTo>
                <a:lnTo>
                  <a:pt x="384041" y="222504"/>
                </a:lnTo>
                <a:close/>
              </a:path>
            </a:pathLst>
          </a:custGeom>
          <a:solidFill>
            <a:srgbClr val="006FBF"/>
          </a:solidFill>
        </p:spPr>
        <p:txBody>
          <a:bodyPr wrap="square" lIns="0" tIns="0" rIns="0" bIns="0" rtlCol="0"/>
          <a:lstStyle/>
          <a:p>
            <a:endParaRPr sz="1013"/>
          </a:p>
        </p:txBody>
      </p:sp>
      <p:sp>
        <p:nvSpPr>
          <p:cNvPr id="49" name="object 17">
            <a:extLst>
              <a:ext uri="{FF2B5EF4-FFF2-40B4-BE49-F238E27FC236}">
                <a16:creationId xmlns:a16="http://schemas.microsoft.com/office/drawing/2014/main" id="{278E1A8E-A695-4745-AB9B-678FA3EBFE41}"/>
              </a:ext>
            </a:extLst>
          </p:cNvPr>
          <p:cNvSpPr txBox="1"/>
          <p:nvPr/>
        </p:nvSpPr>
        <p:spPr>
          <a:xfrm>
            <a:off x="1062514" y="1230973"/>
            <a:ext cx="122396" cy="21736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pc="56" dirty="0">
                <a:solidFill>
                  <a:srgbClr val="FFFFFF"/>
                </a:solidFill>
                <a:latin typeface="Microsoft Sans Serif"/>
                <a:cs typeface="Microsoft Sans Serif"/>
              </a:rPr>
              <a:t>1</a:t>
            </a:r>
            <a:endParaRPr>
              <a:latin typeface="Microsoft Sans Serif"/>
              <a:cs typeface="Microsoft Sans Serif"/>
            </a:endParaRPr>
          </a:p>
        </p:txBody>
      </p:sp>
      <p:sp>
        <p:nvSpPr>
          <p:cNvPr id="50" name="object 18">
            <a:extLst>
              <a:ext uri="{FF2B5EF4-FFF2-40B4-BE49-F238E27FC236}">
                <a16:creationId xmlns:a16="http://schemas.microsoft.com/office/drawing/2014/main" id="{0A3F197F-A059-4C67-85F8-38519E5A76D9}"/>
              </a:ext>
            </a:extLst>
          </p:cNvPr>
          <p:cNvSpPr txBox="1"/>
          <p:nvPr/>
        </p:nvSpPr>
        <p:spPr>
          <a:xfrm>
            <a:off x="1375695" y="1164127"/>
            <a:ext cx="7172560" cy="28661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lang="en-US" sz="1800" spc="38" dirty="0">
                <a:solidFill>
                  <a:srgbClr val="006FC0"/>
                </a:solidFill>
                <a:latin typeface="Microsoft Sans Serif" panose="020B0604020202020204" pitchFamily="34" charset="0"/>
                <a:cs typeface="Microsoft Sans Serif" panose="020B0604020202020204" pitchFamily="34" charset="0"/>
              </a:rPr>
              <a:t>FSB together with other authorities to develop a global Framework</a:t>
            </a:r>
            <a:endParaRPr sz="1800" dirty="0">
              <a:latin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52" name="object 20">
            <a:extLst>
              <a:ext uri="{FF2B5EF4-FFF2-40B4-BE49-F238E27FC236}">
                <a16:creationId xmlns:a16="http://schemas.microsoft.com/office/drawing/2014/main" id="{36620B20-7CEE-4B9C-9F67-D96DC39DC9DA}"/>
              </a:ext>
            </a:extLst>
          </p:cNvPr>
          <p:cNvSpPr txBox="1"/>
          <p:nvPr/>
        </p:nvSpPr>
        <p:spPr>
          <a:xfrm>
            <a:off x="1375696" y="2613451"/>
            <a:ext cx="6445196" cy="28661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lang="en-US" sz="1800" spc="38" dirty="0">
                <a:solidFill>
                  <a:srgbClr val="006FC0"/>
                </a:solidFill>
                <a:latin typeface="Microsoft Sans Serif" panose="020B0604020202020204" pitchFamily="34" charset="0"/>
                <a:cs typeface="Microsoft Sans Serif" panose="020B0604020202020204" pitchFamily="34" charset="0"/>
              </a:rPr>
              <a:t>Promote international coordination and related initiatives</a:t>
            </a:r>
            <a:endParaRPr sz="1800" spc="38" dirty="0">
              <a:solidFill>
                <a:srgbClr val="006FC0"/>
              </a:solidFill>
              <a:latin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53" name="object 21">
            <a:extLst>
              <a:ext uri="{FF2B5EF4-FFF2-40B4-BE49-F238E27FC236}">
                <a16:creationId xmlns:a16="http://schemas.microsoft.com/office/drawing/2014/main" id="{7D37A348-C3BF-4C77-B97C-0528625583F6}"/>
              </a:ext>
            </a:extLst>
          </p:cNvPr>
          <p:cNvSpPr txBox="1"/>
          <p:nvPr/>
        </p:nvSpPr>
        <p:spPr>
          <a:xfrm>
            <a:off x="1375695" y="1895716"/>
            <a:ext cx="7006305" cy="28661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lang="en-US" sz="1800" spc="38" dirty="0">
                <a:solidFill>
                  <a:srgbClr val="006FC0"/>
                </a:solidFill>
                <a:latin typeface="Microsoft Sans Serif" panose="020B0604020202020204" pitchFamily="34" charset="0"/>
                <a:cs typeface="Microsoft Sans Serif" panose="020B0604020202020204" pitchFamily="34" charset="0"/>
              </a:rPr>
              <a:t>Reduce current fragmentation and avoid new one going forward </a:t>
            </a:r>
            <a:endParaRPr sz="1800" spc="38" dirty="0">
              <a:solidFill>
                <a:srgbClr val="006FC0"/>
              </a:solidFill>
              <a:latin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54" name="object 22">
            <a:extLst>
              <a:ext uri="{FF2B5EF4-FFF2-40B4-BE49-F238E27FC236}">
                <a16:creationId xmlns:a16="http://schemas.microsoft.com/office/drawing/2014/main" id="{321307CB-06E5-44D7-B69F-868204637F9A}"/>
              </a:ext>
            </a:extLst>
          </p:cNvPr>
          <p:cNvSpPr txBox="1"/>
          <p:nvPr/>
        </p:nvSpPr>
        <p:spPr>
          <a:xfrm>
            <a:off x="1375695" y="3325402"/>
            <a:ext cx="7006305" cy="56361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lang="en-US" sz="1800" spc="38" dirty="0">
                <a:solidFill>
                  <a:srgbClr val="006FC0"/>
                </a:solidFill>
                <a:latin typeface="Microsoft Sans Serif" panose="020B0604020202020204" pitchFamily="34" charset="0"/>
                <a:cs typeface="Microsoft Sans Serif" panose="020B0604020202020204" pitchFamily="34" charset="0"/>
              </a:rPr>
              <a:t>Improve efficiency fighting cyber-attacks by changing legal frameworks as necessary </a:t>
            </a:r>
            <a:endParaRPr sz="1800" spc="38" dirty="0">
              <a:solidFill>
                <a:srgbClr val="006FC0"/>
              </a:solidFill>
              <a:latin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55" name="object 22">
            <a:extLst>
              <a:ext uri="{FF2B5EF4-FFF2-40B4-BE49-F238E27FC236}">
                <a16:creationId xmlns:a16="http://schemas.microsoft.com/office/drawing/2014/main" id="{2A00C7D4-FB16-4101-BD52-F0E7FA65BA9B}"/>
              </a:ext>
            </a:extLst>
          </p:cNvPr>
          <p:cNvSpPr txBox="1"/>
          <p:nvPr/>
        </p:nvSpPr>
        <p:spPr>
          <a:xfrm>
            <a:off x="1375696" y="4114542"/>
            <a:ext cx="7148312" cy="56361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lang="en-US" sz="1800" spc="38" dirty="0">
                <a:solidFill>
                  <a:srgbClr val="006FC0"/>
                </a:solidFill>
                <a:latin typeface="Microsoft Sans Serif" panose="020B0604020202020204" pitchFamily="34" charset="0"/>
                <a:cs typeface="Microsoft Sans Serif" panose="020B0604020202020204" pitchFamily="34" charset="0"/>
              </a:rPr>
              <a:t>Include in the debate third party vendors and critical non-financial infrastructures</a:t>
            </a:r>
            <a:endParaRPr sz="1800" spc="38" dirty="0">
              <a:solidFill>
                <a:srgbClr val="006FC0"/>
              </a:solidFill>
              <a:latin typeface="Microsoft Sans Serif" panose="020B0604020202020204" pitchFamily="34" charset="0"/>
              <a:cs typeface="Microsoft Sans Serif" panose="020B0604020202020204" pitchFamily="34" charset="0"/>
            </a:endParaRPr>
          </a:p>
        </p:txBody>
      </p:sp>
      <p:sp>
        <p:nvSpPr>
          <p:cNvPr id="56" name="object 12">
            <a:extLst>
              <a:ext uri="{FF2B5EF4-FFF2-40B4-BE49-F238E27FC236}">
                <a16:creationId xmlns:a16="http://schemas.microsoft.com/office/drawing/2014/main" id="{D15EDCB6-CDFD-4E50-A970-4AEA6B50E779}"/>
              </a:ext>
            </a:extLst>
          </p:cNvPr>
          <p:cNvSpPr txBox="1"/>
          <p:nvPr/>
        </p:nvSpPr>
        <p:spPr>
          <a:xfrm>
            <a:off x="1059051" y="4171560"/>
            <a:ext cx="122396" cy="21736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lang="en-US" spc="56" dirty="0">
                <a:solidFill>
                  <a:srgbClr val="FFFFFF"/>
                </a:solidFill>
                <a:latin typeface="Microsoft Sans Serif"/>
                <a:cs typeface="Microsoft Sans Serif"/>
              </a:rPr>
              <a:t>5</a:t>
            </a:r>
            <a:endParaRPr dirty="0">
              <a:latin typeface="Microsoft Sans Serif"/>
              <a:cs typeface="Microsoft Sans Serif"/>
            </a:endParaRPr>
          </a:p>
        </p:txBody>
      </p:sp>
      <p:sp>
        <p:nvSpPr>
          <p:cNvPr id="34" name="CuadroTexto 6">
            <a:extLst>
              <a:ext uri="{FF2B5EF4-FFF2-40B4-BE49-F238E27FC236}">
                <a16:creationId xmlns:a16="http://schemas.microsoft.com/office/drawing/2014/main" id="{AF4DD24F-BF77-466B-AE8F-27E59F603CF9}"/>
              </a:ext>
            </a:extLst>
          </p:cNvPr>
          <p:cNvSpPr txBox="1"/>
          <p:nvPr/>
        </p:nvSpPr>
        <p:spPr>
          <a:xfrm>
            <a:off x="619160" y="338006"/>
            <a:ext cx="82721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cap="all" dirty="0">
                <a:solidFill>
                  <a:srgbClr val="092566"/>
                </a:solidFill>
                <a:latin typeface="Helvetica" pitchFamily="2" charset="0"/>
              </a:rPr>
              <a:t>Conclusions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DBDF7AC-87B9-410B-B465-4D4B51FDAF0C}"/>
              </a:ext>
            </a:extLst>
          </p:cNvPr>
          <p:cNvGrpSpPr>
            <a:grpSpLocks noChangeAspect="1"/>
          </p:cNvGrpSpPr>
          <p:nvPr/>
        </p:nvGrpSpPr>
        <p:grpSpPr>
          <a:xfrm>
            <a:off x="8776903" y="56703"/>
            <a:ext cx="384048" cy="384048"/>
            <a:chOff x="676331" y="3719310"/>
            <a:chExt cx="951614" cy="951614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C853F20C-6D50-46AD-8EA7-74A145052A34}"/>
                </a:ext>
              </a:extLst>
            </p:cNvPr>
            <p:cNvSpPr/>
            <p:nvPr/>
          </p:nvSpPr>
          <p:spPr bwMode="gray">
            <a:xfrm>
              <a:off x="676331" y="3719310"/>
              <a:ext cx="951614" cy="95161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37" name="Group 70">
              <a:extLst>
                <a:ext uri="{FF2B5EF4-FFF2-40B4-BE49-F238E27FC236}">
                  <a16:creationId xmlns:a16="http://schemas.microsoft.com/office/drawing/2014/main" id="{1C74184B-E3D6-44B3-B016-7662EFCF1997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 rot="5400000">
              <a:off x="849838" y="3834995"/>
              <a:ext cx="606448" cy="609664"/>
              <a:chOff x="2645" y="1778"/>
              <a:chExt cx="754" cy="758"/>
            </a:xfrm>
            <a:solidFill>
              <a:schemeClr val="accent1"/>
            </a:solidFill>
          </p:grpSpPr>
          <p:sp>
            <p:nvSpPr>
              <p:cNvPr id="38" name="Freeform 71">
                <a:extLst>
                  <a:ext uri="{FF2B5EF4-FFF2-40B4-BE49-F238E27FC236}">
                    <a16:creationId xmlns:a16="http://schemas.microsoft.com/office/drawing/2014/main" id="{D9CB755E-6C0C-43CF-AE30-D9D44A1CDFE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45" y="2008"/>
                <a:ext cx="314" cy="302"/>
              </a:xfrm>
              <a:custGeom>
                <a:avLst/>
                <a:gdLst>
                  <a:gd name="T0" fmla="*/ 144 w 150"/>
                  <a:gd name="T1" fmla="*/ 63 h 145"/>
                  <a:gd name="T2" fmla="*/ 81 w 150"/>
                  <a:gd name="T3" fmla="*/ 2 h 145"/>
                  <a:gd name="T4" fmla="*/ 70 w 150"/>
                  <a:gd name="T5" fmla="*/ 3 h 145"/>
                  <a:gd name="T6" fmla="*/ 64 w 150"/>
                  <a:gd name="T7" fmla="*/ 13 h 145"/>
                  <a:gd name="T8" fmla="*/ 64 w 150"/>
                  <a:gd name="T9" fmla="*/ 53 h 145"/>
                  <a:gd name="T10" fmla="*/ 20 w 150"/>
                  <a:gd name="T11" fmla="*/ 53 h 145"/>
                  <a:gd name="T12" fmla="*/ 0 w 150"/>
                  <a:gd name="T13" fmla="*/ 73 h 145"/>
                  <a:gd name="T14" fmla="*/ 20 w 150"/>
                  <a:gd name="T15" fmla="*/ 93 h 145"/>
                  <a:gd name="T16" fmla="*/ 64 w 150"/>
                  <a:gd name="T17" fmla="*/ 93 h 145"/>
                  <a:gd name="T18" fmla="*/ 64 w 150"/>
                  <a:gd name="T19" fmla="*/ 133 h 145"/>
                  <a:gd name="T20" fmla="*/ 70 w 150"/>
                  <a:gd name="T21" fmla="*/ 143 h 145"/>
                  <a:gd name="T22" fmla="*/ 76 w 150"/>
                  <a:gd name="T23" fmla="*/ 145 h 145"/>
                  <a:gd name="T24" fmla="*/ 81 w 150"/>
                  <a:gd name="T25" fmla="*/ 144 h 145"/>
                  <a:gd name="T26" fmla="*/ 144 w 150"/>
                  <a:gd name="T27" fmla="*/ 83 h 145"/>
                  <a:gd name="T28" fmla="*/ 150 w 150"/>
                  <a:gd name="T29" fmla="*/ 73 h 145"/>
                  <a:gd name="T30" fmla="*/ 144 w 150"/>
                  <a:gd name="T31" fmla="*/ 63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0" h="145">
                    <a:moveTo>
                      <a:pt x="144" y="63"/>
                    </a:moveTo>
                    <a:cubicBezTo>
                      <a:pt x="81" y="2"/>
                      <a:pt x="81" y="2"/>
                      <a:pt x="81" y="2"/>
                    </a:cubicBezTo>
                    <a:cubicBezTo>
                      <a:pt x="78" y="0"/>
                      <a:pt x="73" y="1"/>
                      <a:pt x="70" y="3"/>
                    </a:cubicBezTo>
                    <a:cubicBezTo>
                      <a:pt x="66" y="5"/>
                      <a:pt x="64" y="9"/>
                      <a:pt x="64" y="13"/>
                    </a:cubicBezTo>
                    <a:cubicBezTo>
                      <a:pt x="64" y="53"/>
                      <a:pt x="64" y="53"/>
                      <a:pt x="64" y="53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9" y="53"/>
                      <a:pt x="0" y="62"/>
                      <a:pt x="0" y="73"/>
                    </a:cubicBezTo>
                    <a:cubicBezTo>
                      <a:pt x="0" y="84"/>
                      <a:pt x="9" y="93"/>
                      <a:pt x="20" y="93"/>
                    </a:cubicBezTo>
                    <a:cubicBezTo>
                      <a:pt x="64" y="93"/>
                      <a:pt x="64" y="93"/>
                      <a:pt x="64" y="93"/>
                    </a:cubicBezTo>
                    <a:cubicBezTo>
                      <a:pt x="64" y="133"/>
                      <a:pt x="64" y="133"/>
                      <a:pt x="64" y="133"/>
                    </a:cubicBezTo>
                    <a:cubicBezTo>
                      <a:pt x="64" y="137"/>
                      <a:pt x="66" y="141"/>
                      <a:pt x="70" y="143"/>
                    </a:cubicBezTo>
                    <a:cubicBezTo>
                      <a:pt x="72" y="144"/>
                      <a:pt x="74" y="145"/>
                      <a:pt x="76" y="145"/>
                    </a:cubicBezTo>
                    <a:cubicBezTo>
                      <a:pt x="78" y="145"/>
                      <a:pt x="80" y="145"/>
                      <a:pt x="81" y="144"/>
                    </a:cubicBezTo>
                    <a:cubicBezTo>
                      <a:pt x="144" y="83"/>
                      <a:pt x="144" y="83"/>
                      <a:pt x="144" y="83"/>
                    </a:cubicBezTo>
                    <a:cubicBezTo>
                      <a:pt x="147" y="80"/>
                      <a:pt x="150" y="77"/>
                      <a:pt x="150" y="73"/>
                    </a:cubicBezTo>
                    <a:cubicBezTo>
                      <a:pt x="150" y="69"/>
                      <a:pt x="148" y="66"/>
                      <a:pt x="144" y="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9" name="Freeform 72">
                <a:extLst>
                  <a:ext uri="{FF2B5EF4-FFF2-40B4-BE49-F238E27FC236}">
                    <a16:creationId xmlns:a16="http://schemas.microsoft.com/office/drawing/2014/main" id="{7233CF08-10CB-43D2-B4B4-D3DA860F91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9" y="1782"/>
                <a:ext cx="111" cy="754"/>
              </a:xfrm>
              <a:custGeom>
                <a:avLst/>
                <a:gdLst>
                  <a:gd name="T0" fmla="*/ 21 w 53"/>
                  <a:gd name="T1" fmla="*/ 361 h 361"/>
                  <a:gd name="T2" fmla="*/ 20 w 53"/>
                  <a:gd name="T3" fmla="*/ 361 h 361"/>
                  <a:gd name="T4" fmla="*/ 1 w 53"/>
                  <a:gd name="T5" fmla="*/ 340 h 361"/>
                  <a:gd name="T6" fmla="*/ 6 w 53"/>
                  <a:gd name="T7" fmla="*/ 286 h 361"/>
                  <a:gd name="T8" fmla="*/ 13 w 53"/>
                  <a:gd name="T9" fmla="*/ 181 h 361"/>
                  <a:gd name="T10" fmla="*/ 6 w 53"/>
                  <a:gd name="T11" fmla="*/ 76 h 361"/>
                  <a:gd name="T12" fmla="*/ 1 w 53"/>
                  <a:gd name="T13" fmla="*/ 22 h 361"/>
                  <a:gd name="T14" fmla="*/ 20 w 53"/>
                  <a:gd name="T15" fmla="*/ 1 h 361"/>
                  <a:gd name="T16" fmla="*/ 41 w 53"/>
                  <a:gd name="T17" fmla="*/ 20 h 361"/>
                  <a:gd name="T18" fmla="*/ 46 w 53"/>
                  <a:gd name="T19" fmla="*/ 72 h 361"/>
                  <a:gd name="T20" fmla="*/ 53 w 53"/>
                  <a:gd name="T21" fmla="*/ 181 h 361"/>
                  <a:gd name="T22" fmla="*/ 46 w 53"/>
                  <a:gd name="T23" fmla="*/ 290 h 361"/>
                  <a:gd name="T24" fmla="*/ 41 w 53"/>
                  <a:gd name="T25" fmla="*/ 342 h 361"/>
                  <a:gd name="T26" fmla="*/ 21 w 53"/>
                  <a:gd name="T27" fmla="*/ 361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3" h="361">
                    <a:moveTo>
                      <a:pt x="21" y="361"/>
                    </a:moveTo>
                    <a:cubicBezTo>
                      <a:pt x="21" y="361"/>
                      <a:pt x="20" y="361"/>
                      <a:pt x="20" y="361"/>
                    </a:cubicBezTo>
                    <a:cubicBezTo>
                      <a:pt x="9" y="360"/>
                      <a:pt x="0" y="351"/>
                      <a:pt x="1" y="340"/>
                    </a:cubicBezTo>
                    <a:cubicBezTo>
                      <a:pt x="3" y="322"/>
                      <a:pt x="4" y="304"/>
                      <a:pt x="6" y="286"/>
                    </a:cubicBezTo>
                    <a:cubicBezTo>
                      <a:pt x="10" y="251"/>
                      <a:pt x="13" y="215"/>
                      <a:pt x="13" y="181"/>
                    </a:cubicBezTo>
                    <a:cubicBezTo>
                      <a:pt x="13" y="147"/>
                      <a:pt x="10" y="111"/>
                      <a:pt x="6" y="76"/>
                    </a:cubicBezTo>
                    <a:cubicBezTo>
                      <a:pt x="4" y="58"/>
                      <a:pt x="3" y="40"/>
                      <a:pt x="1" y="22"/>
                    </a:cubicBezTo>
                    <a:cubicBezTo>
                      <a:pt x="0" y="11"/>
                      <a:pt x="9" y="2"/>
                      <a:pt x="20" y="1"/>
                    </a:cubicBezTo>
                    <a:cubicBezTo>
                      <a:pt x="31" y="0"/>
                      <a:pt x="40" y="8"/>
                      <a:pt x="41" y="20"/>
                    </a:cubicBezTo>
                    <a:cubicBezTo>
                      <a:pt x="42" y="37"/>
                      <a:pt x="44" y="55"/>
                      <a:pt x="46" y="72"/>
                    </a:cubicBezTo>
                    <a:cubicBezTo>
                      <a:pt x="49" y="108"/>
                      <a:pt x="53" y="145"/>
                      <a:pt x="53" y="181"/>
                    </a:cubicBezTo>
                    <a:cubicBezTo>
                      <a:pt x="53" y="217"/>
                      <a:pt x="49" y="254"/>
                      <a:pt x="46" y="290"/>
                    </a:cubicBezTo>
                    <a:cubicBezTo>
                      <a:pt x="44" y="307"/>
                      <a:pt x="42" y="325"/>
                      <a:pt x="41" y="342"/>
                    </a:cubicBezTo>
                    <a:cubicBezTo>
                      <a:pt x="40" y="353"/>
                      <a:pt x="32" y="361"/>
                      <a:pt x="21" y="36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0" name="Freeform 73">
                <a:extLst>
                  <a:ext uri="{FF2B5EF4-FFF2-40B4-BE49-F238E27FC236}">
                    <a16:creationId xmlns:a16="http://schemas.microsoft.com/office/drawing/2014/main" id="{D97D6533-A5CF-4BE1-A98B-47DB698E7AC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8" y="1780"/>
                <a:ext cx="163" cy="756"/>
              </a:xfrm>
              <a:custGeom>
                <a:avLst/>
                <a:gdLst>
                  <a:gd name="T0" fmla="*/ 22 w 78"/>
                  <a:gd name="T1" fmla="*/ 362 h 362"/>
                  <a:gd name="T2" fmla="*/ 17 w 78"/>
                  <a:gd name="T3" fmla="*/ 361 h 362"/>
                  <a:gd name="T4" fmla="*/ 3 w 78"/>
                  <a:gd name="T5" fmla="*/ 336 h 362"/>
                  <a:gd name="T6" fmla="*/ 11 w 78"/>
                  <a:gd name="T7" fmla="*/ 310 h 362"/>
                  <a:gd name="T8" fmla="*/ 38 w 78"/>
                  <a:gd name="T9" fmla="*/ 182 h 362"/>
                  <a:gd name="T10" fmla="*/ 11 w 78"/>
                  <a:gd name="T11" fmla="*/ 54 h 362"/>
                  <a:gd name="T12" fmla="*/ 3 w 78"/>
                  <a:gd name="T13" fmla="*/ 28 h 362"/>
                  <a:gd name="T14" fmla="*/ 17 w 78"/>
                  <a:gd name="T15" fmla="*/ 3 h 362"/>
                  <a:gd name="T16" fmla="*/ 42 w 78"/>
                  <a:gd name="T17" fmla="*/ 16 h 362"/>
                  <a:gd name="T18" fmla="*/ 49 w 78"/>
                  <a:gd name="T19" fmla="*/ 42 h 362"/>
                  <a:gd name="T20" fmla="*/ 78 w 78"/>
                  <a:gd name="T21" fmla="*/ 182 h 362"/>
                  <a:gd name="T22" fmla="*/ 49 w 78"/>
                  <a:gd name="T23" fmla="*/ 322 h 362"/>
                  <a:gd name="T24" fmla="*/ 42 w 78"/>
                  <a:gd name="T25" fmla="*/ 348 h 362"/>
                  <a:gd name="T26" fmla="*/ 22 w 78"/>
                  <a:gd name="T27" fmla="*/ 3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8" h="362">
                    <a:moveTo>
                      <a:pt x="22" y="362"/>
                    </a:moveTo>
                    <a:cubicBezTo>
                      <a:pt x="20" y="362"/>
                      <a:pt x="19" y="362"/>
                      <a:pt x="17" y="361"/>
                    </a:cubicBezTo>
                    <a:cubicBezTo>
                      <a:pt x="6" y="358"/>
                      <a:pt x="0" y="347"/>
                      <a:pt x="3" y="336"/>
                    </a:cubicBezTo>
                    <a:cubicBezTo>
                      <a:pt x="6" y="328"/>
                      <a:pt x="8" y="319"/>
                      <a:pt x="11" y="310"/>
                    </a:cubicBezTo>
                    <a:cubicBezTo>
                      <a:pt x="25" y="268"/>
                      <a:pt x="38" y="224"/>
                      <a:pt x="38" y="182"/>
                    </a:cubicBezTo>
                    <a:cubicBezTo>
                      <a:pt x="38" y="140"/>
                      <a:pt x="25" y="96"/>
                      <a:pt x="11" y="54"/>
                    </a:cubicBezTo>
                    <a:cubicBezTo>
                      <a:pt x="8" y="45"/>
                      <a:pt x="6" y="36"/>
                      <a:pt x="3" y="28"/>
                    </a:cubicBezTo>
                    <a:cubicBezTo>
                      <a:pt x="0" y="17"/>
                      <a:pt x="6" y="6"/>
                      <a:pt x="17" y="3"/>
                    </a:cubicBezTo>
                    <a:cubicBezTo>
                      <a:pt x="27" y="0"/>
                      <a:pt x="38" y="6"/>
                      <a:pt x="42" y="16"/>
                    </a:cubicBezTo>
                    <a:cubicBezTo>
                      <a:pt x="44" y="25"/>
                      <a:pt x="47" y="33"/>
                      <a:pt x="49" y="42"/>
                    </a:cubicBezTo>
                    <a:cubicBezTo>
                      <a:pt x="64" y="87"/>
                      <a:pt x="78" y="134"/>
                      <a:pt x="78" y="182"/>
                    </a:cubicBezTo>
                    <a:cubicBezTo>
                      <a:pt x="78" y="230"/>
                      <a:pt x="64" y="277"/>
                      <a:pt x="49" y="322"/>
                    </a:cubicBezTo>
                    <a:cubicBezTo>
                      <a:pt x="47" y="331"/>
                      <a:pt x="44" y="339"/>
                      <a:pt x="42" y="348"/>
                    </a:cubicBezTo>
                    <a:cubicBezTo>
                      <a:pt x="39" y="356"/>
                      <a:pt x="31" y="362"/>
                      <a:pt x="22" y="36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1" name="Freeform 74">
                <a:extLst>
                  <a:ext uri="{FF2B5EF4-FFF2-40B4-BE49-F238E27FC236}">
                    <a16:creationId xmlns:a16="http://schemas.microsoft.com/office/drawing/2014/main" id="{C7853457-942D-417C-9A77-560313C5B3C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58" y="1778"/>
                <a:ext cx="216" cy="758"/>
              </a:xfrm>
              <a:custGeom>
                <a:avLst/>
                <a:gdLst>
                  <a:gd name="T0" fmla="*/ 23 w 103"/>
                  <a:gd name="T1" fmla="*/ 363 h 363"/>
                  <a:gd name="T2" fmla="*/ 13 w 103"/>
                  <a:gd name="T3" fmla="*/ 361 h 363"/>
                  <a:gd name="T4" fmla="*/ 5 w 103"/>
                  <a:gd name="T5" fmla="*/ 333 h 363"/>
                  <a:gd name="T6" fmla="*/ 15 w 103"/>
                  <a:gd name="T7" fmla="*/ 316 h 363"/>
                  <a:gd name="T8" fmla="*/ 63 w 103"/>
                  <a:gd name="T9" fmla="*/ 183 h 363"/>
                  <a:gd name="T10" fmla="*/ 14 w 103"/>
                  <a:gd name="T11" fmla="*/ 50 h 363"/>
                  <a:gd name="T12" fmla="*/ 5 w 103"/>
                  <a:gd name="T13" fmla="*/ 33 h 363"/>
                  <a:gd name="T14" fmla="*/ 13 w 103"/>
                  <a:gd name="T15" fmla="*/ 5 h 363"/>
                  <a:gd name="T16" fmla="*/ 40 w 103"/>
                  <a:gd name="T17" fmla="*/ 13 h 363"/>
                  <a:gd name="T18" fmla="*/ 49 w 103"/>
                  <a:gd name="T19" fmla="*/ 30 h 363"/>
                  <a:gd name="T20" fmla="*/ 103 w 103"/>
                  <a:gd name="T21" fmla="*/ 183 h 363"/>
                  <a:gd name="T22" fmla="*/ 49 w 103"/>
                  <a:gd name="T23" fmla="*/ 336 h 363"/>
                  <a:gd name="T24" fmla="*/ 40 w 103"/>
                  <a:gd name="T25" fmla="*/ 353 h 363"/>
                  <a:gd name="T26" fmla="*/ 23 w 103"/>
                  <a:gd name="T27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3" h="363">
                    <a:moveTo>
                      <a:pt x="23" y="363"/>
                    </a:moveTo>
                    <a:cubicBezTo>
                      <a:pt x="19" y="363"/>
                      <a:pt x="16" y="362"/>
                      <a:pt x="13" y="361"/>
                    </a:cubicBezTo>
                    <a:cubicBezTo>
                      <a:pt x="3" y="355"/>
                      <a:pt x="0" y="343"/>
                      <a:pt x="5" y="333"/>
                    </a:cubicBezTo>
                    <a:cubicBezTo>
                      <a:pt x="8" y="328"/>
                      <a:pt x="11" y="322"/>
                      <a:pt x="15" y="316"/>
                    </a:cubicBezTo>
                    <a:cubicBezTo>
                      <a:pt x="38" y="274"/>
                      <a:pt x="63" y="231"/>
                      <a:pt x="63" y="183"/>
                    </a:cubicBezTo>
                    <a:cubicBezTo>
                      <a:pt x="63" y="135"/>
                      <a:pt x="38" y="92"/>
                      <a:pt x="14" y="50"/>
                    </a:cubicBezTo>
                    <a:cubicBezTo>
                      <a:pt x="11" y="44"/>
                      <a:pt x="8" y="38"/>
                      <a:pt x="5" y="33"/>
                    </a:cubicBezTo>
                    <a:cubicBezTo>
                      <a:pt x="0" y="23"/>
                      <a:pt x="3" y="11"/>
                      <a:pt x="13" y="5"/>
                    </a:cubicBezTo>
                    <a:cubicBezTo>
                      <a:pt x="23" y="0"/>
                      <a:pt x="35" y="4"/>
                      <a:pt x="40" y="13"/>
                    </a:cubicBezTo>
                    <a:cubicBezTo>
                      <a:pt x="43" y="19"/>
                      <a:pt x="46" y="24"/>
                      <a:pt x="49" y="30"/>
                    </a:cubicBezTo>
                    <a:cubicBezTo>
                      <a:pt x="75" y="77"/>
                      <a:pt x="103" y="125"/>
                      <a:pt x="103" y="183"/>
                    </a:cubicBezTo>
                    <a:cubicBezTo>
                      <a:pt x="103" y="241"/>
                      <a:pt x="76" y="289"/>
                      <a:pt x="49" y="336"/>
                    </a:cubicBezTo>
                    <a:cubicBezTo>
                      <a:pt x="46" y="342"/>
                      <a:pt x="43" y="347"/>
                      <a:pt x="40" y="353"/>
                    </a:cubicBezTo>
                    <a:cubicBezTo>
                      <a:pt x="36" y="359"/>
                      <a:pt x="30" y="363"/>
                      <a:pt x="23" y="3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2" name="Freeform 75">
                <a:extLst>
                  <a:ext uri="{FF2B5EF4-FFF2-40B4-BE49-F238E27FC236}">
                    <a16:creationId xmlns:a16="http://schemas.microsoft.com/office/drawing/2014/main" id="{E8B61FBA-0337-4577-87C6-8354D65B04E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5" y="1784"/>
                <a:ext cx="84" cy="752"/>
              </a:xfrm>
              <a:custGeom>
                <a:avLst/>
                <a:gdLst>
                  <a:gd name="T0" fmla="*/ 20 w 40"/>
                  <a:gd name="T1" fmla="*/ 360 h 360"/>
                  <a:gd name="T2" fmla="*/ 0 w 40"/>
                  <a:gd name="T3" fmla="*/ 340 h 360"/>
                  <a:gd name="T4" fmla="*/ 0 w 40"/>
                  <a:gd name="T5" fmla="*/ 20 h 360"/>
                  <a:gd name="T6" fmla="*/ 20 w 40"/>
                  <a:gd name="T7" fmla="*/ 0 h 360"/>
                  <a:gd name="T8" fmla="*/ 40 w 40"/>
                  <a:gd name="T9" fmla="*/ 20 h 360"/>
                  <a:gd name="T10" fmla="*/ 40 w 40"/>
                  <a:gd name="T11" fmla="*/ 340 h 360"/>
                  <a:gd name="T12" fmla="*/ 20 w 40"/>
                  <a:gd name="T13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360">
                    <a:moveTo>
                      <a:pt x="20" y="360"/>
                    </a:moveTo>
                    <a:cubicBezTo>
                      <a:pt x="9" y="360"/>
                      <a:pt x="0" y="351"/>
                      <a:pt x="0" y="34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40"/>
                      <a:pt x="40" y="340"/>
                      <a:pt x="40" y="340"/>
                    </a:cubicBezTo>
                    <a:cubicBezTo>
                      <a:pt x="40" y="351"/>
                      <a:pt x="31" y="360"/>
                      <a:pt x="20" y="36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884413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bject 2">
            <a:extLst>
              <a:ext uri="{FF2B5EF4-FFF2-40B4-BE49-F238E27FC236}">
                <a16:creationId xmlns:a16="http://schemas.microsoft.com/office/drawing/2014/main" id="{6CC684D6-D016-4A7D-8F39-65E14CCE9175}"/>
              </a:ext>
            </a:extLst>
          </p:cNvPr>
          <p:cNvSpPr txBox="1"/>
          <p:nvPr/>
        </p:nvSpPr>
        <p:spPr>
          <a:xfrm>
            <a:off x="7277002" y="5247129"/>
            <a:ext cx="114776" cy="113493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675" spc="-4" dirty="0">
                <a:solidFill>
                  <a:srgbClr val="084EA4"/>
                </a:solidFill>
                <a:latin typeface="Arial"/>
                <a:cs typeface="Arial"/>
              </a:rPr>
              <a:t>21</a:t>
            </a:r>
            <a:endParaRPr sz="675">
              <a:latin typeface="Arial"/>
              <a:cs typeface="Arial"/>
            </a:endParaRPr>
          </a:p>
        </p:txBody>
      </p:sp>
      <p:pic>
        <p:nvPicPr>
          <p:cNvPr id="24" name="Shape 456">
            <a:extLst>
              <a:ext uri="{FF2B5EF4-FFF2-40B4-BE49-F238E27FC236}">
                <a16:creationId xmlns:a16="http://schemas.microsoft.com/office/drawing/2014/main" id="{260824EF-C8B9-463D-A247-D55CA05A4281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391739" y="1436386"/>
            <a:ext cx="1523315" cy="1433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34" name="Shape 457">
            <a:extLst>
              <a:ext uri="{FF2B5EF4-FFF2-40B4-BE49-F238E27FC236}">
                <a16:creationId xmlns:a16="http://schemas.microsoft.com/office/drawing/2014/main" id="{847712F3-DAC6-45F2-98A0-A7AE4A2C85F5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94268" y="936607"/>
            <a:ext cx="1619008" cy="1540562"/>
          </a:xfrm>
          <a:prstGeom prst="rect">
            <a:avLst/>
          </a:prstGeom>
          <a:noFill/>
          <a:ln>
            <a:noFill/>
          </a:ln>
        </p:spPr>
      </p:pic>
      <p:sp>
        <p:nvSpPr>
          <p:cNvPr id="35" name="Shape 458">
            <a:extLst>
              <a:ext uri="{FF2B5EF4-FFF2-40B4-BE49-F238E27FC236}">
                <a16:creationId xmlns:a16="http://schemas.microsoft.com/office/drawing/2014/main" id="{852AAD8F-4B5F-4D7A-A6BC-D944B8CA1CDC}"/>
              </a:ext>
            </a:extLst>
          </p:cNvPr>
          <p:cNvSpPr/>
          <p:nvPr/>
        </p:nvSpPr>
        <p:spPr>
          <a:xfrm rot="-3014921">
            <a:off x="2958014" y="2702120"/>
            <a:ext cx="301362" cy="294798"/>
          </a:xfrm>
          <a:prstGeom prst="triangle">
            <a:avLst>
              <a:gd name="adj" fmla="val 13589"/>
            </a:avLst>
          </a:prstGeom>
          <a:solidFill>
            <a:srgbClr val="00B0F0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lang="es-ES" sz="1050"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Shape 459">
            <a:extLst>
              <a:ext uri="{FF2B5EF4-FFF2-40B4-BE49-F238E27FC236}">
                <a16:creationId xmlns:a16="http://schemas.microsoft.com/office/drawing/2014/main" id="{B7881E04-1079-437D-87EE-76B7BCBFCBEB}"/>
              </a:ext>
            </a:extLst>
          </p:cNvPr>
          <p:cNvSpPr/>
          <p:nvPr/>
        </p:nvSpPr>
        <p:spPr>
          <a:xfrm rot="-2999428">
            <a:off x="4852557" y="2291908"/>
            <a:ext cx="301362" cy="294798"/>
          </a:xfrm>
          <a:prstGeom prst="triangle">
            <a:avLst>
              <a:gd name="adj" fmla="val 13589"/>
            </a:avLst>
          </a:prstGeom>
          <a:solidFill>
            <a:srgbClr val="002060"/>
          </a:solidFill>
          <a:ln>
            <a:noFill/>
          </a:ln>
        </p:spPr>
        <p:txBody>
          <a:bodyPr spcFirstLastPara="1" wrap="square" lIns="68569" tIns="34275" rIns="68569" bIns="34275" anchor="ctr" anchorCtr="0">
            <a:noAutofit/>
          </a:bodyPr>
          <a:lstStyle/>
          <a:p>
            <a:pPr algn="ctr">
              <a:buClr>
                <a:srgbClr val="000000"/>
              </a:buClr>
            </a:pPr>
            <a:endParaRPr lang="es-ES" sz="1050" kern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7" name="Shape 465">
            <a:extLst>
              <a:ext uri="{FF2B5EF4-FFF2-40B4-BE49-F238E27FC236}">
                <a16:creationId xmlns:a16="http://schemas.microsoft.com/office/drawing/2014/main" id="{4D18D3BD-E94F-4330-B92D-A1AAEBBB69FB}"/>
              </a:ext>
            </a:extLst>
          </p:cNvPr>
          <p:cNvGrpSpPr/>
          <p:nvPr/>
        </p:nvGrpSpPr>
        <p:grpSpPr>
          <a:xfrm>
            <a:off x="252267" y="1859377"/>
            <a:ext cx="1948379" cy="3103778"/>
            <a:chOff x="971389" y="2328085"/>
            <a:chExt cx="2737995" cy="4315401"/>
          </a:xfrm>
        </p:grpSpPr>
        <p:sp>
          <p:nvSpPr>
            <p:cNvPr id="38" name="Shape 466">
              <a:extLst>
                <a:ext uri="{FF2B5EF4-FFF2-40B4-BE49-F238E27FC236}">
                  <a16:creationId xmlns:a16="http://schemas.microsoft.com/office/drawing/2014/main" id="{2BB11D9E-71DB-4AE7-BDB3-CDC51EE28305}"/>
                </a:ext>
              </a:extLst>
            </p:cNvPr>
            <p:cNvSpPr txBox="1"/>
            <p:nvPr/>
          </p:nvSpPr>
          <p:spPr>
            <a:xfrm>
              <a:off x="1795033" y="4656945"/>
              <a:ext cx="1914351" cy="198654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1706" tIns="30844" rIns="61706" bIns="30844" anchor="t" anchorCtr="0">
              <a:noAutofit/>
            </a:bodyPr>
            <a:lstStyle/>
            <a:p>
              <a:pPr marL="214313" indent="-214313">
                <a:buClr>
                  <a:srgbClr val="2D2DB9"/>
                </a:buClr>
                <a:buFont typeface="Arial" panose="020B0604020202020204" pitchFamily="34" charset="0"/>
                <a:buChar char="•"/>
                <a:defRPr/>
              </a:pPr>
              <a:r>
                <a:rPr lang="es-ES" sz="1200" b="1" kern="0" dirty="0" err="1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Systemic</a:t>
              </a:r>
              <a:r>
                <a:rPr lang="es-ES" sz="1200" b="1" kern="0" dirty="0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 </a:t>
              </a:r>
              <a:r>
                <a:rPr lang="es-ES" sz="1200" b="1" kern="0" dirty="0" err="1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vulnerabilities</a:t>
              </a:r>
              <a:endParaRPr lang="es-ES" sz="1200" b="1" kern="0" dirty="0">
                <a:solidFill>
                  <a:srgbClr val="003087"/>
                </a:solidFill>
                <a:latin typeface="Open Sans"/>
                <a:ea typeface="Open Sans"/>
                <a:cs typeface="Open Sans"/>
                <a:sym typeface="Open Sans"/>
              </a:endParaRPr>
            </a:p>
            <a:p>
              <a:pPr marL="214313" indent="-214313">
                <a:buClr>
                  <a:srgbClr val="2D2DB9"/>
                </a:buClr>
                <a:buFont typeface="Arial" panose="020B0604020202020204" pitchFamily="34" charset="0"/>
                <a:buChar char="•"/>
                <a:defRPr/>
              </a:pPr>
              <a:endParaRPr lang="es-ES" sz="1200" b="1" kern="0" dirty="0">
                <a:solidFill>
                  <a:srgbClr val="003087"/>
                </a:solidFill>
                <a:latin typeface="Open Sans"/>
                <a:ea typeface="Open Sans"/>
                <a:cs typeface="Open Sans"/>
                <a:sym typeface="Open Sans"/>
              </a:endParaRPr>
            </a:p>
            <a:p>
              <a:pPr marL="214313" indent="-214313">
                <a:buClr>
                  <a:srgbClr val="2D2DB9"/>
                </a:buClr>
                <a:buFont typeface="Arial" panose="020B0604020202020204" pitchFamily="34" charset="0"/>
                <a:buChar char="•"/>
                <a:defRPr/>
              </a:pPr>
              <a:r>
                <a:rPr lang="es-ES" sz="1200" b="1" kern="0" dirty="0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Focus </a:t>
              </a:r>
              <a:r>
                <a:rPr lang="es-ES" sz="1200" b="1" kern="0" dirty="0" err="1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on</a:t>
              </a:r>
              <a:r>
                <a:rPr lang="es-ES" sz="1200" b="1" kern="0" dirty="0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 </a:t>
              </a:r>
              <a:r>
                <a:rPr lang="es-ES" sz="1200" b="1" kern="0" dirty="0" err="1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respond</a:t>
              </a:r>
              <a:r>
                <a:rPr lang="es-ES" sz="1200" b="1" kern="0" dirty="0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 &amp; </a:t>
              </a:r>
              <a:r>
                <a:rPr lang="es-ES" sz="1200" b="1" kern="0" dirty="0" err="1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recover</a:t>
              </a:r>
              <a:endParaRPr lang="es-ES" sz="1200" b="1" kern="0" dirty="0">
                <a:solidFill>
                  <a:srgbClr val="003087"/>
                </a:solidFill>
                <a:latin typeface="Open Sans"/>
                <a:ea typeface="Open Sans"/>
                <a:cs typeface="Open Sans"/>
                <a:sym typeface="Open Sans"/>
              </a:endParaRPr>
            </a:p>
            <a:p>
              <a:pPr marL="214313" indent="-214313">
                <a:buClr>
                  <a:srgbClr val="2D2DB9"/>
                </a:buClr>
                <a:buFont typeface="Arial" panose="020B0604020202020204" pitchFamily="34" charset="0"/>
                <a:buChar char="•"/>
                <a:defRPr/>
              </a:pPr>
              <a:endParaRPr lang="es-ES" sz="1200" b="1" kern="0" dirty="0">
                <a:solidFill>
                  <a:srgbClr val="003087"/>
                </a:solidFill>
                <a:latin typeface="Open Sans"/>
                <a:ea typeface="Open Sans"/>
                <a:cs typeface="Open Sans"/>
                <a:sym typeface="Open Sans"/>
              </a:endParaRPr>
            </a:p>
            <a:p>
              <a:pPr marL="214313" indent="-214313">
                <a:buClr>
                  <a:srgbClr val="2D2DB9"/>
                </a:buClr>
                <a:buFont typeface="Arial" panose="020B0604020202020204" pitchFamily="34" charset="0"/>
                <a:buChar char="•"/>
                <a:defRPr/>
              </a:pPr>
              <a:endParaRPr lang="es-ES" sz="1200" b="1" kern="0" dirty="0">
                <a:solidFill>
                  <a:srgbClr val="003087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sp>
          <p:nvSpPr>
            <p:cNvPr id="39" name="Shape 467">
              <a:extLst>
                <a:ext uri="{FF2B5EF4-FFF2-40B4-BE49-F238E27FC236}">
                  <a16:creationId xmlns:a16="http://schemas.microsoft.com/office/drawing/2014/main" id="{B0D5CF5F-D856-49D2-9A4E-C4ADB86BD7AD}"/>
                </a:ext>
              </a:extLst>
            </p:cNvPr>
            <p:cNvSpPr txBox="1"/>
            <p:nvPr/>
          </p:nvSpPr>
          <p:spPr>
            <a:xfrm>
              <a:off x="1795034" y="5088753"/>
              <a:ext cx="1727529" cy="3584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1706" tIns="30844" rIns="61706" bIns="30844" anchor="t" anchorCtr="0">
              <a:noAutofit/>
            </a:bodyPr>
            <a:lstStyle/>
            <a:p>
              <a:pPr>
                <a:buClr>
                  <a:srgbClr val="2D2DB9"/>
                </a:buClr>
                <a:defRPr/>
              </a:pPr>
              <a:endParaRPr lang="es-ES" sz="1200" b="1" kern="0" dirty="0">
                <a:solidFill>
                  <a:srgbClr val="003087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pic>
          <p:nvPicPr>
            <p:cNvPr id="40" name="Shape 468">
              <a:extLst>
                <a:ext uri="{FF2B5EF4-FFF2-40B4-BE49-F238E27FC236}">
                  <a16:creationId xmlns:a16="http://schemas.microsoft.com/office/drawing/2014/main" id="{9DA628A3-9993-4C53-A532-9827377E0875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 rot="5400000">
              <a:off x="1172805" y="2252773"/>
              <a:ext cx="1986540" cy="213716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1" name="Shape 469">
              <a:extLst>
                <a:ext uri="{FF2B5EF4-FFF2-40B4-BE49-F238E27FC236}">
                  <a16:creationId xmlns:a16="http://schemas.microsoft.com/office/drawing/2014/main" id="{14FEF361-7DC6-4C72-B3CA-F4A38DB6917F}"/>
                </a:ext>
              </a:extLst>
            </p:cNvPr>
            <p:cNvSpPr/>
            <p:nvPr/>
          </p:nvSpPr>
          <p:spPr>
            <a:xfrm rot="-5400000">
              <a:off x="362200" y="3156138"/>
              <a:ext cx="1704213" cy="4858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lang="es-ES" sz="105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2" name="Shape 470">
              <a:extLst>
                <a:ext uri="{FF2B5EF4-FFF2-40B4-BE49-F238E27FC236}">
                  <a16:creationId xmlns:a16="http://schemas.microsoft.com/office/drawing/2014/main" id="{F2200DD1-3E1E-44E8-92E5-DA778A5D7A8C}"/>
                </a:ext>
              </a:extLst>
            </p:cNvPr>
            <p:cNvSpPr txBox="1"/>
            <p:nvPr/>
          </p:nvSpPr>
          <p:spPr>
            <a:xfrm>
              <a:off x="1421333" y="2560519"/>
              <a:ext cx="1629652" cy="17042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1706" tIns="30844" rIns="61706" bIns="30844" anchor="t" anchorCtr="0">
              <a:noAutofit/>
            </a:bodyPr>
            <a:lstStyle/>
            <a:p>
              <a:pPr algn="ctr">
                <a:buClr>
                  <a:srgbClr val="094FA4"/>
                </a:buClr>
                <a:defRPr/>
              </a:pPr>
              <a:r>
                <a:rPr lang="es-ES" sz="1200" b="1" kern="0" dirty="0" err="1">
                  <a:solidFill>
                    <a:srgbClr val="003087"/>
                  </a:solidFill>
                  <a:latin typeface="Arial"/>
                  <a:cs typeface="Arial"/>
                  <a:sym typeface="Arial"/>
                </a:rPr>
                <a:t>Cyber</a:t>
              </a:r>
              <a:r>
                <a:rPr lang="es-ES" sz="1200" b="1" kern="0" dirty="0">
                  <a:solidFill>
                    <a:srgbClr val="003087"/>
                  </a:solidFill>
                  <a:latin typeface="Arial"/>
                  <a:cs typeface="Arial"/>
                  <a:sym typeface="Arial"/>
                </a:rPr>
                <a:t> Security </a:t>
              </a:r>
            </a:p>
            <a:p>
              <a:pPr algn="ctr">
                <a:buClr>
                  <a:srgbClr val="094FA4"/>
                </a:buClr>
                <a:defRPr/>
              </a:pPr>
              <a:r>
                <a:rPr lang="es-ES" sz="1200" b="1" kern="0" dirty="0">
                  <a:solidFill>
                    <a:srgbClr val="003087"/>
                  </a:solidFill>
                  <a:latin typeface="Arial"/>
                  <a:cs typeface="Arial"/>
                  <a:sym typeface="Arial"/>
                </a:rPr>
                <a:t>vs </a:t>
              </a:r>
            </a:p>
            <a:p>
              <a:pPr algn="ctr">
                <a:buClr>
                  <a:srgbClr val="094FA4"/>
                </a:buClr>
                <a:defRPr/>
              </a:pPr>
              <a:r>
                <a:rPr lang="es-ES" sz="1200" b="1" kern="0" dirty="0" err="1">
                  <a:solidFill>
                    <a:srgbClr val="003087"/>
                  </a:solidFill>
                  <a:latin typeface="Arial"/>
                  <a:cs typeface="Arial"/>
                  <a:sym typeface="Arial"/>
                </a:rPr>
                <a:t>Cyber</a:t>
              </a:r>
              <a:r>
                <a:rPr lang="es-ES" sz="1200" b="1" kern="0" dirty="0">
                  <a:solidFill>
                    <a:srgbClr val="003087"/>
                  </a:solidFill>
                  <a:latin typeface="Arial"/>
                  <a:cs typeface="Arial"/>
                  <a:sym typeface="Arial"/>
                </a:rPr>
                <a:t> </a:t>
              </a:r>
              <a:r>
                <a:rPr lang="es-ES" sz="1200" b="1" kern="0" dirty="0" err="1">
                  <a:solidFill>
                    <a:srgbClr val="003087"/>
                  </a:solidFill>
                  <a:latin typeface="Arial"/>
                  <a:cs typeface="Arial"/>
                  <a:sym typeface="Arial"/>
                </a:rPr>
                <a:t>Resilience</a:t>
              </a:r>
              <a:endParaRPr lang="es-ES" sz="825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3" name="Shape 471">
              <a:extLst>
                <a:ext uri="{FF2B5EF4-FFF2-40B4-BE49-F238E27FC236}">
                  <a16:creationId xmlns:a16="http://schemas.microsoft.com/office/drawing/2014/main" id="{1881D5D0-874A-4B5E-8923-84D94F190AB8}"/>
                </a:ext>
              </a:extLst>
            </p:cNvPr>
            <p:cNvSpPr/>
            <p:nvPr/>
          </p:nvSpPr>
          <p:spPr>
            <a:xfrm rot="-2965141">
              <a:off x="1965166" y="4114425"/>
              <a:ext cx="401816" cy="393064"/>
            </a:xfrm>
            <a:prstGeom prst="triangle">
              <a:avLst>
                <a:gd name="adj" fmla="val 13589"/>
              </a:avLst>
            </a:prstGeom>
            <a:solidFill>
              <a:srgbClr val="B5E5F9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lang="es-ES" sz="105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Shape 472">
              <a:extLst>
                <a:ext uri="{FF2B5EF4-FFF2-40B4-BE49-F238E27FC236}">
                  <a16:creationId xmlns:a16="http://schemas.microsoft.com/office/drawing/2014/main" id="{08147521-F694-40FC-ACE7-B30180FFEE25}"/>
                </a:ext>
              </a:extLst>
            </p:cNvPr>
            <p:cNvSpPr txBox="1"/>
            <p:nvPr/>
          </p:nvSpPr>
          <p:spPr>
            <a:xfrm>
              <a:off x="1036452" y="3048814"/>
              <a:ext cx="640336" cy="646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B5E5F9"/>
                </a:buClr>
                <a:defRPr/>
              </a:pPr>
              <a:r>
                <a:rPr lang="es-ES" sz="2700" b="1" kern="0">
                  <a:solidFill>
                    <a:srgbClr val="B5E5F9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</a:p>
          </p:txBody>
        </p:sp>
        <p:cxnSp>
          <p:nvCxnSpPr>
            <p:cNvPr id="57" name="Shape 473">
              <a:extLst>
                <a:ext uri="{FF2B5EF4-FFF2-40B4-BE49-F238E27FC236}">
                  <a16:creationId xmlns:a16="http://schemas.microsoft.com/office/drawing/2014/main" id="{28E1332C-F387-443B-89B5-51DD278EA461}"/>
                </a:ext>
              </a:extLst>
            </p:cNvPr>
            <p:cNvCxnSpPr>
              <a:cxnSpLocks/>
              <a:stCxn id="72" idx="2"/>
            </p:cNvCxnSpPr>
            <p:nvPr/>
          </p:nvCxnSpPr>
          <p:spPr>
            <a:xfrm flipV="1">
              <a:off x="1454459" y="2371919"/>
              <a:ext cx="21196" cy="3985577"/>
            </a:xfrm>
            <a:prstGeom prst="straightConnector1">
              <a:avLst/>
            </a:prstGeom>
            <a:noFill/>
            <a:ln w="412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58" name="Shape 474">
            <a:extLst>
              <a:ext uri="{FF2B5EF4-FFF2-40B4-BE49-F238E27FC236}">
                <a16:creationId xmlns:a16="http://schemas.microsoft.com/office/drawing/2014/main" id="{35FD52A5-E474-4501-B5CB-E48992DB13DE}"/>
              </a:ext>
            </a:extLst>
          </p:cNvPr>
          <p:cNvGrpSpPr/>
          <p:nvPr/>
        </p:nvGrpSpPr>
        <p:grpSpPr>
          <a:xfrm>
            <a:off x="2067703" y="1599642"/>
            <a:ext cx="627426" cy="3172149"/>
            <a:chOff x="971388" y="2642751"/>
            <a:chExt cx="688520" cy="4194513"/>
          </a:xfrm>
        </p:grpSpPr>
        <p:sp>
          <p:nvSpPr>
            <p:cNvPr id="59" name="Shape 475">
              <a:extLst>
                <a:ext uri="{FF2B5EF4-FFF2-40B4-BE49-F238E27FC236}">
                  <a16:creationId xmlns:a16="http://schemas.microsoft.com/office/drawing/2014/main" id="{C93CEAF4-6709-4F0C-906F-A4BA33839ABE}"/>
                </a:ext>
              </a:extLst>
            </p:cNvPr>
            <p:cNvSpPr/>
            <p:nvPr/>
          </p:nvSpPr>
          <p:spPr>
            <a:xfrm rot="-5400000">
              <a:off x="462567" y="3256505"/>
              <a:ext cx="1503478" cy="4858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lang="es-ES" sz="105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" name="Shape 476">
              <a:extLst>
                <a:ext uri="{FF2B5EF4-FFF2-40B4-BE49-F238E27FC236}">
                  <a16:creationId xmlns:a16="http://schemas.microsoft.com/office/drawing/2014/main" id="{7DC2D436-C6F0-47B7-895C-780D5FAB8D10}"/>
                </a:ext>
              </a:extLst>
            </p:cNvPr>
            <p:cNvSpPr txBox="1"/>
            <p:nvPr/>
          </p:nvSpPr>
          <p:spPr>
            <a:xfrm>
              <a:off x="1019572" y="3140866"/>
              <a:ext cx="640336" cy="5788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00B0F0"/>
                </a:buClr>
                <a:defRPr/>
              </a:pPr>
              <a:r>
                <a:rPr lang="es-ES" sz="2700" b="1" kern="0">
                  <a:solidFill>
                    <a:srgbClr val="00B0F0"/>
                  </a:solidFill>
                  <a:latin typeface="Arial"/>
                  <a:ea typeface="Arial"/>
                  <a:cs typeface="Arial"/>
                  <a:sym typeface="Arial"/>
                </a:rPr>
                <a:t>2</a:t>
              </a:r>
            </a:p>
          </p:txBody>
        </p:sp>
        <p:cxnSp>
          <p:nvCxnSpPr>
            <p:cNvPr id="61" name="Shape 477">
              <a:extLst>
                <a:ext uri="{FF2B5EF4-FFF2-40B4-BE49-F238E27FC236}">
                  <a16:creationId xmlns:a16="http://schemas.microsoft.com/office/drawing/2014/main" id="{535F905A-9C95-450B-9E81-761325471904}"/>
                </a:ext>
              </a:extLst>
            </p:cNvPr>
            <p:cNvCxnSpPr/>
            <p:nvPr/>
          </p:nvCxnSpPr>
          <p:spPr>
            <a:xfrm rot="10800000" flipH="1">
              <a:off x="1445506" y="2642751"/>
              <a:ext cx="18432" cy="4194513"/>
            </a:xfrm>
            <a:prstGeom prst="straightConnector1">
              <a:avLst/>
            </a:prstGeom>
            <a:noFill/>
            <a:ln w="412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62" name="Shape 478">
            <a:extLst>
              <a:ext uri="{FF2B5EF4-FFF2-40B4-BE49-F238E27FC236}">
                <a16:creationId xmlns:a16="http://schemas.microsoft.com/office/drawing/2014/main" id="{305DF7C0-0DD5-44AB-8302-5D7B0546E515}"/>
              </a:ext>
            </a:extLst>
          </p:cNvPr>
          <p:cNvGrpSpPr/>
          <p:nvPr/>
        </p:nvGrpSpPr>
        <p:grpSpPr>
          <a:xfrm>
            <a:off x="4023067" y="987410"/>
            <a:ext cx="636218" cy="3770052"/>
            <a:chOff x="971388" y="2642751"/>
            <a:chExt cx="688520" cy="4194513"/>
          </a:xfrm>
        </p:grpSpPr>
        <p:sp>
          <p:nvSpPr>
            <p:cNvPr id="63" name="Shape 479">
              <a:extLst>
                <a:ext uri="{FF2B5EF4-FFF2-40B4-BE49-F238E27FC236}">
                  <a16:creationId xmlns:a16="http://schemas.microsoft.com/office/drawing/2014/main" id="{7CD204C2-0DD2-44FA-B301-50BF9D407A0A}"/>
                </a:ext>
              </a:extLst>
            </p:cNvPr>
            <p:cNvSpPr/>
            <p:nvPr/>
          </p:nvSpPr>
          <p:spPr>
            <a:xfrm rot="-5400000">
              <a:off x="462567" y="3256505"/>
              <a:ext cx="1503478" cy="4858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lang="es-ES" sz="105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" name="Shape 480">
              <a:extLst>
                <a:ext uri="{FF2B5EF4-FFF2-40B4-BE49-F238E27FC236}">
                  <a16:creationId xmlns:a16="http://schemas.microsoft.com/office/drawing/2014/main" id="{04984B00-524C-49AF-B539-9409386972F6}"/>
                </a:ext>
              </a:extLst>
            </p:cNvPr>
            <p:cNvSpPr txBox="1"/>
            <p:nvPr/>
          </p:nvSpPr>
          <p:spPr>
            <a:xfrm>
              <a:off x="1019572" y="3140866"/>
              <a:ext cx="640336" cy="4941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002060"/>
                </a:buClr>
                <a:defRPr/>
              </a:pPr>
              <a:r>
                <a:rPr lang="es-ES" sz="2700" b="1" kern="0">
                  <a:solidFill>
                    <a:srgbClr val="002060"/>
                  </a:solidFill>
                  <a:latin typeface="Arial"/>
                  <a:ea typeface="Arial"/>
                  <a:cs typeface="Arial"/>
                  <a:sym typeface="Arial"/>
                </a:rPr>
                <a:t>3</a:t>
              </a:r>
            </a:p>
          </p:txBody>
        </p:sp>
        <p:cxnSp>
          <p:nvCxnSpPr>
            <p:cNvPr id="65" name="Shape 481">
              <a:extLst>
                <a:ext uri="{FF2B5EF4-FFF2-40B4-BE49-F238E27FC236}">
                  <a16:creationId xmlns:a16="http://schemas.microsoft.com/office/drawing/2014/main" id="{E3175FCB-C081-40BF-B85B-1E34F42C551F}"/>
                </a:ext>
              </a:extLst>
            </p:cNvPr>
            <p:cNvCxnSpPr/>
            <p:nvPr/>
          </p:nvCxnSpPr>
          <p:spPr>
            <a:xfrm rot="10800000" flipH="1">
              <a:off x="1438954" y="2642751"/>
              <a:ext cx="18432" cy="4194513"/>
            </a:xfrm>
            <a:prstGeom prst="straightConnector1">
              <a:avLst/>
            </a:prstGeom>
            <a:noFill/>
            <a:ln w="412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66" name="Shape 482">
            <a:extLst>
              <a:ext uri="{FF2B5EF4-FFF2-40B4-BE49-F238E27FC236}">
                <a16:creationId xmlns:a16="http://schemas.microsoft.com/office/drawing/2014/main" id="{59BAD827-0E7F-4166-A28F-01E25C9D7E75}"/>
              </a:ext>
            </a:extLst>
          </p:cNvPr>
          <p:cNvSpPr txBox="1"/>
          <p:nvPr/>
        </p:nvSpPr>
        <p:spPr>
          <a:xfrm>
            <a:off x="2505144" y="2014490"/>
            <a:ext cx="1338525" cy="567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1706" tIns="30844" rIns="61706" bIns="30844" anchor="t" anchorCtr="0">
            <a:noAutofit/>
          </a:bodyPr>
          <a:lstStyle/>
          <a:p>
            <a:pPr algn="ctr">
              <a:buClr>
                <a:srgbClr val="094FA4"/>
              </a:buClr>
            </a:pPr>
            <a:r>
              <a:rPr lang="es-ES" sz="1013" b="1" kern="0" dirty="0" err="1">
                <a:solidFill>
                  <a:srgbClr val="FFFFFF"/>
                </a:solidFill>
                <a:latin typeface="Arial"/>
                <a:cs typeface="Arial"/>
                <a:sym typeface="Arial"/>
              </a:rPr>
              <a:t>Supervision</a:t>
            </a:r>
            <a:endParaRPr lang="es-ES" sz="1013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7" name="Shape 483">
            <a:extLst>
              <a:ext uri="{FF2B5EF4-FFF2-40B4-BE49-F238E27FC236}">
                <a16:creationId xmlns:a16="http://schemas.microsoft.com/office/drawing/2014/main" id="{58184486-882F-45A0-8094-DA0D996D7AC4}"/>
              </a:ext>
            </a:extLst>
          </p:cNvPr>
          <p:cNvSpPr txBox="1"/>
          <p:nvPr/>
        </p:nvSpPr>
        <p:spPr>
          <a:xfrm>
            <a:off x="4556606" y="1567185"/>
            <a:ext cx="1204318" cy="51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1706" tIns="30844" rIns="61706" bIns="30844" anchor="t" anchorCtr="0">
            <a:noAutofit/>
          </a:bodyPr>
          <a:lstStyle/>
          <a:p>
            <a:pPr algn="ctr">
              <a:buClr>
                <a:srgbClr val="094FA4"/>
              </a:buClr>
            </a:pPr>
            <a:r>
              <a:rPr lang="es-ES" sz="1013" b="1" kern="0" dirty="0" err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Governance</a:t>
            </a:r>
            <a:endParaRPr lang="es-ES" sz="105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algn="ctr">
              <a:buClr>
                <a:srgbClr val="094FA4"/>
              </a:buClr>
            </a:pPr>
            <a:endParaRPr lang="es-ES" sz="1013" b="1" kern="0" dirty="0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" name="Shape 484">
            <a:extLst>
              <a:ext uri="{FF2B5EF4-FFF2-40B4-BE49-F238E27FC236}">
                <a16:creationId xmlns:a16="http://schemas.microsoft.com/office/drawing/2014/main" id="{B7555A60-7B8F-4F8D-89CF-39676D8CD473}"/>
              </a:ext>
            </a:extLst>
          </p:cNvPr>
          <p:cNvSpPr txBox="1"/>
          <p:nvPr/>
        </p:nvSpPr>
        <p:spPr>
          <a:xfrm>
            <a:off x="2768456" y="3136012"/>
            <a:ext cx="1559622" cy="1219171"/>
          </a:xfrm>
          <a:prstGeom prst="rect">
            <a:avLst/>
          </a:prstGeom>
          <a:noFill/>
          <a:ln w="9525" cap="flat" cmpd="sng">
            <a:solidFill>
              <a:srgbClr val="005390">
                <a:alpha val="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1706" tIns="30844" rIns="61706" bIns="30844" anchor="t" anchorCtr="0">
            <a:noAutofit/>
          </a:bodyPr>
          <a:lstStyle/>
          <a:p>
            <a:pPr marL="214313" indent="-214313">
              <a:buClr>
                <a:srgbClr val="2D2DB9"/>
              </a:buClr>
              <a:buFontTx/>
              <a:buChar char="-"/>
            </a:pPr>
            <a:r>
              <a:rPr lang="es-ES" sz="1200" b="1" kern="0" dirty="0" err="1">
                <a:solidFill>
                  <a:srgbClr val="00B0F0"/>
                </a:solidFill>
                <a:latin typeface="Open Sans"/>
                <a:ea typeface="Open Sans"/>
                <a:cs typeface="Open Sans"/>
                <a:sym typeface="Open Sans"/>
              </a:rPr>
              <a:t>Enhanced</a:t>
            </a:r>
            <a:r>
              <a:rPr lang="es-ES" sz="1200" b="1" kern="0" dirty="0">
                <a:solidFill>
                  <a:srgbClr val="00B0F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s-ES" sz="1200" b="1" kern="0" dirty="0" err="1">
                <a:solidFill>
                  <a:srgbClr val="00B0F0"/>
                </a:solidFill>
                <a:latin typeface="Open Sans"/>
                <a:ea typeface="Open Sans"/>
                <a:cs typeface="Open Sans"/>
                <a:sym typeface="Open Sans"/>
              </a:rPr>
              <a:t>Supervision</a:t>
            </a:r>
            <a:endParaRPr lang="es-ES" sz="1200" b="1" kern="0" dirty="0">
              <a:solidFill>
                <a:srgbClr val="00B0F0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214313" indent="-214313">
              <a:buClr>
                <a:srgbClr val="2D2DB9"/>
              </a:buClr>
              <a:buFontTx/>
              <a:buChar char="-"/>
            </a:pPr>
            <a:endParaRPr lang="es-ES" sz="1200" b="1" kern="0" dirty="0">
              <a:solidFill>
                <a:srgbClr val="00B0F0"/>
              </a:solidFill>
              <a:latin typeface="Open Sans"/>
              <a:cs typeface="Arial"/>
              <a:sym typeface="Open Sans"/>
            </a:endParaRPr>
          </a:p>
          <a:p>
            <a:pPr marL="214313" indent="-214313">
              <a:buClr>
                <a:srgbClr val="2D2DB9"/>
              </a:buClr>
              <a:buFontTx/>
              <a:buChar char="-"/>
            </a:pPr>
            <a:r>
              <a:rPr lang="es-ES" sz="1200" b="1" kern="0" dirty="0">
                <a:solidFill>
                  <a:srgbClr val="00B0F0"/>
                </a:solidFill>
                <a:latin typeface="Open Sans"/>
                <a:cs typeface="Arial"/>
                <a:sym typeface="Open Sans"/>
              </a:rPr>
              <a:t>Pillar 2 </a:t>
            </a:r>
            <a:r>
              <a:rPr lang="es-ES" sz="1200" b="1" kern="0" dirty="0" err="1">
                <a:solidFill>
                  <a:srgbClr val="00B0F0"/>
                </a:solidFill>
                <a:latin typeface="Open Sans"/>
                <a:cs typeface="Arial"/>
                <a:sym typeface="Open Sans"/>
              </a:rPr>
              <a:t>Assesment</a:t>
            </a:r>
            <a:endParaRPr lang="es-ES" sz="1200" b="1" kern="0" dirty="0">
              <a:solidFill>
                <a:srgbClr val="00B0F0"/>
              </a:solidFill>
              <a:latin typeface="Open Sans"/>
              <a:cs typeface="Arial"/>
              <a:sym typeface="Open Sans"/>
            </a:endParaRPr>
          </a:p>
          <a:p>
            <a:pPr marL="214313" indent="-214313">
              <a:buClr>
                <a:srgbClr val="2D2DB9"/>
              </a:buClr>
              <a:buFontTx/>
              <a:buChar char="-"/>
            </a:pPr>
            <a:endParaRPr lang="es-ES" sz="1200" b="1" kern="0" dirty="0">
              <a:solidFill>
                <a:srgbClr val="00B0F0"/>
              </a:solidFill>
              <a:latin typeface="Open Sans"/>
              <a:cs typeface="Arial"/>
              <a:sym typeface="Open Sans"/>
            </a:endParaRPr>
          </a:p>
          <a:p>
            <a:pPr marL="214313" indent="-214313">
              <a:buClr>
                <a:srgbClr val="2D2DB9"/>
              </a:buClr>
              <a:buFontTx/>
              <a:buChar char="-"/>
            </a:pPr>
            <a:r>
              <a:rPr lang="es-ES" sz="1200" b="1" kern="0" dirty="0" err="1">
                <a:solidFill>
                  <a:srgbClr val="00B0F0"/>
                </a:solidFill>
                <a:latin typeface="Open Sans"/>
                <a:cs typeface="Arial"/>
                <a:sym typeface="Open Sans"/>
              </a:rPr>
              <a:t>Testing</a:t>
            </a:r>
            <a:r>
              <a:rPr lang="es-ES" sz="1200" b="1" kern="0" dirty="0">
                <a:solidFill>
                  <a:srgbClr val="00B0F0"/>
                </a:solidFill>
                <a:latin typeface="Open Sans"/>
                <a:cs typeface="Arial"/>
                <a:sym typeface="Open Sans"/>
              </a:rPr>
              <a:t> </a:t>
            </a:r>
            <a:r>
              <a:rPr lang="es-ES" sz="1200" b="1" kern="0" dirty="0" err="1">
                <a:solidFill>
                  <a:srgbClr val="00B0F0"/>
                </a:solidFill>
                <a:latin typeface="Open Sans"/>
                <a:cs typeface="Arial"/>
                <a:sym typeface="Open Sans"/>
              </a:rPr>
              <a:t>Resilience</a:t>
            </a:r>
            <a:endParaRPr lang="es-ES" sz="1200" b="1" kern="0" dirty="0">
              <a:solidFill>
                <a:srgbClr val="00B0F0"/>
              </a:solidFill>
              <a:latin typeface="Open Sans"/>
              <a:cs typeface="Arial"/>
              <a:sym typeface="Open Sans"/>
            </a:endParaRPr>
          </a:p>
          <a:p>
            <a:pPr marL="214313" indent="-214313">
              <a:buClr>
                <a:srgbClr val="2D2DB9"/>
              </a:buClr>
              <a:buFontTx/>
              <a:buChar char="-"/>
            </a:pPr>
            <a:endParaRPr lang="es-ES" sz="1200" b="1" kern="0" dirty="0">
              <a:solidFill>
                <a:srgbClr val="00B0F0"/>
              </a:solidFill>
              <a:latin typeface="Open Sans"/>
              <a:cs typeface="Arial"/>
              <a:sym typeface="Open Sans"/>
            </a:endParaRPr>
          </a:p>
          <a:p>
            <a:pPr marL="214313" indent="-214313">
              <a:buClr>
                <a:srgbClr val="2D2DB9"/>
              </a:buClr>
              <a:buFontTx/>
              <a:buChar char="-"/>
            </a:pPr>
            <a:endParaRPr lang="es-ES" sz="105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9" name="Shape 486">
            <a:extLst>
              <a:ext uri="{FF2B5EF4-FFF2-40B4-BE49-F238E27FC236}">
                <a16:creationId xmlns:a16="http://schemas.microsoft.com/office/drawing/2014/main" id="{764FA7AB-72CD-471B-BBB9-54989EE781AD}"/>
              </a:ext>
            </a:extLst>
          </p:cNvPr>
          <p:cNvSpPr txBox="1"/>
          <p:nvPr/>
        </p:nvSpPr>
        <p:spPr>
          <a:xfrm>
            <a:off x="4715036" y="2687845"/>
            <a:ext cx="2007098" cy="229274"/>
          </a:xfrm>
          <a:prstGeom prst="rect">
            <a:avLst/>
          </a:prstGeom>
          <a:noFill/>
          <a:ln w="9525" cap="flat" cmpd="sng">
            <a:solidFill>
              <a:srgbClr val="005390">
                <a:alpha val="0"/>
              </a:srgbClr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1706" tIns="30844" rIns="61706" bIns="30844" anchor="t" anchorCtr="0">
            <a:noAutofit/>
          </a:bodyPr>
          <a:lstStyle/>
          <a:p>
            <a:pPr marL="214313" indent="-214313">
              <a:buClr>
                <a:srgbClr val="2D2DB9"/>
              </a:buClr>
              <a:buFontTx/>
              <a:buChar char="-"/>
            </a:pPr>
            <a:r>
              <a:rPr lang="es-ES" sz="1200" b="1" kern="0" dirty="0" err="1">
                <a:solidFill>
                  <a:srgbClr val="002060"/>
                </a:solidFill>
                <a:latin typeface="Open Sans"/>
                <a:ea typeface="Open Sans"/>
                <a:cs typeface="Open Sans"/>
                <a:sym typeface="Open Sans"/>
              </a:rPr>
              <a:t>Pressure</a:t>
            </a:r>
            <a:r>
              <a:rPr lang="es-ES" sz="1200" b="1" kern="0" dirty="0">
                <a:solidFill>
                  <a:srgbClr val="00206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s-ES" sz="1200" b="1" kern="0" dirty="0" err="1">
                <a:solidFill>
                  <a:srgbClr val="002060"/>
                </a:solidFill>
                <a:latin typeface="Open Sans"/>
                <a:ea typeface="Open Sans"/>
                <a:cs typeface="Open Sans"/>
                <a:sym typeface="Open Sans"/>
              </a:rPr>
              <a:t>on</a:t>
            </a:r>
            <a:r>
              <a:rPr lang="es-ES" sz="1200" b="1" kern="0" dirty="0">
                <a:solidFill>
                  <a:srgbClr val="002060"/>
                </a:solidFill>
                <a:latin typeface="Open Sans"/>
                <a:ea typeface="Open Sans"/>
                <a:cs typeface="Open Sans"/>
                <a:sym typeface="Open Sans"/>
              </a:rPr>
              <a:t> Banks’ </a:t>
            </a:r>
            <a:r>
              <a:rPr lang="es-ES" sz="1200" b="1" kern="0" dirty="0" err="1">
                <a:solidFill>
                  <a:srgbClr val="002060"/>
                </a:solidFill>
                <a:latin typeface="Open Sans"/>
                <a:ea typeface="Open Sans"/>
                <a:cs typeface="Open Sans"/>
                <a:sym typeface="Open Sans"/>
              </a:rPr>
              <a:t>Boards</a:t>
            </a:r>
            <a:endParaRPr lang="es-ES" sz="1200" b="1" kern="0" dirty="0">
              <a:solidFill>
                <a:srgbClr val="002060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214313" indent="-214313">
              <a:buClr>
                <a:srgbClr val="2D2DB9"/>
              </a:buClr>
              <a:buFontTx/>
              <a:buChar char="-"/>
            </a:pPr>
            <a:endParaRPr lang="es-ES" sz="1200" b="1" kern="0" dirty="0">
              <a:solidFill>
                <a:srgbClr val="002060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214313" indent="-214313">
              <a:buClr>
                <a:srgbClr val="2D2DB9"/>
              </a:buClr>
              <a:buFontTx/>
              <a:buChar char="-"/>
            </a:pPr>
            <a:r>
              <a:rPr lang="es-ES" sz="1200" b="1" kern="0" dirty="0" err="1">
                <a:solidFill>
                  <a:srgbClr val="002060"/>
                </a:solidFill>
                <a:latin typeface="Open Sans"/>
                <a:ea typeface="Open Sans"/>
                <a:cs typeface="Open Sans"/>
                <a:sym typeface="Open Sans"/>
              </a:rPr>
              <a:t>Quantification</a:t>
            </a:r>
            <a:r>
              <a:rPr lang="es-ES" sz="1200" b="1" kern="0" dirty="0">
                <a:solidFill>
                  <a:srgbClr val="00206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s-ES" sz="1200" b="1" kern="0" dirty="0" err="1">
                <a:solidFill>
                  <a:srgbClr val="002060"/>
                </a:solidFill>
                <a:latin typeface="Open Sans"/>
                <a:ea typeface="Open Sans"/>
                <a:cs typeface="Open Sans"/>
                <a:sym typeface="Open Sans"/>
              </a:rPr>
              <a:t>of</a:t>
            </a:r>
            <a:r>
              <a:rPr lang="es-ES" sz="1200" b="1" kern="0" dirty="0">
                <a:solidFill>
                  <a:srgbClr val="00206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s-ES" sz="1200" b="1" kern="0" dirty="0" err="1">
                <a:solidFill>
                  <a:srgbClr val="002060"/>
                </a:solidFill>
                <a:latin typeface="Open Sans"/>
                <a:ea typeface="Open Sans"/>
                <a:cs typeface="Open Sans"/>
                <a:sym typeface="Open Sans"/>
              </a:rPr>
              <a:t>Cyber</a:t>
            </a:r>
            <a:r>
              <a:rPr lang="es-ES" sz="1200" b="1" kern="0" dirty="0">
                <a:solidFill>
                  <a:srgbClr val="002060"/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s-ES" sz="1200" b="1" kern="0" dirty="0" err="1">
                <a:solidFill>
                  <a:srgbClr val="002060"/>
                </a:solidFill>
                <a:latin typeface="Open Sans"/>
                <a:ea typeface="Open Sans"/>
                <a:cs typeface="Open Sans"/>
                <a:sym typeface="Open Sans"/>
              </a:rPr>
              <a:t>risk</a:t>
            </a:r>
            <a:endParaRPr lang="es-ES" sz="1200" b="1" kern="0" dirty="0">
              <a:solidFill>
                <a:srgbClr val="002060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214313" indent="-214313">
              <a:buClr>
                <a:srgbClr val="2D2DB9"/>
              </a:buClr>
              <a:buFontTx/>
              <a:buChar char="-"/>
            </a:pPr>
            <a:endParaRPr lang="es-ES" sz="1200" b="1" kern="0" dirty="0">
              <a:solidFill>
                <a:srgbClr val="002060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pic>
        <p:nvPicPr>
          <p:cNvPr id="72" name="Shape 497">
            <a:extLst>
              <a:ext uri="{FF2B5EF4-FFF2-40B4-BE49-F238E27FC236}">
                <a16:creationId xmlns:a16="http://schemas.microsoft.com/office/drawing/2014/main" id="{28DD46CF-E696-4B45-B489-9E396F462A0E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r="52912" b="14254"/>
          <a:stretch/>
        </p:blipFill>
        <p:spPr>
          <a:xfrm>
            <a:off x="531553" y="1800825"/>
            <a:ext cx="128939" cy="2956637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Shape 498">
            <a:extLst>
              <a:ext uri="{FF2B5EF4-FFF2-40B4-BE49-F238E27FC236}">
                <a16:creationId xmlns:a16="http://schemas.microsoft.com/office/drawing/2014/main" id="{792FC3A8-8854-4EA4-8866-847940DA3E7D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412919" y="1283607"/>
            <a:ext cx="273825" cy="3602252"/>
          </a:xfrm>
          <a:prstGeom prst="rect">
            <a:avLst/>
          </a:prstGeom>
          <a:noFill/>
          <a:ln>
            <a:noFill/>
          </a:ln>
        </p:spPr>
      </p:pic>
      <p:pic>
        <p:nvPicPr>
          <p:cNvPr id="74" name="Shape 499">
            <a:extLst>
              <a:ext uri="{FF2B5EF4-FFF2-40B4-BE49-F238E27FC236}">
                <a16:creationId xmlns:a16="http://schemas.microsoft.com/office/drawing/2014/main" id="{42574B78-9AA9-438D-A820-D7CA2A978065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4356769" y="777394"/>
            <a:ext cx="273825" cy="4108465"/>
          </a:xfrm>
          <a:prstGeom prst="rect">
            <a:avLst/>
          </a:prstGeom>
          <a:noFill/>
          <a:ln>
            <a:noFill/>
          </a:ln>
        </p:spPr>
      </p:pic>
      <p:sp>
        <p:nvSpPr>
          <p:cNvPr id="75" name="Shape 467">
            <a:extLst>
              <a:ext uri="{FF2B5EF4-FFF2-40B4-BE49-F238E27FC236}">
                <a16:creationId xmlns:a16="http://schemas.microsoft.com/office/drawing/2014/main" id="{BE33EF7F-959A-4959-A185-4A516B4A4BCA}"/>
              </a:ext>
            </a:extLst>
          </p:cNvPr>
          <p:cNvSpPr txBox="1"/>
          <p:nvPr/>
        </p:nvSpPr>
        <p:spPr>
          <a:xfrm>
            <a:off x="838378" y="4155510"/>
            <a:ext cx="1229324" cy="257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1706" tIns="30844" rIns="61706" bIns="30844" anchor="t" anchorCtr="0">
            <a:noAutofit/>
          </a:bodyPr>
          <a:lstStyle/>
          <a:p>
            <a:pPr>
              <a:buClr>
                <a:srgbClr val="2D2DB9"/>
              </a:buClr>
              <a:defRPr/>
            </a:pPr>
            <a:endParaRPr lang="es-ES" sz="1200" b="1" kern="0" dirty="0">
              <a:solidFill>
                <a:srgbClr val="003087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grpSp>
        <p:nvGrpSpPr>
          <p:cNvPr id="107" name="Shape 465">
            <a:extLst>
              <a:ext uri="{FF2B5EF4-FFF2-40B4-BE49-F238E27FC236}">
                <a16:creationId xmlns:a16="http://schemas.microsoft.com/office/drawing/2014/main" id="{4EA84191-58A6-4532-98C6-2957C86225EE}"/>
              </a:ext>
            </a:extLst>
          </p:cNvPr>
          <p:cNvGrpSpPr/>
          <p:nvPr/>
        </p:nvGrpSpPr>
        <p:grpSpPr>
          <a:xfrm>
            <a:off x="6290642" y="884188"/>
            <a:ext cx="6223571" cy="3873273"/>
            <a:chOff x="971389" y="1620110"/>
            <a:chExt cx="8745781" cy="5385283"/>
          </a:xfrm>
        </p:grpSpPr>
        <p:sp>
          <p:nvSpPr>
            <p:cNvPr id="109" name="Shape 467">
              <a:extLst>
                <a:ext uri="{FF2B5EF4-FFF2-40B4-BE49-F238E27FC236}">
                  <a16:creationId xmlns:a16="http://schemas.microsoft.com/office/drawing/2014/main" id="{915B664C-7270-43A4-9E43-E2A0FD273E62}"/>
                </a:ext>
              </a:extLst>
            </p:cNvPr>
            <p:cNvSpPr txBox="1"/>
            <p:nvPr/>
          </p:nvSpPr>
          <p:spPr>
            <a:xfrm>
              <a:off x="1795034" y="5088753"/>
              <a:ext cx="1727529" cy="3584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1706" tIns="30844" rIns="61706" bIns="30844" anchor="t" anchorCtr="0">
              <a:noAutofit/>
            </a:bodyPr>
            <a:lstStyle/>
            <a:p>
              <a:pPr>
                <a:buClr>
                  <a:srgbClr val="2D2DB9"/>
                </a:buClr>
                <a:defRPr/>
              </a:pPr>
              <a:endParaRPr lang="es-ES" sz="1200" b="1" kern="0" dirty="0">
                <a:solidFill>
                  <a:srgbClr val="003087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  <p:pic>
          <p:nvPicPr>
            <p:cNvPr id="110" name="Shape 468">
              <a:extLst>
                <a:ext uri="{FF2B5EF4-FFF2-40B4-BE49-F238E27FC236}">
                  <a16:creationId xmlns:a16="http://schemas.microsoft.com/office/drawing/2014/main" id="{B4AE3979-CB8A-4DCB-B547-666BE8444658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 rot="5400000">
              <a:off x="1172805" y="2252773"/>
              <a:ext cx="1986540" cy="2137163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1" name="Shape 469">
              <a:extLst>
                <a:ext uri="{FF2B5EF4-FFF2-40B4-BE49-F238E27FC236}">
                  <a16:creationId xmlns:a16="http://schemas.microsoft.com/office/drawing/2014/main" id="{9B3BE4DF-9B18-4A5F-A255-0F60E75718F4}"/>
                </a:ext>
              </a:extLst>
            </p:cNvPr>
            <p:cNvSpPr/>
            <p:nvPr/>
          </p:nvSpPr>
          <p:spPr>
            <a:xfrm rot="-5400000">
              <a:off x="362200" y="3156138"/>
              <a:ext cx="1704213" cy="4858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lang="es-ES" sz="105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2" name="Shape 470">
              <a:extLst>
                <a:ext uri="{FF2B5EF4-FFF2-40B4-BE49-F238E27FC236}">
                  <a16:creationId xmlns:a16="http://schemas.microsoft.com/office/drawing/2014/main" id="{3AC5D28D-9D75-4A16-85B8-8068F895437E}"/>
                </a:ext>
              </a:extLst>
            </p:cNvPr>
            <p:cNvSpPr txBox="1"/>
            <p:nvPr/>
          </p:nvSpPr>
          <p:spPr>
            <a:xfrm>
              <a:off x="1453327" y="2948280"/>
              <a:ext cx="1629652" cy="110945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1706" tIns="30844" rIns="61706" bIns="30844" anchor="t" anchorCtr="0">
              <a:noAutofit/>
            </a:bodyPr>
            <a:lstStyle/>
            <a:p>
              <a:pPr algn="ctr">
                <a:buClr>
                  <a:srgbClr val="094FA4"/>
                </a:buClr>
                <a:defRPr/>
              </a:pPr>
              <a:r>
                <a:rPr lang="es-ES" sz="1200" b="1" kern="0" dirty="0" err="1">
                  <a:solidFill>
                    <a:srgbClr val="003087"/>
                  </a:solidFill>
                  <a:latin typeface="Arial"/>
                  <a:cs typeface="Arial"/>
                  <a:sym typeface="Arial"/>
                </a:rPr>
                <a:t>Public</a:t>
              </a:r>
              <a:r>
                <a:rPr lang="es-ES" sz="1200" b="1" kern="0" dirty="0">
                  <a:solidFill>
                    <a:srgbClr val="003087"/>
                  </a:solidFill>
                  <a:latin typeface="Arial"/>
                  <a:cs typeface="Arial"/>
                  <a:sym typeface="Arial"/>
                </a:rPr>
                <a:t> </a:t>
              </a:r>
            </a:p>
            <a:p>
              <a:pPr algn="ctr">
                <a:buClr>
                  <a:srgbClr val="094FA4"/>
                </a:buClr>
                <a:defRPr/>
              </a:pPr>
              <a:r>
                <a:rPr lang="es-ES" sz="1200" b="1" kern="0" dirty="0" err="1">
                  <a:solidFill>
                    <a:srgbClr val="003087"/>
                  </a:solidFill>
                  <a:latin typeface="Arial"/>
                  <a:cs typeface="Arial"/>
                  <a:sym typeface="Arial"/>
                </a:rPr>
                <a:t>Policy</a:t>
              </a:r>
              <a:endParaRPr lang="es-ES" sz="825" kern="0" dirty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3" name="Shape 471">
              <a:extLst>
                <a:ext uri="{FF2B5EF4-FFF2-40B4-BE49-F238E27FC236}">
                  <a16:creationId xmlns:a16="http://schemas.microsoft.com/office/drawing/2014/main" id="{5749CFF9-8450-4625-97C5-2529EC9F7795}"/>
                </a:ext>
              </a:extLst>
            </p:cNvPr>
            <p:cNvSpPr/>
            <p:nvPr/>
          </p:nvSpPr>
          <p:spPr>
            <a:xfrm rot="-2965141">
              <a:off x="1965166" y="4114425"/>
              <a:ext cx="401816" cy="393064"/>
            </a:xfrm>
            <a:prstGeom prst="triangle">
              <a:avLst>
                <a:gd name="adj" fmla="val 13589"/>
              </a:avLst>
            </a:prstGeom>
            <a:solidFill>
              <a:srgbClr val="B5E5F9"/>
            </a:solidFill>
            <a:ln>
              <a:noFill/>
            </a:ln>
          </p:spPr>
          <p:txBody>
            <a:bodyPr spcFirstLastPara="1" wrap="square" lIns="68569" tIns="34275" rIns="68569" bIns="34275" anchor="ctr" anchorCtr="0">
              <a:noAutofit/>
            </a:bodyPr>
            <a:lstStyle/>
            <a:p>
              <a:pPr algn="ctr">
                <a:buClr>
                  <a:srgbClr val="000000"/>
                </a:buClr>
                <a:defRPr/>
              </a:pPr>
              <a:endParaRPr lang="es-ES" sz="1050" kern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4" name="Shape 472">
              <a:extLst>
                <a:ext uri="{FF2B5EF4-FFF2-40B4-BE49-F238E27FC236}">
                  <a16:creationId xmlns:a16="http://schemas.microsoft.com/office/drawing/2014/main" id="{D4929E78-8FAC-4EF4-8415-C1AD04625753}"/>
                </a:ext>
              </a:extLst>
            </p:cNvPr>
            <p:cNvSpPr txBox="1"/>
            <p:nvPr/>
          </p:nvSpPr>
          <p:spPr>
            <a:xfrm>
              <a:off x="1036452" y="3048814"/>
              <a:ext cx="640336" cy="64633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8569" tIns="34275" rIns="68569" bIns="34275" anchor="t" anchorCtr="0">
              <a:noAutofit/>
            </a:bodyPr>
            <a:lstStyle/>
            <a:p>
              <a:pPr>
                <a:buClr>
                  <a:srgbClr val="B5E5F9"/>
                </a:buClr>
                <a:defRPr/>
              </a:pPr>
              <a:r>
                <a:rPr lang="es-ES" sz="2700" b="1" kern="0" dirty="0">
                  <a:solidFill>
                    <a:srgbClr val="B5E5F9"/>
                  </a:solidFill>
                  <a:latin typeface="Arial"/>
                  <a:ea typeface="Arial"/>
                  <a:cs typeface="Arial"/>
                  <a:sym typeface="Arial"/>
                </a:rPr>
                <a:t>4</a:t>
              </a:r>
            </a:p>
          </p:txBody>
        </p:sp>
        <p:cxnSp>
          <p:nvCxnSpPr>
            <p:cNvPr id="115" name="Shape 473">
              <a:extLst>
                <a:ext uri="{FF2B5EF4-FFF2-40B4-BE49-F238E27FC236}">
                  <a16:creationId xmlns:a16="http://schemas.microsoft.com/office/drawing/2014/main" id="{9BBCE6C7-C577-4077-82AC-58A2BC00F341}"/>
                </a:ext>
              </a:extLst>
            </p:cNvPr>
            <p:cNvCxnSpPr>
              <a:cxnSpLocks/>
              <a:stCxn id="116" idx="2"/>
            </p:cNvCxnSpPr>
            <p:nvPr/>
          </p:nvCxnSpPr>
          <p:spPr>
            <a:xfrm flipV="1">
              <a:off x="1399367" y="1620110"/>
              <a:ext cx="8317803" cy="5385283"/>
            </a:xfrm>
            <a:prstGeom prst="straightConnector1">
              <a:avLst/>
            </a:prstGeom>
            <a:noFill/>
            <a:ln w="4127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</p:cxnSp>
        <p:sp>
          <p:nvSpPr>
            <p:cNvPr id="108" name="Shape 466">
              <a:extLst>
                <a:ext uri="{FF2B5EF4-FFF2-40B4-BE49-F238E27FC236}">
                  <a16:creationId xmlns:a16="http://schemas.microsoft.com/office/drawing/2014/main" id="{34ABA48E-EA94-465C-9FD9-24AFACE78A93}"/>
                </a:ext>
              </a:extLst>
            </p:cNvPr>
            <p:cNvSpPr txBox="1"/>
            <p:nvPr/>
          </p:nvSpPr>
          <p:spPr>
            <a:xfrm>
              <a:off x="1795033" y="4656945"/>
              <a:ext cx="1914351" cy="198654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1706" tIns="30844" rIns="61706" bIns="30844" anchor="t" anchorCtr="0">
              <a:noAutofit/>
            </a:bodyPr>
            <a:lstStyle/>
            <a:p>
              <a:pPr marL="214313" indent="-214313">
                <a:buClr>
                  <a:srgbClr val="2D2DB9"/>
                </a:buClr>
                <a:buFont typeface="Arial" panose="020B0604020202020204" pitchFamily="34" charset="0"/>
                <a:buChar char="•"/>
                <a:defRPr/>
              </a:pPr>
              <a:r>
                <a:rPr lang="es-ES" sz="1200" b="1" kern="0" dirty="0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Legal </a:t>
              </a:r>
              <a:r>
                <a:rPr lang="es-ES" sz="1200" b="1" kern="0" dirty="0" err="1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barriers</a:t>
              </a:r>
              <a:r>
                <a:rPr lang="es-ES" sz="1200" b="1" kern="0" dirty="0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 to </a:t>
              </a:r>
              <a:r>
                <a:rPr lang="es-ES" sz="1200" b="1" kern="0" dirty="0" err="1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information</a:t>
              </a:r>
              <a:r>
                <a:rPr lang="es-ES" sz="1200" b="1" kern="0" dirty="0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 </a:t>
              </a:r>
              <a:r>
                <a:rPr lang="es-ES" sz="1200" b="1" kern="0" dirty="0" err="1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sharing</a:t>
              </a:r>
              <a:endParaRPr lang="es-ES" sz="1200" b="1" kern="0" dirty="0">
                <a:solidFill>
                  <a:srgbClr val="003087"/>
                </a:solidFill>
                <a:latin typeface="Open Sans"/>
                <a:ea typeface="Open Sans"/>
                <a:cs typeface="Open Sans"/>
                <a:sym typeface="Open Sans"/>
              </a:endParaRPr>
            </a:p>
            <a:p>
              <a:pPr marL="214313" indent="-214313">
                <a:buClr>
                  <a:srgbClr val="2D2DB9"/>
                </a:buClr>
                <a:buFont typeface="Arial" panose="020B0604020202020204" pitchFamily="34" charset="0"/>
                <a:buChar char="•"/>
                <a:defRPr/>
              </a:pPr>
              <a:endParaRPr lang="es-ES" sz="1200" b="1" kern="0" dirty="0">
                <a:solidFill>
                  <a:srgbClr val="003087"/>
                </a:solidFill>
                <a:latin typeface="Open Sans"/>
                <a:ea typeface="Open Sans"/>
                <a:cs typeface="Open Sans"/>
                <a:sym typeface="Open Sans"/>
              </a:endParaRPr>
            </a:p>
            <a:p>
              <a:pPr marL="214313" indent="-214313">
                <a:buClr>
                  <a:srgbClr val="2D2DB9"/>
                </a:buClr>
                <a:buFont typeface="Arial" panose="020B0604020202020204" pitchFamily="34" charset="0"/>
                <a:buChar char="•"/>
                <a:defRPr/>
              </a:pPr>
              <a:r>
                <a:rPr lang="es-ES" sz="1200" b="1" kern="0" dirty="0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Cross-</a:t>
              </a:r>
              <a:r>
                <a:rPr lang="es-ES" sz="1200" b="1" kern="0" dirty="0" err="1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border</a:t>
              </a:r>
              <a:r>
                <a:rPr lang="es-ES" sz="1200" b="1" kern="0" dirty="0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 </a:t>
              </a:r>
              <a:r>
                <a:rPr lang="es-ES" sz="1200" b="1" kern="0" dirty="0" err="1">
                  <a:solidFill>
                    <a:srgbClr val="003087"/>
                  </a:solidFill>
                  <a:latin typeface="Open Sans"/>
                  <a:ea typeface="Open Sans"/>
                  <a:cs typeface="Open Sans"/>
                  <a:sym typeface="Open Sans"/>
                </a:rPr>
                <a:t>barriers</a:t>
              </a:r>
              <a:endParaRPr lang="es-ES" sz="1200" b="1" kern="0" dirty="0">
                <a:solidFill>
                  <a:srgbClr val="003087"/>
                </a:solidFill>
                <a:latin typeface="Open Sans"/>
                <a:ea typeface="Open Sans"/>
                <a:cs typeface="Open Sans"/>
                <a:sym typeface="Open Sans"/>
              </a:endParaRPr>
            </a:p>
            <a:p>
              <a:pPr marL="214313" indent="-214313">
                <a:buClr>
                  <a:srgbClr val="2D2DB9"/>
                </a:buClr>
                <a:buFont typeface="Arial" panose="020B0604020202020204" pitchFamily="34" charset="0"/>
                <a:buChar char="•"/>
                <a:defRPr/>
              </a:pPr>
              <a:endParaRPr lang="es-ES" sz="1200" b="1" kern="0" dirty="0">
                <a:solidFill>
                  <a:srgbClr val="003087"/>
                </a:solidFill>
                <a:latin typeface="Open Sans"/>
                <a:ea typeface="Open Sans"/>
                <a:cs typeface="Open Sans"/>
                <a:sym typeface="Open Sans"/>
              </a:endParaRPr>
            </a:p>
            <a:p>
              <a:pPr marL="214313" indent="-214313">
                <a:buClr>
                  <a:srgbClr val="2D2DB9"/>
                </a:buClr>
                <a:buFont typeface="Arial" panose="020B0604020202020204" pitchFamily="34" charset="0"/>
                <a:buChar char="•"/>
                <a:defRPr/>
              </a:pPr>
              <a:endParaRPr lang="es-ES" sz="1200" b="1" kern="0" dirty="0">
                <a:solidFill>
                  <a:srgbClr val="003087"/>
                </a:solidFill>
                <a:latin typeface="Open Sans"/>
                <a:ea typeface="Open Sans"/>
                <a:cs typeface="Open Sans"/>
                <a:sym typeface="Open Sans"/>
              </a:endParaRPr>
            </a:p>
          </p:txBody>
        </p:sp>
      </p:grpSp>
      <p:pic>
        <p:nvPicPr>
          <p:cNvPr id="116" name="Shape 497">
            <a:extLst>
              <a:ext uri="{FF2B5EF4-FFF2-40B4-BE49-F238E27FC236}">
                <a16:creationId xmlns:a16="http://schemas.microsoft.com/office/drawing/2014/main" id="{E24FE247-1BB7-41EA-B99C-608B8E96CAD7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r="52912" b="14254"/>
          <a:stretch/>
        </p:blipFill>
        <p:spPr>
          <a:xfrm>
            <a:off x="6510585" y="1374398"/>
            <a:ext cx="169218" cy="3383063"/>
          </a:xfrm>
          <a:prstGeom prst="rect">
            <a:avLst/>
          </a:prstGeom>
          <a:noFill/>
          <a:ln>
            <a:noFill/>
          </a:ln>
        </p:spPr>
      </p:pic>
      <p:sp>
        <p:nvSpPr>
          <p:cNvPr id="44" name="CuadroTexto 6">
            <a:extLst>
              <a:ext uri="{FF2B5EF4-FFF2-40B4-BE49-F238E27FC236}">
                <a16:creationId xmlns:a16="http://schemas.microsoft.com/office/drawing/2014/main" id="{69DFDF74-22EA-40DA-AE0D-F52489ABEEDA}"/>
              </a:ext>
            </a:extLst>
          </p:cNvPr>
          <p:cNvSpPr txBox="1"/>
          <p:nvPr/>
        </p:nvSpPr>
        <p:spPr>
          <a:xfrm>
            <a:off x="619160" y="338006"/>
            <a:ext cx="82721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cap="all" dirty="0">
                <a:solidFill>
                  <a:srgbClr val="092566"/>
                </a:solidFill>
                <a:latin typeface="Helvetica" pitchFamily="2" charset="0"/>
              </a:rPr>
              <a:t>Regulation - What to expect… 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8A2B933E-5570-4C4B-AA3D-A12870E3E70C}"/>
              </a:ext>
            </a:extLst>
          </p:cNvPr>
          <p:cNvGrpSpPr>
            <a:grpSpLocks noChangeAspect="1"/>
          </p:cNvGrpSpPr>
          <p:nvPr/>
        </p:nvGrpSpPr>
        <p:grpSpPr>
          <a:xfrm>
            <a:off x="8776903" y="56703"/>
            <a:ext cx="384048" cy="384048"/>
            <a:chOff x="676331" y="3719310"/>
            <a:chExt cx="951614" cy="951614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9849FE84-A626-4D70-94D0-0941D687ED45}"/>
                </a:ext>
              </a:extLst>
            </p:cNvPr>
            <p:cNvSpPr/>
            <p:nvPr/>
          </p:nvSpPr>
          <p:spPr bwMode="gray">
            <a:xfrm>
              <a:off x="676331" y="3719310"/>
              <a:ext cx="951614" cy="95161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47" name="Group 70">
              <a:extLst>
                <a:ext uri="{FF2B5EF4-FFF2-40B4-BE49-F238E27FC236}">
                  <a16:creationId xmlns:a16="http://schemas.microsoft.com/office/drawing/2014/main" id="{D7C7F213-D2F7-445A-B7A6-00B5C3F914C5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 rot="5400000">
              <a:off x="849838" y="3834995"/>
              <a:ext cx="606448" cy="609664"/>
              <a:chOff x="2645" y="1778"/>
              <a:chExt cx="754" cy="758"/>
            </a:xfrm>
            <a:solidFill>
              <a:schemeClr val="accent1"/>
            </a:solidFill>
          </p:grpSpPr>
          <p:sp>
            <p:nvSpPr>
              <p:cNvPr id="48" name="Freeform 71">
                <a:extLst>
                  <a:ext uri="{FF2B5EF4-FFF2-40B4-BE49-F238E27FC236}">
                    <a16:creationId xmlns:a16="http://schemas.microsoft.com/office/drawing/2014/main" id="{AA9F60BD-E9B5-4A05-B1BF-33193AC174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45" y="2008"/>
                <a:ext cx="314" cy="302"/>
              </a:xfrm>
              <a:custGeom>
                <a:avLst/>
                <a:gdLst>
                  <a:gd name="T0" fmla="*/ 144 w 150"/>
                  <a:gd name="T1" fmla="*/ 63 h 145"/>
                  <a:gd name="T2" fmla="*/ 81 w 150"/>
                  <a:gd name="T3" fmla="*/ 2 h 145"/>
                  <a:gd name="T4" fmla="*/ 70 w 150"/>
                  <a:gd name="T5" fmla="*/ 3 h 145"/>
                  <a:gd name="T6" fmla="*/ 64 w 150"/>
                  <a:gd name="T7" fmla="*/ 13 h 145"/>
                  <a:gd name="T8" fmla="*/ 64 w 150"/>
                  <a:gd name="T9" fmla="*/ 53 h 145"/>
                  <a:gd name="T10" fmla="*/ 20 w 150"/>
                  <a:gd name="T11" fmla="*/ 53 h 145"/>
                  <a:gd name="T12" fmla="*/ 0 w 150"/>
                  <a:gd name="T13" fmla="*/ 73 h 145"/>
                  <a:gd name="T14" fmla="*/ 20 w 150"/>
                  <a:gd name="T15" fmla="*/ 93 h 145"/>
                  <a:gd name="T16" fmla="*/ 64 w 150"/>
                  <a:gd name="T17" fmla="*/ 93 h 145"/>
                  <a:gd name="T18" fmla="*/ 64 w 150"/>
                  <a:gd name="T19" fmla="*/ 133 h 145"/>
                  <a:gd name="T20" fmla="*/ 70 w 150"/>
                  <a:gd name="T21" fmla="*/ 143 h 145"/>
                  <a:gd name="T22" fmla="*/ 76 w 150"/>
                  <a:gd name="T23" fmla="*/ 145 h 145"/>
                  <a:gd name="T24" fmla="*/ 81 w 150"/>
                  <a:gd name="T25" fmla="*/ 144 h 145"/>
                  <a:gd name="T26" fmla="*/ 144 w 150"/>
                  <a:gd name="T27" fmla="*/ 83 h 145"/>
                  <a:gd name="T28" fmla="*/ 150 w 150"/>
                  <a:gd name="T29" fmla="*/ 73 h 145"/>
                  <a:gd name="T30" fmla="*/ 144 w 150"/>
                  <a:gd name="T31" fmla="*/ 63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0" h="145">
                    <a:moveTo>
                      <a:pt x="144" y="63"/>
                    </a:moveTo>
                    <a:cubicBezTo>
                      <a:pt x="81" y="2"/>
                      <a:pt x="81" y="2"/>
                      <a:pt x="81" y="2"/>
                    </a:cubicBezTo>
                    <a:cubicBezTo>
                      <a:pt x="78" y="0"/>
                      <a:pt x="73" y="1"/>
                      <a:pt x="70" y="3"/>
                    </a:cubicBezTo>
                    <a:cubicBezTo>
                      <a:pt x="66" y="5"/>
                      <a:pt x="64" y="9"/>
                      <a:pt x="64" y="13"/>
                    </a:cubicBezTo>
                    <a:cubicBezTo>
                      <a:pt x="64" y="53"/>
                      <a:pt x="64" y="53"/>
                      <a:pt x="64" y="53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9" y="53"/>
                      <a:pt x="0" y="62"/>
                      <a:pt x="0" y="73"/>
                    </a:cubicBezTo>
                    <a:cubicBezTo>
                      <a:pt x="0" y="84"/>
                      <a:pt x="9" y="93"/>
                      <a:pt x="20" y="93"/>
                    </a:cubicBezTo>
                    <a:cubicBezTo>
                      <a:pt x="64" y="93"/>
                      <a:pt x="64" y="93"/>
                      <a:pt x="64" y="93"/>
                    </a:cubicBezTo>
                    <a:cubicBezTo>
                      <a:pt x="64" y="133"/>
                      <a:pt x="64" y="133"/>
                      <a:pt x="64" y="133"/>
                    </a:cubicBezTo>
                    <a:cubicBezTo>
                      <a:pt x="64" y="137"/>
                      <a:pt x="66" y="141"/>
                      <a:pt x="70" y="143"/>
                    </a:cubicBezTo>
                    <a:cubicBezTo>
                      <a:pt x="72" y="144"/>
                      <a:pt x="74" y="145"/>
                      <a:pt x="76" y="145"/>
                    </a:cubicBezTo>
                    <a:cubicBezTo>
                      <a:pt x="78" y="145"/>
                      <a:pt x="80" y="145"/>
                      <a:pt x="81" y="144"/>
                    </a:cubicBezTo>
                    <a:cubicBezTo>
                      <a:pt x="144" y="83"/>
                      <a:pt x="144" y="83"/>
                      <a:pt x="144" y="83"/>
                    </a:cubicBezTo>
                    <a:cubicBezTo>
                      <a:pt x="147" y="80"/>
                      <a:pt x="150" y="77"/>
                      <a:pt x="150" y="73"/>
                    </a:cubicBezTo>
                    <a:cubicBezTo>
                      <a:pt x="150" y="69"/>
                      <a:pt x="148" y="66"/>
                      <a:pt x="144" y="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9" name="Freeform 72">
                <a:extLst>
                  <a:ext uri="{FF2B5EF4-FFF2-40B4-BE49-F238E27FC236}">
                    <a16:creationId xmlns:a16="http://schemas.microsoft.com/office/drawing/2014/main" id="{71B5F998-4FF0-4399-85D8-66D5787C45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9" y="1782"/>
                <a:ext cx="111" cy="754"/>
              </a:xfrm>
              <a:custGeom>
                <a:avLst/>
                <a:gdLst>
                  <a:gd name="T0" fmla="*/ 21 w 53"/>
                  <a:gd name="T1" fmla="*/ 361 h 361"/>
                  <a:gd name="T2" fmla="*/ 20 w 53"/>
                  <a:gd name="T3" fmla="*/ 361 h 361"/>
                  <a:gd name="T4" fmla="*/ 1 w 53"/>
                  <a:gd name="T5" fmla="*/ 340 h 361"/>
                  <a:gd name="T6" fmla="*/ 6 w 53"/>
                  <a:gd name="T7" fmla="*/ 286 h 361"/>
                  <a:gd name="T8" fmla="*/ 13 w 53"/>
                  <a:gd name="T9" fmla="*/ 181 h 361"/>
                  <a:gd name="T10" fmla="*/ 6 w 53"/>
                  <a:gd name="T11" fmla="*/ 76 h 361"/>
                  <a:gd name="T12" fmla="*/ 1 w 53"/>
                  <a:gd name="T13" fmla="*/ 22 h 361"/>
                  <a:gd name="T14" fmla="*/ 20 w 53"/>
                  <a:gd name="T15" fmla="*/ 1 h 361"/>
                  <a:gd name="T16" fmla="*/ 41 w 53"/>
                  <a:gd name="T17" fmla="*/ 20 h 361"/>
                  <a:gd name="T18" fmla="*/ 46 w 53"/>
                  <a:gd name="T19" fmla="*/ 72 h 361"/>
                  <a:gd name="T20" fmla="*/ 53 w 53"/>
                  <a:gd name="T21" fmla="*/ 181 h 361"/>
                  <a:gd name="T22" fmla="*/ 46 w 53"/>
                  <a:gd name="T23" fmla="*/ 290 h 361"/>
                  <a:gd name="T24" fmla="*/ 41 w 53"/>
                  <a:gd name="T25" fmla="*/ 342 h 361"/>
                  <a:gd name="T26" fmla="*/ 21 w 53"/>
                  <a:gd name="T27" fmla="*/ 361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3" h="361">
                    <a:moveTo>
                      <a:pt x="21" y="361"/>
                    </a:moveTo>
                    <a:cubicBezTo>
                      <a:pt x="21" y="361"/>
                      <a:pt x="20" y="361"/>
                      <a:pt x="20" y="361"/>
                    </a:cubicBezTo>
                    <a:cubicBezTo>
                      <a:pt x="9" y="360"/>
                      <a:pt x="0" y="351"/>
                      <a:pt x="1" y="340"/>
                    </a:cubicBezTo>
                    <a:cubicBezTo>
                      <a:pt x="3" y="322"/>
                      <a:pt x="4" y="304"/>
                      <a:pt x="6" y="286"/>
                    </a:cubicBezTo>
                    <a:cubicBezTo>
                      <a:pt x="10" y="251"/>
                      <a:pt x="13" y="215"/>
                      <a:pt x="13" y="181"/>
                    </a:cubicBezTo>
                    <a:cubicBezTo>
                      <a:pt x="13" y="147"/>
                      <a:pt x="10" y="111"/>
                      <a:pt x="6" y="76"/>
                    </a:cubicBezTo>
                    <a:cubicBezTo>
                      <a:pt x="4" y="58"/>
                      <a:pt x="3" y="40"/>
                      <a:pt x="1" y="22"/>
                    </a:cubicBezTo>
                    <a:cubicBezTo>
                      <a:pt x="0" y="11"/>
                      <a:pt x="9" y="2"/>
                      <a:pt x="20" y="1"/>
                    </a:cubicBezTo>
                    <a:cubicBezTo>
                      <a:pt x="31" y="0"/>
                      <a:pt x="40" y="8"/>
                      <a:pt x="41" y="20"/>
                    </a:cubicBezTo>
                    <a:cubicBezTo>
                      <a:pt x="42" y="37"/>
                      <a:pt x="44" y="55"/>
                      <a:pt x="46" y="72"/>
                    </a:cubicBezTo>
                    <a:cubicBezTo>
                      <a:pt x="49" y="108"/>
                      <a:pt x="53" y="145"/>
                      <a:pt x="53" y="181"/>
                    </a:cubicBezTo>
                    <a:cubicBezTo>
                      <a:pt x="53" y="217"/>
                      <a:pt x="49" y="254"/>
                      <a:pt x="46" y="290"/>
                    </a:cubicBezTo>
                    <a:cubicBezTo>
                      <a:pt x="44" y="307"/>
                      <a:pt x="42" y="325"/>
                      <a:pt x="41" y="342"/>
                    </a:cubicBezTo>
                    <a:cubicBezTo>
                      <a:pt x="40" y="353"/>
                      <a:pt x="32" y="361"/>
                      <a:pt x="21" y="36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0" name="Freeform 73">
                <a:extLst>
                  <a:ext uri="{FF2B5EF4-FFF2-40B4-BE49-F238E27FC236}">
                    <a16:creationId xmlns:a16="http://schemas.microsoft.com/office/drawing/2014/main" id="{34773520-E0F4-4DBA-9373-566985F871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8" y="1780"/>
                <a:ext cx="163" cy="756"/>
              </a:xfrm>
              <a:custGeom>
                <a:avLst/>
                <a:gdLst>
                  <a:gd name="T0" fmla="*/ 22 w 78"/>
                  <a:gd name="T1" fmla="*/ 362 h 362"/>
                  <a:gd name="T2" fmla="*/ 17 w 78"/>
                  <a:gd name="T3" fmla="*/ 361 h 362"/>
                  <a:gd name="T4" fmla="*/ 3 w 78"/>
                  <a:gd name="T5" fmla="*/ 336 h 362"/>
                  <a:gd name="T6" fmla="*/ 11 w 78"/>
                  <a:gd name="T7" fmla="*/ 310 h 362"/>
                  <a:gd name="T8" fmla="*/ 38 w 78"/>
                  <a:gd name="T9" fmla="*/ 182 h 362"/>
                  <a:gd name="T10" fmla="*/ 11 w 78"/>
                  <a:gd name="T11" fmla="*/ 54 h 362"/>
                  <a:gd name="T12" fmla="*/ 3 w 78"/>
                  <a:gd name="T13" fmla="*/ 28 h 362"/>
                  <a:gd name="T14" fmla="*/ 17 w 78"/>
                  <a:gd name="T15" fmla="*/ 3 h 362"/>
                  <a:gd name="T16" fmla="*/ 42 w 78"/>
                  <a:gd name="T17" fmla="*/ 16 h 362"/>
                  <a:gd name="T18" fmla="*/ 49 w 78"/>
                  <a:gd name="T19" fmla="*/ 42 h 362"/>
                  <a:gd name="T20" fmla="*/ 78 w 78"/>
                  <a:gd name="T21" fmla="*/ 182 h 362"/>
                  <a:gd name="T22" fmla="*/ 49 w 78"/>
                  <a:gd name="T23" fmla="*/ 322 h 362"/>
                  <a:gd name="T24" fmla="*/ 42 w 78"/>
                  <a:gd name="T25" fmla="*/ 348 h 362"/>
                  <a:gd name="T26" fmla="*/ 22 w 78"/>
                  <a:gd name="T27" fmla="*/ 3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8" h="362">
                    <a:moveTo>
                      <a:pt x="22" y="362"/>
                    </a:moveTo>
                    <a:cubicBezTo>
                      <a:pt x="20" y="362"/>
                      <a:pt x="19" y="362"/>
                      <a:pt x="17" y="361"/>
                    </a:cubicBezTo>
                    <a:cubicBezTo>
                      <a:pt x="6" y="358"/>
                      <a:pt x="0" y="347"/>
                      <a:pt x="3" y="336"/>
                    </a:cubicBezTo>
                    <a:cubicBezTo>
                      <a:pt x="6" y="328"/>
                      <a:pt x="8" y="319"/>
                      <a:pt x="11" y="310"/>
                    </a:cubicBezTo>
                    <a:cubicBezTo>
                      <a:pt x="25" y="268"/>
                      <a:pt x="38" y="224"/>
                      <a:pt x="38" y="182"/>
                    </a:cubicBezTo>
                    <a:cubicBezTo>
                      <a:pt x="38" y="140"/>
                      <a:pt x="25" y="96"/>
                      <a:pt x="11" y="54"/>
                    </a:cubicBezTo>
                    <a:cubicBezTo>
                      <a:pt x="8" y="45"/>
                      <a:pt x="6" y="36"/>
                      <a:pt x="3" y="28"/>
                    </a:cubicBezTo>
                    <a:cubicBezTo>
                      <a:pt x="0" y="17"/>
                      <a:pt x="6" y="6"/>
                      <a:pt x="17" y="3"/>
                    </a:cubicBezTo>
                    <a:cubicBezTo>
                      <a:pt x="27" y="0"/>
                      <a:pt x="38" y="6"/>
                      <a:pt x="42" y="16"/>
                    </a:cubicBezTo>
                    <a:cubicBezTo>
                      <a:pt x="44" y="25"/>
                      <a:pt x="47" y="33"/>
                      <a:pt x="49" y="42"/>
                    </a:cubicBezTo>
                    <a:cubicBezTo>
                      <a:pt x="64" y="87"/>
                      <a:pt x="78" y="134"/>
                      <a:pt x="78" y="182"/>
                    </a:cubicBezTo>
                    <a:cubicBezTo>
                      <a:pt x="78" y="230"/>
                      <a:pt x="64" y="277"/>
                      <a:pt x="49" y="322"/>
                    </a:cubicBezTo>
                    <a:cubicBezTo>
                      <a:pt x="47" y="331"/>
                      <a:pt x="44" y="339"/>
                      <a:pt x="42" y="348"/>
                    </a:cubicBezTo>
                    <a:cubicBezTo>
                      <a:pt x="39" y="356"/>
                      <a:pt x="31" y="362"/>
                      <a:pt x="22" y="36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2" name="Freeform 74">
                <a:extLst>
                  <a:ext uri="{FF2B5EF4-FFF2-40B4-BE49-F238E27FC236}">
                    <a16:creationId xmlns:a16="http://schemas.microsoft.com/office/drawing/2014/main" id="{C4659886-75FC-4CF1-8AB2-D12418E6117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58" y="1778"/>
                <a:ext cx="216" cy="758"/>
              </a:xfrm>
              <a:custGeom>
                <a:avLst/>
                <a:gdLst>
                  <a:gd name="T0" fmla="*/ 23 w 103"/>
                  <a:gd name="T1" fmla="*/ 363 h 363"/>
                  <a:gd name="T2" fmla="*/ 13 w 103"/>
                  <a:gd name="T3" fmla="*/ 361 h 363"/>
                  <a:gd name="T4" fmla="*/ 5 w 103"/>
                  <a:gd name="T5" fmla="*/ 333 h 363"/>
                  <a:gd name="T6" fmla="*/ 15 w 103"/>
                  <a:gd name="T7" fmla="*/ 316 h 363"/>
                  <a:gd name="T8" fmla="*/ 63 w 103"/>
                  <a:gd name="T9" fmla="*/ 183 h 363"/>
                  <a:gd name="T10" fmla="*/ 14 w 103"/>
                  <a:gd name="T11" fmla="*/ 50 h 363"/>
                  <a:gd name="T12" fmla="*/ 5 w 103"/>
                  <a:gd name="T13" fmla="*/ 33 h 363"/>
                  <a:gd name="T14" fmla="*/ 13 w 103"/>
                  <a:gd name="T15" fmla="*/ 5 h 363"/>
                  <a:gd name="T16" fmla="*/ 40 w 103"/>
                  <a:gd name="T17" fmla="*/ 13 h 363"/>
                  <a:gd name="T18" fmla="*/ 49 w 103"/>
                  <a:gd name="T19" fmla="*/ 30 h 363"/>
                  <a:gd name="T20" fmla="*/ 103 w 103"/>
                  <a:gd name="T21" fmla="*/ 183 h 363"/>
                  <a:gd name="T22" fmla="*/ 49 w 103"/>
                  <a:gd name="T23" fmla="*/ 336 h 363"/>
                  <a:gd name="T24" fmla="*/ 40 w 103"/>
                  <a:gd name="T25" fmla="*/ 353 h 363"/>
                  <a:gd name="T26" fmla="*/ 23 w 103"/>
                  <a:gd name="T27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3" h="363">
                    <a:moveTo>
                      <a:pt x="23" y="363"/>
                    </a:moveTo>
                    <a:cubicBezTo>
                      <a:pt x="19" y="363"/>
                      <a:pt x="16" y="362"/>
                      <a:pt x="13" y="361"/>
                    </a:cubicBezTo>
                    <a:cubicBezTo>
                      <a:pt x="3" y="355"/>
                      <a:pt x="0" y="343"/>
                      <a:pt x="5" y="333"/>
                    </a:cubicBezTo>
                    <a:cubicBezTo>
                      <a:pt x="8" y="328"/>
                      <a:pt x="11" y="322"/>
                      <a:pt x="15" y="316"/>
                    </a:cubicBezTo>
                    <a:cubicBezTo>
                      <a:pt x="38" y="274"/>
                      <a:pt x="63" y="231"/>
                      <a:pt x="63" y="183"/>
                    </a:cubicBezTo>
                    <a:cubicBezTo>
                      <a:pt x="63" y="135"/>
                      <a:pt x="38" y="92"/>
                      <a:pt x="14" y="50"/>
                    </a:cubicBezTo>
                    <a:cubicBezTo>
                      <a:pt x="11" y="44"/>
                      <a:pt x="8" y="38"/>
                      <a:pt x="5" y="33"/>
                    </a:cubicBezTo>
                    <a:cubicBezTo>
                      <a:pt x="0" y="23"/>
                      <a:pt x="3" y="11"/>
                      <a:pt x="13" y="5"/>
                    </a:cubicBezTo>
                    <a:cubicBezTo>
                      <a:pt x="23" y="0"/>
                      <a:pt x="35" y="4"/>
                      <a:pt x="40" y="13"/>
                    </a:cubicBezTo>
                    <a:cubicBezTo>
                      <a:pt x="43" y="19"/>
                      <a:pt x="46" y="24"/>
                      <a:pt x="49" y="30"/>
                    </a:cubicBezTo>
                    <a:cubicBezTo>
                      <a:pt x="75" y="77"/>
                      <a:pt x="103" y="125"/>
                      <a:pt x="103" y="183"/>
                    </a:cubicBezTo>
                    <a:cubicBezTo>
                      <a:pt x="103" y="241"/>
                      <a:pt x="76" y="289"/>
                      <a:pt x="49" y="336"/>
                    </a:cubicBezTo>
                    <a:cubicBezTo>
                      <a:pt x="46" y="342"/>
                      <a:pt x="43" y="347"/>
                      <a:pt x="40" y="353"/>
                    </a:cubicBezTo>
                    <a:cubicBezTo>
                      <a:pt x="36" y="359"/>
                      <a:pt x="30" y="363"/>
                      <a:pt x="23" y="3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3" name="Freeform 75">
                <a:extLst>
                  <a:ext uri="{FF2B5EF4-FFF2-40B4-BE49-F238E27FC236}">
                    <a16:creationId xmlns:a16="http://schemas.microsoft.com/office/drawing/2014/main" id="{A3862C0A-63D8-4C22-9C7A-FE144DD36DF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5" y="1784"/>
                <a:ext cx="84" cy="752"/>
              </a:xfrm>
              <a:custGeom>
                <a:avLst/>
                <a:gdLst>
                  <a:gd name="T0" fmla="*/ 20 w 40"/>
                  <a:gd name="T1" fmla="*/ 360 h 360"/>
                  <a:gd name="T2" fmla="*/ 0 w 40"/>
                  <a:gd name="T3" fmla="*/ 340 h 360"/>
                  <a:gd name="T4" fmla="*/ 0 w 40"/>
                  <a:gd name="T5" fmla="*/ 20 h 360"/>
                  <a:gd name="T6" fmla="*/ 20 w 40"/>
                  <a:gd name="T7" fmla="*/ 0 h 360"/>
                  <a:gd name="T8" fmla="*/ 40 w 40"/>
                  <a:gd name="T9" fmla="*/ 20 h 360"/>
                  <a:gd name="T10" fmla="*/ 40 w 40"/>
                  <a:gd name="T11" fmla="*/ 340 h 360"/>
                  <a:gd name="T12" fmla="*/ 20 w 40"/>
                  <a:gd name="T13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360">
                    <a:moveTo>
                      <a:pt x="20" y="360"/>
                    </a:moveTo>
                    <a:cubicBezTo>
                      <a:pt x="9" y="360"/>
                      <a:pt x="0" y="351"/>
                      <a:pt x="0" y="34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40"/>
                      <a:pt x="40" y="340"/>
                      <a:pt x="40" y="340"/>
                    </a:cubicBezTo>
                    <a:cubicBezTo>
                      <a:pt x="40" y="351"/>
                      <a:pt x="31" y="360"/>
                      <a:pt x="20" y="36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405466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1ECDD16E-443E-4C5C-857B-267FEA1A6B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2037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0" name="Object 29" hidden="1">
                        <a:extLst>
                          <a:ext uri="{FF2B5EF4-FFF2-40B4-BE49-F238E27FC236}">
                            <a16:creationId xmlns:a16="http://schemas.microsoft.com/office/drawing/2014/main" id="{1ECDD16E-443E-4C5C-857B-267FEA1A6B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A0FB00-88F7-4DF2-90A3-3295B5058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cap="all" dirty="0">
                <a:solidFill>
                  <a:srgbClr val="092566"/>
                </a:solidFill>
                <a:latin typeface="Helvetica" pitchFamily="2" charset="0"/>
              </a:rPr>
              <a:t>Introduction</a:t>
            </a:r>
            <a:endParaRPr lang="en-GB" sz="3600" dirty="0"/>
          </a:p>
        </p:txBody>
      </p:sp>
      <p:sp>
        <p:nvSpPr>
          <p:cNvPr id="52" name="Content Placeholder 2">
            <a:extLst>
              <a:ext uri="{FF2B5EF4-FFF2-40B4-BE49-F238E27FC236}">
                <a16:creationId xmlns:a16="http://schemas.microsoft.com/office/drawing/2014/main" id="{FC2CEF32-B6CF-42A9-B38B-19A9709378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51432" y="3316206"/>
            <a:ext cx="2770802" cy="1573034"/>
          </a:xfr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b="1" dirty="0">
                <a:solidFill>
                  <a:schemeClr val="accent1"/>
                </a:solidFill>
              </a:rPr>
              <a:t>Rico Brandenburg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dirty="0">
                <a:solidFill>
                  <a:schemeClr val="accent1"/>
                </a:solidFill>
              </a:rPr>
              <a:t>Principal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dirty="0">
                <a:solidFill>
                  <a:schemeClr val="accent3">
                    <a:lumMod val="50000"/>
                  </a:schemeClr>
                </a:solidFill>
              </a:rPr>
              <a:t>Risk &amp; Public Policy and Digital Technology &amp; Analytic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GB" sz="1800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GB" sz="1800" dirty="0"/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63F75DC8-29A0-49AB-AEAB-7D1282135F5A}"/>
              </a:ext>
            </a:extLst>
          </p:cNvPr>
          <p:cNvSpPr txBox="1">
            <a:spLocks/>
          </p:cNvSpPr>
          <p:nvPr/>
        </p:nvSpPr>
        <p:spPr>
          <a:xfrm>
            <a:off x="5574897" y="3316206"/>
            <a:ext cx="2770802" cy="15730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b="1" dirty="0">
                <a:solidFill>
                  <a:schemeClr val="accent1"/>
                </a:solidFill>
              </a:rPr>
              <a:t>Jaime Vázquez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dirty="0">
                <a:solidFill>
                  <a:schemeClr val="accent1"/>
                </a:solidFill>
              </a:rPr>
              <a:t>Policy Advisor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GB" sz="1800" dirty="0">
                <a:solidFill>
                  <a:schemeClr val="accent3">
                    <a:lumMod val="50000"/>
                  </a:schemeClr>
                </a:solidFill>
              </a:rPr>
              <a:t>Regulatory Affairs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n-GB" sz="1800" dirty="0"/>
          </a:p>
        </p:txBody>
      </p:sp>
      <p:pic>
        <p:nvPicPr>
          <p:cNvPr id="55" name="DTP_CompanyLogo">
            <a:extLst>
              <a:ext uri="{FF2B5EF4-FFF2-40B4-BE49-F238E27FC236}">
                <a16:creationId xmlns:a16="http://schemas.microsoft.com/office/drawing/2014/main" id="{D16790C0-AB70-4975-98BC-2DA6B3E37E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17779" y="1170029"/>
            <a:ext cx="2347736" cy="19597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877535F-A100-4BD2-A38A-C372EBCD83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02501" y="882066"/>
            <a:ext cx="1501890" cy="770932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0B197526-2175-4352-8FFC-0690F9323D4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0700" r="10700" b="6240"/>
          <a:stretch/>
        </p:blipFill>
        <p:spPr>
          <a:xfrm>
            <a:off x="1846348" y="1745127"/>
            <a:ext cx="1319530" cy="1574013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8434A1D-AB9C-4EE7-9EB0-DCE695ADA3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40768" y="1748061"/>
            <a:ext cx="1319530" cy="1571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883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uadroTexto 6">
            <a:extLst>
              <a:ext uri="{FF2B5EF4-FFF2-40B4-BE49-F238E27FC236}">
                <a16:creationId xmlns:a16="http://schemas.microsoft.com/office/drawing/2014/main" id="{601326CF-6541-4C88-8AA3-91DB06F4DAA4}"/>
              </a:ext>
            </a:extLst>
          </p:cNvPr>
          <p:cNvSpPr txBox="1"/>
          <p:nvPr/>
        </p:nvSpPr>
        <p:spPr>
          <a:xfrm>
            <a:off x="619160" y="338006"/>
            <a:ext cx="79057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cap="all" dirty="0">
                <a:solidFill>
                  <a:srgbClr val="092566"/>
                </a:solidFill>
                <a:latin typeface="Helvetica" pitchFamily="2" charset="0"/>
              </a:rPr>
              <a:t>Key challenges</a:t>
            </a:r>
            <a:endParaRPr lang="es-ES_tradnl" sz="3600" b="1" cap="all" dirty="0">
              <a:solidFill>
                <a:srgbClr val="092566"/>
              </a:solidFill>
              <a:latin typeface="Helvetica" pitchFamily="2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C0A14C7-CB7D-490E-B3A7-A103CEA8441E}"/>
              </a:ext>
            </a:extLst>
          </p:cNvPr>
          <p:cNvSpPr txBox="1"/>
          <p:nvPr/>
        </p:nvSpPr>
        <p:spPr bwMode="gray">
          <a:xfrm>
            <a:off x="1755547" y="1861986"/>
            <a:ext cx="6741391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kern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reaking silos</a:t>
            </a:r>
          </a:p>
          <a:p>
            <a:r>
              <a:rPr lang="en-US" sz="1400" kern="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tegration of risk management frameworks as well as alignment of approaches and processes across business, risk and IT</a:t>
            </a:r>
            <a:endParaRPr lang="en-US" sz="1400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94E27A0-9382-4C5F-9415-FFE7CAF619B2}"/>
              </a:ext>
            </a:extLst>
          </p:cNvPr>
          <p:cNvSpPr txBox="1"/>
          <p:nvPr/>
        </p:nvSpPr>
        <p:spPr bwMode="gray">
          <a:xfrm>
            <a:off x="1755547" y="2640262"/>
            <a:ext cx="6760015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kern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hanging culture</a:t>
            </a:r>
          </a:p>
          <a:p>
            <a:r>
              <a:rPr lang="en-US" sz="1400" kern="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ulture shift from “managing cyber is an IT responsibility” to “managing cyber is everyone’s responsibility”</a:t>
            </a:r>
            <a:endParaRPr lang="en-US" sz="1400" b="1" kern="0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B39179D-0EB3-489F-8390-42AE9D2199DB}"/>
              </a:ext>
            </a:extLst>
          </p:cNvPr>
          <p:cNvSpPr txBox="1"/>
          <p:nvPr/>
        </p:nvSpPr>
        <p:spPr bwMode="gray">
          <a:xfrm>
            <a:off x="1755547" y="1191432"/>
            <a:ext cx="6741391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kern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cquiring expertise</a:t>
            </a:r>
          </a:p>
          <a:p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ique mix of cyber, IT, risk, and business expertise and experienc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A0CBD2E-986F-4AA8-9485-2966562139B3}"/>
              </a:ext>
            </a:extLst>
          </p:cNvPr>
          <p:cNvSpPr txBox="1"/>
          <p:nvPr/>
        </p:nvSpPr>
        <p:spPr bwMode="gray">
          <a:xfrm>
            <a:off x="1755547" y="3418537"/>
            <a:ext cx="6760015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kern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anaging complexity</a:t>
            </a:r>
          </a:p>
          <a:p>
            <a:r>
              <a:rPr lang="en-US" sz="1400" kern="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Building cyber into the very fabric of the organization requires fundamental changes to how the organization operate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ADC8962-A933-4DB6-89D5-F7D69FFFA413}"/>
              </a:ext>
            </a:extLst>
          </p:cNvPr>
          <p:cNvGrpSpPr/>
          <p:nvPr/>
        </p:nvGrpSpPr>
        <p:grpSpPr bwMode="gray">
          <a:xfrm>
            <a:off x="667012" y="2698726"/>
            <a:ext cx="633449" cy="505097"/>
            <a:chOff x="457200" y="2774361"/>
            <a:chExt cx="1150746" cy="917576"/>
          </a:xfrm>
        </p:grpSpPr>
        <p:sp>
          <p:nvSpPr>
            <p:cNvPr id="8" name="Freeform 154">
              <a:extLst>
                <a:ext uri="{FF2B5EF4-FFF2-40B4-BE49-F238E27FC236}">
                  <a16:creationId xmlns:a16="http://schemas.microsoft.com/office/drawing/2014/main" id="{F1FA610A-DDB3-4063-ACD5-24E47EC7918D}"/>
                </a:ext>
              </a:extLst>
            </p:cNvPr>
            <p:cNvSpPr>
              <a:spLocks/>
            </p:cNvSpPr>
            <p:nvPr/>
          </p:nvSpPr>
          <p:spPr bwMode="gray">
            <a:xfrm>
              <a:off x="514341" y="3136312"/>
              <a:ext cx="219039" cy="555625"/>
            </a:xfrm>
            <a:custGeom>
              <a:avLst/>
              <a:gdLst>
                <a:gd name="T0" fmla="*/ 219 w 229"/>
                <a:gd name="T1" fmla="*/ 153 h 578"/>
                <a:gd name="T2" fmla="*/ 218 w 229"/>
                <a:gd name="T3" fmla="*/ 122 h 578"/>
                <a:gd name="T4" fmla="*/ 173 w 229"/>
                <a:gd name="T5" fmla="*/ 82 h 578"/>
                <a:gd name="T6" fmla="*/ 169 w 229"/>
                <a:gd name="T7" fmla="*/ 52 h 578"/>
                <a:gd name="T8" fmla="*/ 116 w 229"/>
                <a:gd name="T9" fmla="*/ 13 h 578"/>
                <a:gd name="T10" fmla="*/ 90 w 229"/>
                <a:gd name="T11" fmla="*/ 81 h 578"/>
                <a:gd name="T12" fmla="*/ 83 w 229"/>
                <a:gd name="T13" fmla="*/ 90 h 578"/>
                <a:gd name="T14" fmla="*/ 53 w 229"/>
                <a:gd name="T15" fmla="*/ 95 h 578"/>
                <a:gd name="T16" fmla="*/ 35 w 229"/>
                <a:gd name="T17" fmla="*/ 78 h 578"/>
                <a:gd name="T18" fmla="*/ 39 w 229"/>
                <a:gd name="T19" fmla="*/ 50 h 578"/>
                <a:gd name="T20" fmla="*/ 38 w 229"/>
                <a:gd name="T21" fmla="*/ 43 h 578"/>
                <a:gd name="T22" fmla="*/ 49 w 229"/>
                <a:gd name="T23" fmla="*/ 24 h 578"/>
                <a:gd name="T24" fmla="*/ 53 w 229"/>
                <a:gd name="T25" fmla="*/ 5 h 578"/>
                <a:gd name="T26" fmla="*/ 41 w 229"/>
                <a:gd name="T27" fmla="*/ 1 h 578"/>
                <a:gd name="T28" fmla="*/ 27 w 229"/>
                <a:gd name="T29" fmla="*/ 20 h 578"/>
                <a:gd name="T30" fmla="*/ 14 w 229"/>
                <a:gd name="T31" fmla="*/ 38 h 578"/>
                <a:gd name="T32" fmla="*/ 1 w 229"/>
                <a:gd name="T33" fmla="*/ 106 h 578"/>
                <a:gd name="T34" fmla="*/ 63 w 229"/>
                <a:gd name="T35" fmla="*/ 129 h 578"/>
                <a:gd name="T36" fmla="*/ 79 w 229"/>
                <a:gd name="T37" fmla="*/ 135 h 578"/>
                <a:gd name="T38" fmla="*/ 74 w 229"/>
                <a:gd name="T39" fmla="*/ 152 h 578"/>
                <a:gd name="T40" fmla="*/ 74 w 229"/>
                <a:gd name="T41" fmla="*/ 160 h 578"/>
                <a:gd name="T42" fmla="*/ 75 w 229"/>
                <a:gd name="T43" fmla="*/ 169 h 578"/>
                <a:gd name="T44" fmla="*/ 64 w 229"/>
                <a:gd name="T45" fmla="*/ 207 h 578"/>
                <a:gd name="T46" fmla="*/ 69 w 229"/>
                <a:gd name="T47" fmla="*/ 280 h 578"/>
                <a:gd name="T48" fmla="*/ 69 w 229"/>
                <a:gd name="T49" fmla="*/ 322 h 578"/>
                <a:gd name="T50" fmla="*/ 78 w 229"/>
                <a:gd name="T51" fmla="*/ 391 h 578"/>
                <a:gd name="T52" fmla="*/ 78 w 229"/>
                <a:gd name="T53" fmla="*/ 418 h 578"/>
                <a:gd name="T54" fmla="*/ 78 w 229"/>
                <a:gd name="T55" fmla="*/ 430 h 578"/>
                <a:gd name="T56" fmla="*/ 77 w 229"/>
                <a:gd name="T57" fmla="*/ 433 h 578"/>
                <a:gd name="T58" fmla="*/ 90 w 229"/>
                <a:gd name="T59" fmla="*/ 514 h 578"/>
                <a:gd name="T60" fmla="*/ 98 w 229"/>
                <a:gd name="T61" fmla="*/ 537 h 578"/>
                <a:gd name="T62" fmla="*/ 125 w 229"/>
                <a:gd name="T63" fmla="*/ 572 h 578"/>
                <a:gd name="T64" fmla="*/ 121 w 229"/>
                <a:gd name="T65" fmla="*/ 532 h 578"/>
                <a:gd name="T66" fmla="*/ 117 w 229"/>
                <a:gd name="T67" fmla="*/ 514 h 578"/>
                <a:gd name="T68" fmla="*/ 119 w 229"/>
                <a:gd name="T69" fmla="*/ 488 h 578"/>
                <a:gd name="T70" fmla="*/ 117 w 229"/>
                <a:gd name="T71" fmla="*/ 433 h 578"/>
                <a:gd name="T72" fmla="*/ 118 w 229"/>
                <a:gd name="T73" fmla="*/ 412 h 578"/>
                <a:gd name="T74" fmla="*/ 123 w 229"/>
                <a:gd name="T75" fmla="*/ 357 h 578"/>
                <a:gd name="T76" fmla="*/ 132 w 229"/>
                <a:gd name="T77" fmla="*/ 338 h 578"/>
                <a:gd name="T78" fmla="*/ 143 w 229"/>
                <a:gd name="T79" fmla="*/ 410 h 578"/>
                <a:gd name="T80" fmla="*/ 145 w 229"/>
                <a:gd name="T81" fmla="*/ 433 h 578"/>
                <a:gd name="T82" fmla="*/ 145 w 229"/>
                <a:gd name="T83" fmla="*/ 511 h 578"/>
                <a:gd name="T84" fmla="*/ 146 w 229"/>
                <a:gd name="T85" fmla="*/ 537 h 578"/>
                <a:gd name="T86" fmla="*/ 173 w 229"/>
                <a:gd name="T87" fmla="*/ 558 h 578"/>
                <a:gd name="T88" fmla="*/ 171 w 229"/>
                <a:gd name="T89" fmla="*/ 532 h 578"/>
                <a:gd name="T90" fmla="*/ 168 w 229"/>
                <a:gd name="T91" fmla="*/ 516 h 578"/>
                <a:gd name="T92" fmla="*/ 182 w 229"/>
                <a:gd name="T93" fmla="*/ 450 h 578"/>
                <a:gd name="T94" fmla="*/ 182 w 229"/>
                <a:gd name="T95" fmla="*/ 427 h 578"/>
                <a:gd name="T96" fmla="*/ 183 w 229"/>
                <a:gd name="T97" fmla="*/ 407 h 578"/>
                <a:gd name="T98" fmla="*/ 192 w 229"/>
                <a:gd name="T99" fmla="*/ 303 h 578"/>
                <a:gd name="T100" fmla="*/ 197 w 229"/>
                <a:gd name="T101" fmla="*/ 236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9" h="578">
                  <a:moveTo>
                    <a:pt x="215" y="197"/>
                  </a:moveTo>
                  <a:cubicBezTo>
                    <a:pt x="215" y="194"/>
                    <a:pt x="216" y="190"/>
                    <a:pt x="216" y="187"/>
                  </a:cubicBezTo>
                  <a:cubicBezTo>
                    <a:pt x="215" y="184"/>
                    <a:pt x="217" y="179"/>
                    <a:pt x="218" y="173"/>
                  </a:cubicBezTo>
                  <a:cubicBezTo>
                    <a:pt x="220" y="167"/>
                    <a:pt x="218" y="162"/>
                    <a:pt x="219" y="153"/>
                  </a:cubicBezTo>
                  <a:cubicBezTo>
                    <a:pt x="220" y="148"/>
                    <a:pt x="219" y="146"/>
                    <a:pt x="219" y="146"/>
                  </a:cubicBezTo>
                  <a:cubicBezTo>
                    <a:pt x="219" y="146"/>
                    <a:pt x="218" y="145"/>
                    <a:pt x="218" y="145"/>
                  </a:cubicBezTo>
                  <a:cubicBezTo>
                    <a:pt x="218" y="145"/>
                    <a:pt x="218" y="145"/>
                    <a:pt x="218" y="145"/>
                  </a:cubicBezTo>
                  <a:cubicBezTo>
                    <a:pt x="217" y="143"/>
                    <a:pt x="218" y="131"/>
                    <a:pt x="218" y="122"/>
                  </a:cubicBezTo>
                  <a:cubicBezTo>
                    <a:pt x="218" y="113"/>
                    <a:pt x="217" y="103"/>
                    <a:pt x="214" y="100"/>
                  </a:cubicBezTo>
                  <a:cubicBezTo>
                    <a:pt x="211" y="98"/>
                    <a:pt x="209" y="97"/>
                    <a:pt x="204" y="95"/>
                  </a:cubicBezTo>
                  <a:cubicBezTo>
                    <a:pt x="199" y="93"/>
                    <a:pt x="183" y="91"/>
                    <a:pt x="180" y="89"/>
                  </a:cubicBezTo>
                  <a:cubicBezTo>
                    <a:pt x="177" y="87"/>
                    <a:pt x="173" y="82"/>
                    <a:pt x="173" y="82"/>
                  </a:cubicBezTo>
                  <a:cubicBezTo>
                    <a:pt x="172" y="82"/>
                    <a:pt x="172" y="81"/>
                    <a:pt x="171" y="81"/>
                  </a:cubicBezTo>
                  <a:cubicBezTo>
                    <a:pt x="172" y="81"/>
                    <a:pt x="172" y="81"/>
                    <a:pt x="172" y="81"/>
                  </a:cubicBezTo>
                  <a:cubicBezTo>
                    <a:pt x="175" y="78"/>
                    <a:pt x="175" y="68"/>
                    <a:pt x="174" y="65"/>
                  </a:cubicBezTo>
                  <a:cubicBezTo>
                    <a:pt x="173" y="61"/>
                    <a:pt x="171" y="56"/>
                    <a:pt x="169" y="52"/>
                  </a:cubicBezTo>
                  <a:cubicBezTo>
                    <a:pt x="167" y="48"/>
                    <a:pt x="164" y="34"/>
                    <a:pt x="157" y="24"/>
                  </a:cubicBezTo>
                  <a:cubicBezTo>
                    <a:pt x="150" y="14"/>
                    <a:pt x="134" y="8"/>
                    <a:pt x="129" y="8"/>
                  </a:cubicBezTo>
                  <a:cubicBezTo>
                    <a:pt x="124" y="9"/>
                    <a:pt x="122" y="11"/>
                    <a:pt x="121" y="11"/>
                  </a:cubicBezTo>
                  <a:cubicBezTo>
                    <a:pt x="119" y="11"/>
                    <a:pt x="116" y="13"/>
                    <a:pt x="116" y="13"/>
                  </a:cubicBezTo>
                  <a:cubicBezTo>
                    <a:pt x="97" y="24"/>
                    <a:pt x="98" y="52"/>
                    <a:pt x="99" y="60"/>
                  </a:cubicBezTo>
                  <a:cubicBezTo>
                    <a:pt x="99" y="68"/>
                    <a:pt x="99" y="71"/>
                    <a:pt x="95" y="77"/>
                  </a:cubicBezTo>
                  <a:cubicBezTo>
                    <a:pt x="94" y="79"/>
                    <a:pt x="93" y="79"/>
                    <a:pt x="92" y="80"/>
                  </a:cubicBezTo>
                  <a:cubicBezTo>
                    <a:pt x="92" y="80"/>
                    <a:pt x="91" y="81"/>
                    <a:pt x="90" y="81"/>
                  </a:cubicBezTo>
                  <a:cubicBezTo>
                    <a:pt x="87" y="83"/>
                    <a:pt x="83" y="82"/>
                    <a:pt x="83" y="82"/>
                  </a:cubicBezTo>
                  <a:cubicBezTo>
                    <a:pt x="84" y="83"/>
                    <a:pt x="87" y="83"/>
                    <a:pt x="89" y="83"/>
                  </a:cubicBezTo>
                  <a:cubicBezTo>
                    <a:pt x="88" y="85"/>
                    <a:pt x="87" y="87"/>
                    <a:pt x="85" y="88"/>
                  </a:cubicBezTo>
                  <a:cubicBezTo>
                    <a:pt x="85" y="89"/>
                    <a:pt x="84" y="90"/>
                    <a:pt x="83" y="90"/>
                  </a:cubicBezTo>
                  <a:cubicBezTo>
                    <a:pt x="81" y="91"/>
                    <a:pt x="81" y="93"/>
                    <a:pt x="80" y="95"/>
                  </a:cubicBezTo>
                  <a:cubicBezTo>
                    <a:pt x="79" y="95"/>
                    <a:pt x="78" y="94"/>
                    <a:pt x="76" y="94"/>
                  </a:cubicBezTo>
                  <a:cubicBezTo>
                    <a:pt x="72" y="94"/>
                    <a:pt x="68" y="95"/>
                    <a:pt x="65" y="95"/>
                  </a:cubicBezTo>
                  <a:cubicBezTo>
                    <a:pt x="62" y="95"/>
                    <a:pt x="57" y="94"/>
                    <a:pt x="53" y="95"/>
                  </a:cubicBezTo>
                  <a:cubicBezTo>
                    <a:pt x="50" y="96"/>
                    <a:pt x="46" y="96"/>
                    <a:pt x="43" y="95"/>
                  </a:cubicBezTo>
                  <a:cubicBezTo>
                    <a:pt x="40" y="95"/>
                    <a:pt x="39" y="92"/>
                    <a:pt x="36" y="93"/>
                  </a:cubicBezTo>
                  <a:cubicBezTo>
                    <a:pt x="33" y="93"/>
                    <a:pt x="34" y="89"/>
                    <a:pt x="33" y="88"/>
                  </a:cubicBezTo>
                  <a:cubicBezTo>
                    <a:pt x="32" y="86"/>
                    <a:pt x="35" y="79"/>
                    <a:pt x="35" y="78"/>
                  </a:cubicBezTo>
                  <a:cubicBezTo>
                    <a:pt x="35" y="77"/>
                    <a:pt x="34" y="74"/>
                    <a:pt x="34" y="74"/>
                  </a:cubicBezTo>
                  <a:cubicBezTo>
                    <a:pt x="34" y="74"/>
                    <a:pt x="35" y="65"/>
                    <a:pt x="36" y="63"/>
                  </a:cubicBezTo>
                  <a:cubicBezTo>
                    <a:pt x="37" y="61"/>
                    <a:pt x="37" y="58"/>
                    <a:pt x="37" y="56"/>
                  </a:cubicBezTo>
                  <a:cubicBezTo>
                    <a:pt x="37" y="55"/>
                    <a:pt x="39" y="50"/>
                    <a:pt x="39" y="50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9" y="44"/>
                    <a:pt x="39" y="44"/>
                    <a:pt x="39" y="44"/>
                  </a:cubicBezTo>
                  <a:cubicBezTo>
                    <a:pt x="39" y="44"/>
                    <a:pt x="39" y="43"/>
                    <a:pt x="38" y="43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38" y="43"/>
                    <a:pt x="38" y="43"/>
                    <a:pt x="38" y="42"/>
                  </a:cubicBezTo>
                  <a:cubicBezTo>
                    <a:pt x="38" y="41"/>
                    <a:pt x="40" y="36"/>
                    <a:pt x="42" y="34"/>
                  </a:cubicBezTo>
                  <a:cubicBezTo>
                    <a:pt x="43" y="31"/>
                    <a:pt x="44" y="29"/>
                    <a:pt x="45" y="28"/>
                  </a:cubicBezTo>
                  <a:cubicBezTo>
                    <a:pt x="46" y="27"/>
                    <a:pt x="48" y="27"/>
                    <a:pt x="49" y="24"/>
                  </a:cubicBezTo>
                  <a:cubicBezTo>
                    <a:pt x="50" y="22"/>
                    <a:pt x="50" y="19"/>
                    <a:pt x="51" y="18"/>
                  </a:cubicBezTo>
                  <a:cubicBezTo>
                    <a:pt x="51" y="16"/>
                    <a:pt x="51" y="16"/>
                    <a:pt x="51" y="14"/>
                  </a:cubicBezTo>
                  <a:cubicBezTo>
                    <a:pt x="52" y="12"/>
                    <a:pt x="52" y="11"/>
                    <a:pt x="53" y="9"/>
                  </a:cubicBezTo>
                  <a:cubicBezTo>
                    <a:pt x="53" y="8"/>
                    <a:pt x="53" y="7"/>
                    <a:pt x="53" y="5"/>
                  </a:cubicBezTo>
                  <a:cubicBezTo>
                    <a:pt x="54" y="4"/>
                    <a:pt x="55" y="1"/>
                    <a:pt x="52" y="1"/>
                  </a:cubicBezTo>
                  <a:cubicBezTo>
                    <a:pt x="50" y="0"/>
                    <a:pt x="48" y="3"/>
                    <a:pt x="48" y="3"/>
                  </a:cubicBezTo>
                  <a:cubicBezTo>
                    <a:pt x="48" y="3"/>
                    <a:pt x="47" y="1"/>
                    <a:pt x="45" y="0"/>
                  </a:cubicBezTo>
                  <a:cubicBezTo>
                    <a:pt x="44" y="0"/>
                    <a:pt x="43" y="1"/>
                    <a:pt x="41" y="1"/>
                  </a:cubicBezTo>
                  <a:cubicBezTo>
                    <a:pt x="40" y="1"/>
                    <a:pt x="37" y="3"/>
                    <a:pt x="35" y="3"/>
                  </a:cubicBezTo>
                  <a:cubicBezTo>
                    <a:pt x="34" y="4"/>
                    <a:pt x="30" y="4"/>
                    <a:pt x="29" y="5"/>
                  </a:cubicBezTo>
                  <a:cubicBezTo>
                    <a:pt x="28" y="5"/>
                    <a:pt x="26" y="6"/>
                    <a:pt x="26" y="7"/>
                  </a:cubicBezTo>
                  <a:cubicBezTo>
                    <a:pt x="25" y="7"/>
                    <a:pt x="26" y="17"/>
                    <a:pt x="27" y="20"/>
                  </a:cubicBezTo>
                  <a:cubicBezTo>
                    <a:pt x="28" y="23"/>
                    <a:pt x="28" y="27"/>
                    <a:pt x="28" y="27"/>
                  </a:cubicBezTo>
                  <a:cubicBezTo>
                    <a:pt x="28" y="28"/>
                    <a:pt x="26" y="32"/>
                    <a:pt x="25" y="33"/>
                  </a:cubicBezTo>
                  <a:cubicBezTo>
                    <a:pt x="24" y="35"/>
                    <a:pt x="24" y="40"/>
                    <a:pt x="24" y="40"/>
                  </a:cubicBezTo>
                  <a:cubicBezTo>
                    <a:pt x="18" y="39"/>
                    <a:pt x="14" y="38"/>
                    <a:pt x="14" y="38"/>
                  </a:cubicBezTo>
                  <a:cubicBezTo>
                    <a:pt x="13" y="38"/>
                    <a:pt x="12" y="44"/>
                    <a:pt x="12" y="47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60"/>
                    <a:pt x="4" y="75"/>
                  </a:cubicBezTo>
                  <a:cubicBezTo>
                    <a:pt x="2" y="91"/>
                    <a:pt x="0" y="105"/>
                    <a:pt x="1" y="106"/>
                  </a:cubicBezTo>
                  <a:cubicBezTo>
                    <a:pt x="2" y="108"/>
                    <a:pt x="5" y="113"/>
                    <a:pt x="6" y="114"/>
                  </a:cubicBezTo>
                  <a:cubicBezTo>
                    <a:pt x="8" y="115"/>
                    <a:pt x="16" y="117"/>
                    <a:pt x="22" y="120"/>
                  </a:cubicBezTo>
                  <a:cubicBezTo>
                    <a:pt x="27" y="122"/>
                    <a:pt x="34" y="124"/>
                    <a:pt x="35" y="125"/>
                  </a:cubicBezTo>
                  <a:cubicBezTo>
                    <a:pt x="37" y="126"/>
                    <a:pt x="61" y="128"/>
                    <a:pt x="63" y="129"/>
                  </a:cubicBezTo>
                  <a:cubicBezTo>
                    <a:pt x="65" y="130"/>
                    <a:pt x="66" y="130"/>
                    <a:pt x="68" y="130"/>
                  </a:cubicBezTo>
                  <a:cubicBezTo>
                    <a:pt x="71" y="130"/>
                    <a:pt x="72" y="129"/>
                    <a:pt x="74" y="130"/>
                  </a:cubicBezTo>
                  <a:cubicBezTo>
                    <a:pt x="74" y="130"/>
                    <a:pt x="76" y="130"/>
                    <a:pt x="78" y="131"/>
                  </a:cubicBezTo>
                  <a:cubicBezTo>
                    <a:pt x="78" y="133"/>
                    <a:pt x="79" y="134"/>
                    <a:pt x="79" y="135"/>
                  </a:cubicBezTo>
                  <a:cubicBezTo>
                    <a:pt x="79" y="137"/>
                    <a:pt x="81" y="143"/>
                    <a:pt x="81" y="143"/>
                  </a:cubicBezTo>
                  <a:cubicBezTo>
                    <a:pt x="81" y="143"/>
                    <a:pt x="81" y="143"/>
                    <a:pt x="81" y="143"/>
                  </a:cubicBezTo>
                  <a:cubicBezTo>
                    <a:pt x="81" y="144"/>
                    <a:pt x="81" y="144"/>
                    <a:pt x="81" y="144"/>
                  </a:cubicBezTo>
                  <a:cubicBezTo>
                    <a:pt x="79" y="148"/>
                    <a:pt x="74" y="152"/>
                    <a:pt x="74" y="152"/>
                  </a:cubicBezTo>
                  <a:cubicBezTo>
                    <a:pt x="76" y="152"/>
                    <a:pt x="78" y="150"/>
                    <a:pt x="79" y="149"/>
                  </a:cubicBezTo>
                  <a:cubicBezTo>
                    <a:pt x="79" y="150"/>
                    <a:pt x="78" y="151"/>
                    <a:pt x="78" y="152"/>
                  </a:cubicBezTo>
                  <a:cubicBezTo>
                    <a:pt x="78" y="153"/>
                    <a:pt x="78" y="154"/>
                    <a:pt x="78" y="155"/>
                  </a:cubicBezTo>
                  <a:cubicBezTo>
                    <a:pt x="76" y="158"/>
                    <a:pt x="74" y="160"/>
                    <a:pt x="74" y="160"/>
                  </a:cubicBezTo>
                  <a:cubicBezTo>
                    <a:pt x="74" y="160"/>
                    <a:pt x="68" y="161"/>
                    <a:pt x="74" y="160"/>
                  </a:cubicBezTo>
                  <a:cubicBezTo>
                    <a:pt x="75" y="160"/>
                    <a:pt x="76" y="159"/>
                    <a:pt x="78" y="159"/>
                  </a:cubicBezTo>
                  <a:cubicBezTo>
                    <a:pt x="77" y="162"/>
                    <a:pt x="76" y="165"/>
                    <a:pt x="76" y="168"/>
                  </a:cubicBezTo>
                  <a:cubicBezTo>
                    <a:pt x="75" y="169"/>
                    <a:pt x="75" y="169"/>
                    <a:pt x="75" y="169"/>
                  </a:cubicBezTo>
                  <a:cubicBezTo>
                    <a:pt x="75" y="169"/>
                    <a:pt x="75" y="169"/>
                    <a:pt x="76" y="169"/>
                  </a:cubicBezTo>
                  <a:cubicBezTo>
                    <a:pt x="75" y="172"/>
                    <a:pt x="75" y="174"/>
                    <a:pt x="74" y="175"/>
                  </a:cubicBezTo>
                  <a:cubicBezTo>
                    <a:pt x="73" y="178"/>
                    <a:pt x="70" y="188"/>
                    <a:pt x="69" y="190"/>
                  </a:cubicBezTo>
                  <a:cubicBezTo>
                    <a:pt x="69" y="190"/>
                    <a:pt x="64" y="204"/>
                    <a:pt x="64" y="207"/>
                  </a:cubicBezTo>
                  <a:cubicBezTo>
                    <a:pt x="63" y="209"/>
                    <a:pt x="61" y="214"/>
                    <a:pt x="60" y="217"/>
                  </a:cubicBezTo>
                  <a:cubicBezTo>
                    <a:pt x="59" y="219"/>
                    <a:pt x="49" y="248"/>
                    <a:pt x="46" y="255"/>
                  </a:cubicBezTo>
                  <a:cubicBezTo>
                    <a:pt x="43" y="262"/>
                    <a:pt x="44" y="264"/>
                    <a:pt x="44" y="264"/>
                  </a:cubicBezTo>
                  <a:cubicBezTo>
                    <a:pt x="49" y="270"/>
                    <a:pt x="69" y="280"/>
                    <a:pt x="69" y="280"/>
                  </a:cubicBezTo>
                  <a:cubicBezTo>
                    <a:pt x="69" y="280"/>
                    <a:pt x="68" y="290"/>
                    <a:pt x="68" y="291"/>
                  </a:cubicBezTo>
                  <a:cubicBezTo>
                    <a:pt x="68" y="292"/>
                    <a:pt x="64" y="303"/>
                    <a:pt x="64" y="306"/>
                  </a:cubicBezTo>
                  <a:cubicBezTo>
                    <a:pt x="64" y="309"/>
                    <a:pt x="68" y="312"/>
                    <a:pt x="69" y="313"/>
                  </a:cubicBezTo>
                  <a:cubicBezTo>
                    <a:pt x="70" y="315"/>
                    <a:pt x="70" y="320"/>
                    <a:pt x="69" y="322"/>
                  </a:cubicBezTo>
                  <a:cubicBezTo>
                    <a:pt x="69" y="325"/>
                    <a:pt x="72" y="331"/>
                    <a:pt x="72" y="333"/>
                  </a:cubicBezTo>
                  <a:cubicBezTo>
                    <a:pt x="72" y="335"/>
                    <a:pt x="73" y="341"/>
                    <a:pt x="73" y="343"/>
                  </a:cubicBezTo>
                  <a:cubicBezTo>
                    <a:pt x="74" y="345"/>
                    <a:pt x="74" y="375"/>
                    <a:pt x="74" y="379"/>
                  </a:cubicBezTo>
                  <a:cubicBezTo>
                    <a:pt x="74" y="383"/>
                    <a:pt x="77" y="388"/>
                    <a:pt x="78" y="391"/>
                  </a:cubicBezTo>
                  <a:cubicBezTo>
                    <a:pt x="78" y="395"/>
                    <a:pt x="78" y="404"/>
                    <a:pt x="78" y="405"/>
                  </a:cubicBezTo>
                  <a:cubicBezTo>
                    <a:pt x="78" y="407"/>
                    <a:pt x="79" y="408"/>
                    <a:pt x="79" y="409"/>
                  </a:cubicBezTo>
                  <a:cubicBezTo>
                    <a:pt x="79" y="410"/>
                    <a:pt x="79" y="413"/>
                    <a:pt x="79" y="414"/>
                  </a:cubicBezTo>
                  <a:cubicBezTo>
                    <a:pt x="78" y="415"/>
                    <a:pt x="78" y="417"/>
                    <a:pt x="78" y="418"/>
                  </a:cubicBezTo>
                  <a:cubicBezTo>
                    <a:pt x="78" y="418"/>
                    <a:pt x="78" y="419"/>
                    <a:pt x="78" y="420"/>
                  </a:cubicBezTo>
                  <a:cubicBezTo>
                    <a:pt x="78" y="421"/>
                    <a:pt x="78" y="424"/>
                    <a:pt x="79" y="425"/>
                  </a:cubicBezTo>
                  <a:cubicBezTo>
                    <a:pt x="79" y="425"/>
                    <a:pt x="79" y="426"/>
                    <a:pt x="78" y="426"/>
                  </a:cubicBezTo>
                  <a:cubicBezTo>
                    <a:pt x="78" y="427"/>
                    <a:pt x="78" y="429"/>
                    <a:pt x="78" y="430"/>
                  </a:cubicBezTo>
                  <a:cubicBezTo>
                    <a:pt x="78" y="430"/>
                    <a:pt x="78" y="431"/>
                    <a:pt x="77" y="432"/>
                  </a:cubicBezTo>
                  <a:cubicBezTo>
                    <a:pt x="77" y="432"/>
                    <a:pt x="77" y="432"/>
                    <a:pt x="77" y="432"/>
                  </a:cubicBezTo>
                  <a:cubicBezTo>
                    <a:pt x="77" y="432"/>
                    <a:pt x="77" y="432"/>
                    <a:pt x="77" y="432"/>
                  </a:cubicBezTo>
                  <a:cubicBezTo>
                    <a:pt x="77" y="433"/>
                    <a:pt x="77" y="433"/>
                    <a:pt x="77" y="433"/>
                  </a:cubicBezTo>
                  <a:cubicBezTo>
                    <a:pt x="77" y="433"/>
                    <a:pt x="78" y="433"/>
                    <a:pt x="79" y="448"/>
                  </a:cubicBezTo>
                  <a:cubicBezTo>
                    <a:pt x="79" y="462"/>
                    <a:pt x="81" y="466"/>
                    <a:pt x="84" y="475"/>
                  </a:cubicBezTo>
                  <a:cubicBezTo>
                    <a:pt x="86" y="483"/>
                    <a:pt x="89" y="498"/>
                    <a:pt x="90" y="501"/>
                  </a:cubicBezTo>
                  <a:cubicBezTo>
                    <a:pt x="91" y="505"/>
                    <a:pt x="90" y="512"/>
                    <a:pt x="90" y="514"/>
                  </a:cubicBezTo>
                  <a:cubicBezTo>
                    <a:pt x="91" y="516"/>
                    <a:pt x="97" y="518"/>
                    <a:pt x="97" y="518"/>
                  </a:cubicBezTo>
                  <a:cubicBezTo>
                    <a:pt x="96" y="518"/>
                    <a:pt x="97" y="522"/>
                    <a:pt x="97" y="527"/>
                  </a:cubicBezTo>
                  <a:cubicBezTo>
                    <a:pt x="97" y="531"/>
                    <a:pt x="99" y="536"/>
                    <a:pt x="99" y="536"/>
                  </a:cubicBezTo>
                  <a:cubicBezTo>
                    <a:pt x="99" y="536"/>
                    <a:pt x="99" y="537"/>
                    <a:pt x="98" y="537"/>
                  </a:cubicBezTo>
                  <a:cubicBezTo>
                    <a:pt x="97" y="543"/>
                    <a:pt x="98" y="550"/>
                    <a:pt x="98" y="550"/>
                  </a:cubicBezTo>
                  <a:cubicBezTo>
                    <a:pt x="98" y="563"/>
                    <a:pt x="95" y="563"/>
                    <a:pt x="96" y="568"/>
                  </a:cubicBezTo>
                  <a:cubicBezTo>
                    <a:pt x="97" y="578"/>
                    <a:pt x="104" y="578"/>
                    <a:pt x="111" y="577"/>
                  </a:cubicBezTo>
                  <a:cubicBezTo>
                    <a:pt x="118" y="576"/>
                    <a:pt x="123" y="575"/>
                    <a:pt x="125" y="572"/>
                  </a:cubicBezTo>
                  <a:cubicBezTo>
                    <a:pt x="127" y="569"/>
                    <a:pt x="126" y="563"/>
                    <a:pt x="126" y="559"/>
                  </a:cubicBezTo>
                  <a:cubicBezTo>
                    <a:pt x="126" y="555"/>
                    <a:pt x="125" y="545"/>
                    <a:pt x="125" y="541"/>
                  </a:cubicBezTo>
                  <a:cubicBezTo>
                    <a:pt x="124" y="538"/>
                    <a:pt x="123" y="535"/>
                    <a:pt x="122" y="533"/>
                  </a:cubicBezTo>
                  <a:cubicBezTo>
                    <a:pt x="122" y="533"/>
                    <a:pt x="121" y="532"/>
                    <a:pt x="121" y="532"/>
                  </a:cubicBezTo>
                  <a:cubicBezTo>
                    <a:pt x="120" y="531"/>
                    <a:pt x="120" y="531"/>
                    <a:pt x="120" y="529"/>
                  </a:cubicBezTo>
                  <a:cubicBezTo>
                    <a:pt x="120" y="528"/>
                    <a:pt x="119" y="527"/>
                    <a:pt x="119" y="526"/>
                  </a:cubicBezTo>
                  <a:cubicBezTo>
                    <a:pt x="119" y="524"/>
                    <a:pt x="119" y="521"/>
                    <a:pt x="118" y="518"/>
                  </a:cubicBezTo>
                  <a:cubicBezTo>
                    <a:pt x="117" y="515"/>
                    <a:pt x="117" y="514"/>
                    <a:pt x="117" y="514"/>
                  </a:cubicBezTo>
                  <a:cubicBezTo>
                    <a:pt x="118" y="513"/>
                    <a:pt x="119" y="512"/>
                    <a:pt x="119" y="512"/>
                  </a:cubicBezTo>
                  <a:cubicBezTo>
                    <a:pt x="119" y="512"/>
                    <a:pt x="118" y="510"/>
                    <a:pt x="118" y="508"/>
                  </a:cubicBezTo>
                  <a:cubicBezTo>
                    <a:pt x="117" y="506"/>
                    <a:pt x="118" y="503"/>
                    <a:pt x="118" y="500"/>
                  </a:cubicBezTo>
                  <a:cubicBezTo>
                    <a:pt x="119" y="496"/>
                    <a:pt x="119" y="491"/>
                    <a:pt x="119" y="488"/>
                  </a:cubicBezTo>
                  <a:cubicBezTo>
                    <a:pt x="118" y="485"/>
                    <a:pt x="119" y="480"/>
                    <a:pt x="119" y="475"/>
                  </a:cubicBezTo>
                  <a:cubicBezTo>
                    <a:pt x="120" y="471"/>
                    <a:pt x="119" y="460"/>
                    <a:pt x="119" y="455"/>
                  </a:cubicBezTo>
                  <a:cubicBezTo>
                    <a:pt x="118" y="449"/>
                    <a:pt x="117" y="440"/>
                    <a:pt x="117" y="438"/>
                  </a:cubicBezTo>
                  <a:cubicBezTo>
                    <a:pt x="116" y="437"/>
                    <a:pt x="118" y="436"/>
                    <a:pt x="117" y="433"/>
                  </a:cubicBezTo>
                  <a:cubicBezTo>
                    <a:pt x="117" y="431"/>
                    <a:pt x="115" y="431"/>
                    <a:pt x="116" y="430"/>
                  </a:cubicBezTo>
                  <a:cubicBezTo>
                    <a:pt x="116" y="429"/>
                    <a:pt x="118" y="426"/>
                    <a:pt x="117" y="425"/>
                  </a:cubicBezTo>
                  <a:cubicBezTo>
                    <a:pt x="117" y="424"/>
                    <a:pt x="117" y="422"/>
                    <a:pt x="118" y="420"/>
                  </a:cubicBezTo>
                  <a:cubicBezTo>
                    <a:pt x="118" y="418"/>
                    <a:pt x="118" y="415"/>
                    <a:pt x="118" y="412"/>
                  </a:cubicBezTo>
                  <a:cubicBezTo>
                    <a:pt x="118" y="409"/>
                    <a:pt x="118" y="404"/>
                    <a:pt x="118" y="404"/>
                  </a:cubicBezTo>
                  <a:cubicBezTo>
                    <a:pt x="119" y="397"/>
                    <a:pt x="120" y="389"/>
                    <a:pt x="120" y="384"/>
                  </a:cubicBezTo>
                  <a:cubicBezTo>
                    <a:pt x="120" y="379"/>
                    <a:pt x="120" y="367"/>
                    <a:pt x="120" y="367"/>
                  </a:cubicBezTo>
                  <a:cubicBezTo>
                    <a:pt x="121" y="366"/>
                    <a:pt x="123" y="360"/>
                    <a:pt x="123" y="357"/>
                  </a:cubicBezTo>
                  <a:cubicBezTo>
                    <a:pt x="124" y="353"/>
                    <a:pt x="123" y="346"/>
                    <a:pt x="123" y="344"/>
                  </a:cubicBezTo>
                  <a:cubicBezTo>
                    <a:pt x="124" y="343"/>
                    <a:pt x="125" y="331"/>
                    <a:pt x="126" y="328"/>
                  </a:cubicBezTo>
                  <a:cubicBezTo>
                    <a:pt x="127" y="324"/>
                    <a:pt x="129" y="320"/>
                    <a:pt x="129" y="320"/>
                  </a:cubicBezTo>
                  <a:cubicBezTo>
                    <a:pt x="129" y="320"/>
                    <a:pt x="132" y="337"/>
                    <a:pt x="132" y="338"/>
                  </a:cubicBezTo>
                  <a:cubicBezTo>
                    <a:pt x="132" y="338"/>
                    <a:pt x="133" y="342"/>
                    <a:pt x="134" y="343"/>
                  </a:cubicBezTo>
                  <a:cubicBezTo>
                    <a:pt x="134" y="345"/>
                    <a:pt x="135" y="355"/>
                    <a:pt x="135" y="358"/>
                  </a:cubicBezTo>
                  <a:cubicBezTo>
                    <a:pt x="135" y="361"/>
                    <a:pt x="137" y="379"/>
                    <a:pt x="138" y="391"/>
                  </a:cubicBezTo>
                  <a:cubicBezTo>
                    <a:pt x="140" y="403"/>
                    <a:pt x="141" y="407"/>
                    <a:pt x="143" y="410"/>
                  </a:cubicBezTo>
                  <a:cubicBezTo>
                    <a:pt x="145" y="414"/>
                    <a:pt x="143" y="419"/>
                    <a:pt x="142" y="421"/>
                  </a:cubicBezTo>
                  <a:cubicBezTo>
                    <a:pt x="142" y="423"/>
                    <a:pt x="146" y="424"/>
                    <a:pt x="146" y="426"/>
                  </a:cubicBezTo>
                  <a:cubicBezTo>
                    <a:pt x="147" y="427"/>
                    <a:pt x="145" y="427"/>
                    <a:pt x="145" y="428"/>
                  </a:cubicBezTo>
                  <a:cubicBezTo>
                    <a:pt x="145" y="429"/>
                    <a:pt x="145" y="432"/>
                    <a:pt x="145" y="433"/>
                  </a:cubicBezTo>
                  <a:cubicBezTo>
                    <a:pt x="145" y="434"/>
                    <a:pt x="144" y="434"/>
                    <a:pt x="145" y="437"/>
                  </a:cubicBezTo>
                  <a:cubicBezTo>
                    <a:pt x="146" y="440"/>
                    <a:pt x="144" y="444"/>
                    <a:pt x="143" y="457"/>
                  </a:cubicBezTo>
                  <a:cubicBezTo>
                    <a:pt x="142" y="470"/>
                    <a:pt x="143" y="481"/>
                    <a:pt x="145" y="495"/>
                  </a:cubicBezTo>
                  <a:cubicBezTo>
                    <a:pt x="147" y="509"/>
                    <a:pt x="145" y="508"/>
                    <a:pt x="145" y="511"/>
                  </a:cubicBezTo>
                  <a:cubicBezTo>
                    <a:pt x="145" y="514"/>
                    <a:pt x="150" y="516"/>
                    <a:pt x="150" y="516"/>
                  </a:cubicBezTo>
                  <a:cubicBezTo>
                    <a:pt x="148" y="521"/>
                    <a:pt x="148" y="530"/>
                    <a:pt x="148" y="530"/>
                  </a:cubicBezTo>
                  <a:cubicBezTo>
                    <a:pt x="147" y="531"/>
                    <a:pt x="147" y="533"/>
                    <a:pt x="146" y="536"/>
                  </a:cubicBezTo>
                  <a:cubicBezTo>
                    <a:pt x="146" y="537"/>
                    <a:pt x="146" y="537"/>
                    <a:pt x="146" y="537"/>
                  </a:cubicBezTo>
                  <a:cubicBezTo>
                    <a:pt x="146" y="541"/>
                    <a:pt x="144" y="560"/>
                    <a:pt x="144" y="565"/>
                  </a:cubicBezTo>
                  <a:cubicBezTo>
                    <a:pt x="144" y="571"/>
                    <a:pt x="147" y="574"/>
                    <a:pt x="155" y="574"/>
                  </a:cubicBezTo>
                  <a:cubicBezTo>
                    <a:pt x="164" y="574"/>
                    <a:pt x="170" y="570"/>
                    <a:pt x="173" y="566"/>
                  </a:cubicBezTo>
                  <a:cubicBezTo>
                    <a:pt x="176" y="562"/>
                    <a:pt x="174" y="560"/>
                    <a:pt x="173" y="558"/>
                  </a:cubicBezTo>
                  <a:cubicBezTo>
                    <a:pt x="173" y="556"/>
                    <a:pt x="172" y="551"/>
                    <a:pt x="172" y="548"/>
                  </a:cubicBezTo>
                  <a:cubicBezTo>
                    <a:pt x="172" y="547"/>
                    <a:pt x="172" y="546"/>
                    <a:pt x="172" y="546"/>
                  </a:cubicBezTo>
                  <a:cubicBezTo>
                    <a:pt x="172" y="546"/>
                    <a:pt x="172" y="545"/>
                    <a:pt x="172" y="545"/>
                  </a:cubicBezTo>
                  <a:cubicBezTo>
                    <a:pt x="172" y="542"/>
                    <a:pt x="171" y="533"/>
                    <a:pt x="171" y="532"/>
                  </a:cubicBezTo>
                  <a:cubicBezTo>
                    <a:pt x="171" y="531"/>
                    <a:pt x="170" y="529"/>
                    <a:pt x="170" y="528"/>
                  </a:cubicBezTo>
                  <a:cubicBezTo>
                    <a:pt x="169" y="528"/>
                    <a:pt x="169" y="527"/>
                    <a:pt x="169" y="527"/>
                  </a:cubicBezTo>
                  <a:cubicBezTo>
                    <a:pt x="169" y="526"/>
                    <a:pt x="170" y="524"/>
                    <a:pt x="170" y="522"/>
                  </a:cubicBezTo>
                  <a:cubicBezTo>
                    <a:pt x="170" y="520"/>
                    <a:pt x="168" y="516"/>
                    <a:pt x="168" y="516"/>
                  </a:cubicBezTo>
                  <a:cubicBezTo>
                    <a:pt x="174" y="513"/>
                    <a:pt x="176" y="509"/>
                    <a:pt x="176" y="508"/>
                  </a:cubicBezTo>
                  <a:cubicBezTo>
                    <a:pt x="177" y="506"/>
                    <a:pt x="175" y="505"/>
                    <a:pt x="175" y="502"/>
                  </a:cubicBezTo>
                  <a:cubicBezTo>
                    <a:pt x="174" y="498"/>
                    <a:pt x="179" y="482"/>
                    <a:pt x="180" y="473"/>
                  </a:cubicBezTo>
                  <a:cubicBezTo>
                    <a:pt x="181" y="464"/>
                    <a:pt x="182" y="450"/>
                    <a:pt x="182" y="450"/>
                  </a:cubicBezTo>
                  <a:cubicBezTo>
                    <a:pt x="182" y="445"/>
                    <a:pt x="182" y="441"/>
                    <a:pt x="183" y="439"/>
                  </a:cubicBezTo>
                  <a:cubicBezTo>
                    <a:pt x="183" y="437"/>
                    <a:pt x="182" y="437"/>
                    <a:pt x="182" y="435"/>
                  </a:cubicBezTo>
                  <a:cubicBezTo>
                    <a:pt x="182" y="433"/>
                    <a:pt x="182" y="430"/>
                    <a:pt x="182" y="429"/>
                  </a:cubicBezTo>
                  <a:cubicBezTo>
                    <a:pt x="182" y="428"/>
                    <a:pt x="181" y="428"/>
                    <a:pt x="182" y="427"/>
                  </a:cubicBezTo>
                  <a:cubicBezTo>
                    <a:pt x="182" y="426"/>
                    <a:pt x="182" y="424"/>
                    <a:pt x="182" y="423"/>
                  </a:cubicBezTo>
                  <a:cubicBezTo>
                    <a:pt x="182" y="422"/>
                    <a:pt x="183" y="420"/>
                    <a:pt x="183" y="420"/>
                  </a:cubicBezTo>
                  <a:cubicBezTo>
                    <a:pt x="184" y="418"/>
                    <a:pt x="181" y="417"/>
                    <a:pt x="182" y="413"/>
                  </a:cubicBezTo>
                  <a:cubicBezTo>
                    <a:pt x="183" y="410"/>
                    <a:pt x="183" y="410"/>
                    <a:pt x="183" y="407"/>
                  </a:cubicBezTo>
                  <a:cubicBezTo>
                    <a:pt x="182" y="404"/>
                    <a:pt x="183" y="400"/>
                    <a:pt x="184" y="394"/>
                  </a:cubicBezTo>
                  <a:cubicBezTo>
                    <a:pt x="186" y="388"/>
                    <a:pt x="185" y="346"/>
                    <a:pt x="186" y="335"/>
                  </a:cubicBezTo>
                  <a:cubicBezTo>
                    <a:pt x="187" y="324"/>
                    <a:pt x="188" y="299"/>
                    <a:pt x="188" y="299"/>
                  </a:cubicBezTo>
                  <a:cubicBezTo>
                    <a:pt x="192" y="303"/>
                    <a:pt x="192" y="303"/>
                    <a:pt x="192" y="303"/>
                  </a:cubicBezTo>
                  <a:cubicBezTo>
                    <a:pt x="208" y="289"/>
                    <a:pt x="208" y="289"/>
                    <a:pt x="208" y="289"/>
                  </a:cubicBezTo>
                  <a:cubicBezTo>
                    <a:pt x="208" y="289"/>
                    <a:pt x="206" y="280"/>
                    <a:pt x="204" y="273"/>
                  </a:cubicBezTo>
                  <a:cubicBezTo>
                    <a:pt x="203" y="267"/>
                    <a:pt x="199" y="248"/>
                    <a:pt x="197" y="243"/>
                  </a:cubicBezTo>
                  <a:cubicBezTo>
                    <a:pt x="196" y="240"/>
                    <a:pt x="197" y="237"/>
                    <a:pt x="197" y="236"/>
                  </a:cubicBezTo>
                  <a:cubicBezTo>
                    <a:pt x="197" y="236"/>
                    <a:pt x="197" y="236"/>
                    <a:pt x="197" y="236"/>
                  </a:cubicBezTo>
                  <a:cubicBezTo>
                    <a:pt x="211" y="241"/>
                    <a:pt x="229" y="229"/>
                    <a:pt x="224" y="223"/>
                  </a:cubicBezTo>
                  <a:cubicBezTo>
                    <a:pt x="223" y="218"/>
                    <a:pt x="215" y="200"/>
                    <a:pt x="215" y="197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9" name="Freeform 155">
              <a:extLst>
                <a:ext uri="{FF2B5EF4-FFF2-40B4-BE49-F238E27FC236}">
                  <a16:creationId xmlns:a16="http://schemas.microsoft.com/office/drawing/2014/main" id="{17948DA8-A828-48A5-B0D1-92FD123AC80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12745" y="2951581"/>
              <a:ext cx="211102" cy="728664"/>
            </a:xfrm>
            <a:custGeom>
              <a:avLst/>
              <a:gdLst>
                <a:gd name="T0" fmla="*/ 186 w 220"/>
                <a:gd name="T1" fmla="*/ 231 h 758"/>
                <a:gd name="T2" fmla="*/ 166 w 220"/>
                <a:gd name="T3" fmla="*/ 206 h 758"/>
                <a:gd name="T4" fmla="*/ 165 w 220"/>
                <a:gd name="T5" fmla="*/ 183 h 758"/>
                <a:gd name="T6" fmla="*/ 166 w 220"/>
                <a:gd name="T7" fmla="*/ 161 h 758"/>
                <a:gd name="T8" fmla="*/ 165 w 220"/>
                <a:gd name="T9" fmla="*/ 154 h 758"/>
                <a:gd name="T10" fmla="*/ 162 w 220"/>
                <a:gd name="T11" fmla="*/ 141 h 758"/>
                <a:gd name="T12" fmla="*/ 135 w 220"/>
                <a:gd name="T13" fmla="*/ 124 h 758"/>
                <a:gd name="T14" fmla="*/ 114 w 220"/>
                <a:gd name="T15" fmla="*/ 133 h 758"/>
                <a:gd name="T16" fmla="*/ 106 w 220"/>
                <a:gd name="T17" fmla="*/ 160 h 758"/>
                <a:gd name="T18" fmla="*/ 105 w 220"/>
                <a:gd name="T19" fmla="*/ 173 h 758"/>
                <a:gd name="T20" fmla="*/ 114 w 220"/>
                <a:gd name="T21" fmla="*/ 188 h 758"/>
                <a:gd name="T22" fmla="*/ 122 w 220"/>
                <a:gd name="T23" fmla="*/ 202 h 758"/>
                <a:gd name="T24" fmla="*/ 108 w 220"/>
                <a:gd name="T25" fmla="*/ 215 h 758"/>
                <a:gd name="T26" fmla="*/ 105 w 220"/>
                <a:gd name="T27" fmla="*/ 213 h 758"/>
                <a:gd name="T28" fmla="*/ 86 w 220"/>
                <a:gd name="T29" fmla="*/ 203 h 758"/>
                <a:gd name="T30" fmla="*/ 75 w 220"/>
                <a:gd name="T31" fmla="*/ 194 h 758"/>
                <a:gd name="T32" fmla="*/ 39 w 220"/>
                <a:gd name="T33" fmla="*/ 113 h 758"/>
                <a:gd name="T34" fmla="*/ 30 w 220"/>
                <a:gd name="T35" fmla="*/ 86 h 758"/>
                <a:gd name="T36" fmla="*/ 28 w 220"/>
                <a:gd name="T37" fmla="*/ 43 h 758"/>
                <a:gd name="T38" fmla="*/ 21 w 220"/>
                <a:gd name="T39" fmla="*/ 27 h 758"/>
                <a:gd name="T40" fmla="*/ 26 w 220"/>
                <a:gd name="T41" fmla="*/ 16 h 758"/>
                <a:gd name="T42" fmla="*/ 11 w 220"/>
                <a:gd name="T43" fmla="*/ 22 h 758"/>
                <a:gd name="T44" fmla="*/ 18 w 220"/>
                <a:gd name="T45" fmla="*/ 7 h 758"/>
                <a:gd name="T46" fmla="*/ 7 w 220"/>
                <a:gd name="T47" fmla="*/ 15 h 758"/>
                <a:gd name="T48" fmla="*/ 1 w 220"/>
                <a:gd name="T49" fmla="*/ 20 h 758"/>
                <a:gd name="T50" fmla="*/ 10 w 220"/>
                <a:gd name="T51" fmla="*/ 72 h 758"/>
                <a:gd name="T52" fmla="*/ 28 w 220"/>
                <a:gd name="T53" fmla="*/ 150 h 758"/>
                <a:gd name="T54" fmla="*/ 55 w 220"/>
                <a:gd name="T55" fmla="*/ 216 h 758"/>
                <a:gd name="T56" fmla="*/ 76 w 220"/>
                <a:gd name="T57" fmla="*/ 266 h 758"/>
                <a:gd name="T58" fmla="*/ 74 w 220"/>
                <a:gd name="T59" fmla="*/ 369 h 758"/>
                <a:gd name="T60" fmla="*/ 70 w 220"/>
                <a:gd name="T61" fmla="*/ 488 h 758"/>
                <a:gd name="T62" fmla="*/ 99 w 220"/>
                <a:gd name="T63" fmla="*/ 630 h 758"/>
                <a:gd name="T64" fmla="*/ 106 w 220"/>
                <a:gd name="T65" fmla="*/ 692 h 758"/>
                <a:gd name="T66" fmla="*/ 107 w 220"/>
                <a:gd name="T67" fmla="*/ 694 h 758"/>
                <a:gd name="T68" fmla="*/ 99 w 220"/>
                <a:gd name="T69" fmla="*/ 721 h 758"/>
                <a:gd name="T70" fmla="*/ 100 w 220"/>
                <a:gd name="T71" fmla="*/ 740 h 758"/>
                <a:gd name="T72" fmla="*/ 117 w 220"/>
                <a:gd name="T73" fmla="*/ 745 h 758"/>
                <a:gd name="T74" fmla="*/ 130 w 220"/>
                <a:gd name="T75" fmla="*/ 756 h 758"/>
                <a:gd name="T76" fmla="*/ 147 w 220"/>
                <a:gd name="T77" fmla="*/ 734 h 758"/>
                <a:gd name="T78" fmla="*/ 143 w 220"/>
                <a:gd name="T79" fmla="*/ 726 h 758"/>
                <a:gd name="T80" fmla="*/ 146 w 220"/>
                <a:gd name="T81" fmla="*/ 695 h 758"/>
                <a:gd name="T82" fmla="*/ 162 w 220"/>
                <a:gd name="T83" fmla="*/ 608 h 758"/>
                <a:gd name="T84" fmla="*/ 172 w 220"/>
                <a:gd name="T85" fmla="*/ 551 h 758"/>
                <a:gd name="T86" fmla="*/ 180 w 220"/>
                <a:gd name="T87" fmla="*/ 490 h 758"/>
                <a:gd name="T88" fmla="*/ 188 w 220"/>
                <a:gd name="T89" fmla="*/ 413 h 758"/>
                <a:gd name="T90" fmla="*/ 180 w 220"/>
                <a:gd name="T91" fmla="*/ 370 h 758"/>
                <a:gd name="T92" fmla="*/ 209 w 220"/>
                <a:gd name="T93" fmla="*/ 302 h 758"/>
                <a:gd name="T94" fmla="*/ 213 w 220"/>
                <a:gd name="T95" fmla="*/ 253 h 758"/>
                <a:gd name="T96" fmla="*/ 20 w 220"/>
                <a:gd name="T97" fmla="*/ 36 h 7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0" h="758">
                  <a:moveTo>
                    <a:pt x="213" y="253"/>
                  </a:moveTo>
                  <a:cubicBezTo>
                    <a:pt x="212" y="250"/>
                    <a:pt x="208" y="242"/>
                    <a:pt x="205" y="240"/>
                  </a:cubicBezTo>
                  <a:cubicBezTo>
                    <a:pt x="201" y="238"/>
                    <a:pt x="187" y="233"/>
                    <a:pt x="186" y="231"/>
                  </a:cubicBezTo>
                  <a:cubicBezTo>
                    <a:pt x="185" y="229"/>
                    <a:pt x="179" y="226"/>
                    <a:pt x="177" y="225"/>
                  </a:cubicBezTo>
                  <a:cubicBezTo>
                    <a:pt x="176" y="224"/>
                    <a:pt x="172" y="218"/>
                    <a:pt x="170" y="214"/>
                  </a:cubicBezTo>
                  <a:cubicBezTo>
                    <a:pt x="169" y="211"/>
                    <a:pt x="167" y="207"/>
                    <a:pt x="166" y="206"/>
                  </a:cubicBezTo>
                  <a:cubicBezTo>
                    <a:pt x="166" y="206"/>
                    <a:pt x="163" y="205"/>
                    <a:pt x="159" y="204"/>
                  </a:cubicBezTo>
                  <a:cubicBezTo>
                    <a:pt x="161" y="201"/>
                    <a:pt x="164" y="197"/>
                    <a:pt x="164" y="196"/>
                  </a:cubicBezTo>
                  <a:cubicBezTo>
                    <a:pt x="165" y="193"/>
                    <a:pt x="165" y="186"/>
                    <a:pt x="165" y="183"/>
                  </a:cubicBezTo>
                  <a:cubicBezTo>
                    <a:pt x="165" y="181"/>
                    <a:pt x="166" y="174"/>
                    <a:pt x="165" y="171"/>
                  </a:cubicBezTo>
                  <a:cubicBezTo>
                    <a:pt x="165" y="171"/>
                    <a:pt x="166" y="169"/>
                    <a:pt x="167" y="167"/>
                  </a:cubicBezTo>
                  <a:cubicBezTo>
                    <a:pt x="167" y="165"/>
                    <a:pt x="167" y="162"/>
                    <a:pt x="166" y="161"/>
                  </a:cubicBezTo>
                  <a:cubicBezTo>
                    <a:pt x="166" y="160"/>
                    <a:pt x="165" y="161"/>
                    <a:pt x="165" y="161"/>
                  </a:cubicBezTo>
                  <a:cubicBezTo>
                    <a:pt x="165" y="161"/>
                    <a:pt x="166" y="157"/>
                    <a:pt x="166" y="156"/>
                  </a:cubicBezTo>
                  <a:cubicBezTo>
                    <a:pt x="165" y="155"/>
                    <a:pt x="166" y="155"/>
                    <a:pt x="165" y="154"/>
                  </a:cubicBezTo>
                  <a:cubicBezTo>
                    <a:pt x="165" y="153"/>
                    <a:pt x="165" y="150"/>
                    <a:pt x="165" y="150"/>
                  </a:cubicBezTo>
                  <a:cubicBezTo>
                    <a:pt x="165" y="149"/>
                    <a:pt x="164" y="145"/>
                    <a:pt x="164" y="144"/>
                  </a:cubicBezTo>
                  <a:cubicBezTo>
                    <a:pt x="164" y="144"/>
                    <a:pt x="163" y="143"/>
                    <a:pt x="162" y="141"/>
                  </a:cubicBezTo>
                  <a:cubicBezTo>
                    <a:pt x="161" y="140"/>
                    <a:pt x="155" y="133"/>
                    <a:pt x="154" y="132"/>
                  </a:cubicBezTo>
                  <a:cubicBezTo>
                    <a:pt x="153" y="131"/>
                    <a:pt x="149" y="128"/>
                    <a:pt x="146" y="127"/>
                  </a:cubicBezTo>
                  <a:cubicBezTo>
                    <a:pt x="146" y="127"/>
                    <a:pt x="140" y="123"/>
                    <a:pt x="135" y="124"/>
                  </a:cubicBezTo>
                  <a:cubicBezTo>
                    <a:pt x="130" y="124"/>
                    <a:pt x="129" y="126"/>
                    <a:pt x="127" y="126"/>
                  </a:cubicBezTo>
                  <a:cubicBezTo>
                    <a:pt x="125" y="126"/>
                    <a:pt x="121" y="128"/>
                    <a:pt x="120" y="129"/>
                  </a:cubicBezTo>
                  <a:cubicBezTo>
                    <a:pt x="119" y="130"/>
                    <a:pt x="116" y="131"/>
                    <a:pt x="114" y="133"/>
                  </a:cubicBezTo>
                  <a:cubicBezTo>
                    <a:pt x="113" y="135"/>
                    <a:pt x="110" y="139"/>
                    <a:pt x="110" y="141"/>
                  </a:cubicBezTo>
                  <a:cubicBezTo>
                    <a:pt x="109" y="143"/>
                    <a:pt x="108" y="149"/>
                    <a:pt x="107" y="152"/>
                  </a:cubicBezTo>
                  <a:cubicBezTo>
                    <a:pt x="106" y="155"/>
                    <a:pt x="106" y="158"/>
                    <a:pt x="106" y="160"/>
                  </a:cubicBezTo>
                  <a:cubicBezTo>
                    <a:pt x="107" y="162"/>
                    <a:pt x="107" y="166"/>
                    <a:pt x="107" y="166"/>
                  </a:cubicBezTo>
                  <a:cubicBezTo>
                    <a:pt x="107" y="166"/>
                    <a:pt x="106" y="165"/>
                    <a:pt x="105" y="167"/>
                  </a:cubicBezTo>
                  <a:cubicBezTo>
                    <a:pt x="104" y="169"/>
                    <a:pt x="104" y="171"/>
                    <a:pt x="105" y="173"/>
                  </a:cubicBezTo>
                  <a:cubicBezTo>
                    <a:pt x="107" y="175"/>
                    <a:pt x="108" y="178"/>
                    <a:pt x="109" y="180"/>
                  </a:cubicBezTo>
                  <a:cubicBezTo>
                    <a:pt x="111" y="183"/>
                    <a:pt x="112" y="186"/>
                    <a:pt x="112" y="187"/>
                  </a:cubicBezTo>
                  <a:cubicBezTo>
                    <a:pt x="113" y="187"/>
                    <a:pt x="113" y="188"/>
                    <a:pt x="114" y="188"/>
                  </a:cubicBezTo>
                  <a:cubicBezTo>
                    <a:pt x="115" y="188"/>
                    <a:pt x="116" y="188"/>
                    <a:pt x="116" y="188"/>
                  </a:cubicBezTo>
                  <a:cubicBezTo>
                    <a:pt x="116" y="188"/>
                    <a:pt x="117" y="190"/>
                    <a:pt x="118" y="191"/>
                  </a:cubicBezTo>
                  <a:cubicBezTo>
                    <a:pt x="119" y="192"/>
                    <a:pt x="121" y="199"/>
                    <a:pt x="122" y="202"/>
                  </a:cubicBezTo>
                  <a:cubicBezTo>
                    <a:pt x="122" y="202"/>
                    <a:pt x="122" y="202"/>
                    <a:pt x="122" y="202"/>
                  </a:cubicBezTo>
                  <a:cubicBezTo>
                    <a:pt x="120" y="205"/>
                    <a:pt x="115" y="213"/>
                    <a:pt x="114" y="214"/>
                  </a:cubicBezTo>
                  <a:cubicBezTo>
                    <a:pt x="113" y="215"/>
                    <a:pt x="109" y="215"/>
                    <a:pt x="108" y="215"/>
                  </a:cubicBezTo>
                  <a:cubicBezTo>
                    <a:pt x="108" y="215"/>
                    <a:pt x="108" y="215"/>
                    <a:pt x="108" y="216"/>
                  </a:cubicBezTo>
                  <a:cubicBezTo>
                    <a:pt x="107" y="216"/>
                    <a:pt x="106" y="217"/>
                    <a:pt x="106" y="218"/>
                  </a:cubicBezTo>
                  <a:cubicBezTo>
                    <a:pt x="106" y="218"/>
                    <a:pt x="106" y="214"/>
                    <a:pt x="105" y="213"/>
                  </a:cubicBezTo>
                  <a:cubicBezTo>
                    <a:pt x="104" y="213"/>
                    <a:pt x="97" y="210"/>
                    <a:pt x="95" y="210"/>
                  </a:cubicBezTo>
                  <a:cubicBezTo>
                    <a:pt x="94" y="211"/>
                    <a:pt x="92" y="208"/>
                    <a:pt x="91" y="207"/>
                  </a:cubicBezTo>
                  <a:cubicBezTo>
                    <a:pt x="90" y="207"/>
                    <a:pt x="86" y="203"/>
                    <a:pt x="86" y="203"/>
                  </a:cubicBezTo>
                  <a:cubicBezTo>
                    <a:pt x="85" y="202"/>
                    <a:pt x="83" y="200"/>
                    <a:pt x="82" y="199"/>
                  </a:cubicBezTo>
                  <a:cubicBezTo>
                    <a:pt x="81" y="197"/>
                    <a:pt x="77" y="194"/>
                    <a:pt x="76" y="194"/>
                  </a:cubicBezTo>
                  <a:cubicBezTo>
                    <a:pt x="76" y="194"/>
                    <a:pt x="75" y="194"/>
                    <a:pt x="75" y="194"/>
                  </a:cubicBezTo>
                  <a:cubicBezTo>
                    <a:pt x="75" y="191"/>
                    <a:pt x="71" y="182"/>
                    <a:pt x="67" y="177"/>
                  </a:cubicBezTo>
                  <a:cubicBezTo>
                    <a:pt x="64" y="171"/>
                    <a:pt x="52" y="152"/>
                    <a:pt x="51" y="150"/>
                  </a:cubicBezTo>
                  <a:cubicBezTo>
                    <a:pt x="50" y="148"/>
                    <a:pt x="43" y="122"/>
                    <a:pt x="39" y="113"/>
                  </a:cubicBezTo>
                  <a:cubicBezTo>
                    <a:pt x="35" y="104"/>
                    <a:pt x="33" y="95"/>
                    <a:pt x="33" y="95"/>
                  </a:cubicBezTo>
                  <a:cubicBezTo>
                    <a:pt x="32" y="92"/>
                    <a:pt x="31" y="91"/>
                    <a:pt x="31" y="91"/>
                  </a:cubicBezTo>
                  <a:cubicBezTo>
                    <a:pt x="31" y="91"/>
                    <a:pt x="31" y="90"/>
                    <a:pt x="30" y="86"/>
                  </a:cubicBezTo>
                  <a:cubicBezTo>
                    <a:pt x="28" y="82"/>
                    <a:pt x="25" y="62"/>
                    <a:pt x="25" y="60"/>
                  </a:cubicBezTo>
                  <a:cubicBezTo>
                    <a:pt x="25" y="59"/>
                    <a:pt x="28" y="56"/>
                    <a:pt x="29" y="54"/>
                  </a:cubicBezTo>
                  <a:cubicBezTo>
                    <a:pt x="29" y="51"/>
                    <a:pt x="29" y="46"/>
                    <a:pt x="28" y="43"/>
                  </a:cubicBezTo>
                  <a:cubicBezTo>
                    <a:pt x="28" y="41"/>
                    <a:pt x="28" y="39"/>
                    <a:pt x="27" y="32"/>
                  </a:cubicBezTo>
                  <a:cubicBezTo>
                    <a:pt x="26" y="25"/>
                    <a:pt x="23" y="26"/>
                    <a:pt x="23" y="26"/>
                  </a:cubicBezTo>
                  <a:cubicBezTo>
                    <a:pt x="22" y="26"/>
                    <a:pt x="22" y="26"/>
                    <a:pt x="21" y="27"/>
                  </a:cubicBezTo>
                  <a:cubicBezTo>
                    <a:pt x="22" y="26"/>
                    <a:pt x="22" y="25"/>
                    <a:pt x="22" y="25"/>
                  </a:cubicBezTo>
                  <a:cubicBezTo>
                    <a:pt x="22" y="24"/>
                    <a:pt x="27" y="21"/>
                    <a:pt x="27" y="19"/>
                  </a:cubicBezTo>
                  <a:cubicBezTo>
                    <a:pt x="28" y="18"/>
                    <a:pt x="26" y="16"/>
                    <a:pt x="26" y="16"/>
                  </a:cubicBezTo>
                  <a:cubicBezTo>
                    <a:pt x="26" y="16"/>
                    <a:pt x="22" y="20"/>
                    <a:pt x="20" y="21"/>
                  </a:cubicBezTo>
                  <a:cubicBezTo>
                    <a:pt x="18" y="21"/>
                    <a:pt x="14" y="26"/>
                    <a:pt x="14" y="26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22"/>
                    <a:pt x="12" y="20"/>
                    <a:pt x="12" y="18"/>
                  </a:cubicBezTo>
                  <a:cubicBezTo>
                    <a:pt x="12" y="17"/>
                    <a:pt x="14" y="14"/>
                    <a:pt x="16" y="12"/>
                  </a:cubicBezTo>
                  <a:cubicBezTo>
                    <a:pt x="19" y="10"/>
                    <a:pt x="18" y="8"/>
                    <a:pt x="18" y="7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5" y="8"/>
                    <a:pt x="14" y="9"/>
                  </a:cubicBezTo>
                  <a:cubicBezTo>
                    <a:pt x="13" y="10"/>
                    <a:pt x="7" y="15"/>
                    <a:pt x="7" y="15"/>
                  </a:cubicBezTo>
                  <a:cubicBezTo>
                    <a:pt x="7" y="15"/>
                    <a:pt x="5" y="4"/>
                    <a:pt x="4" y="2"/>
                  </a:cubicBezTo>
                  <a:cubicBezTo>
                    <a:pt x="3" y="0"/>
                    <a:pt x="0" y="1"/>
                    <a:pt x="0" y="1"/>
                  </a:cubicBezTo>
                  <a:cubicBezTo>
                    <a:pt x="1" y="3"/>
                    <a:pt x="1" y="16"/>
                    <a:pt x="1" y="20"/>
                  </a:cubicBezTo>
                  <a:cubicBezTo>
                    <a:pt x="1" y="23"/>
                    <a:pt x="4" y="26"/>
                    <a:pt x="5" y="31"/>
                  </a:cubicBezTo>
                  <a:cubicBezTo>
                    <a:pt x="6" y="37"/>
                    <a:pt x="8" y="50"/>
                    <a:pt x="9" y="55"/>
                  </a:cubicBezTo>
                  <a:cubicBezTo>
                    <a:pt x="10" y="60"/>
                    <a:pt x="8" y="68"/>
                    <a:pt x="10" y="72"/>
                  </a:cubicBezTo>
                  <a:cubicBezTo>
                    <a:pt x="12" y="77"/>
                    <a:pt x="14" y="92"/>
                    <a:pt x="14" y="92"/>
                  </a:cubicBezTo>
                  <a:cubicBezTo>
                    <a:pt x="13" y="95"/>
                    <a:pt x="14" y="96"/>
                    <a:pt x="14" y="96"/>
                  </a:cubicBezTo>
                  <a:cubicBezTo>
                    <a:pt x="18" y="119"/>
                    <a:pt x="27" y="146"/>
                    <a:pt x="28" y="150"/>
                  </a:cubicBezTo>
                  <a:cubicBezTo>
                    <a:pt x="29" y="153"/>
                    <a:pt x="30" y="159"/>
                    <a:pt x="31" y="161"/>
                  </a:cubicBezTo>
                  <a:cubicBezTo>
                    <a:pt x="33" y="164"/>
                    <a:pt x="36" y="165"/>
                    <a:pt x="40" y="182"/>
                  </a:cubicBezTo>
                  <a:cubicBezTo>
                    <a:pt x="44" y="197"/>
                    <a:pt x="53" y="212"/>
                    <a:pt x="55" y="216"/>
                  </a:cubicBezTo>
                  <a:cubicBezTo>
                    <a:pt x="56" y="227"/>
                    <a:pt x="59" y="231"/>
                    <a:pt x="60" y="233"/>
                  </a:cubicBezTo>
                  <a:cubicBezTo>
                    <a:pt x="62" y="234"/>
                    <a:pt x="66" y="239"/>
                    <a:pt x="67" y="240"/>
                  </a:cubicBezTo>
                  <a:cubicBezTo>
                    <a:pt x="69" y="242"/>
                    <a:pt x="75" y="248"/>
                    <a:pt x="76" y="266"/>
                  </a:cubicBezTo>
                  <a:cubicBezTo>
                    <a:pt x="78" y="285"/>
                    <a:pt x="79" y="317"/>
                    <a:pt x="80" y="326"/>
                  </a:cubicBezTo>
                  <a:cubicBezTo>
                    <a:pt x="80" y="336"/>
                    <a:pt x="81" y="349"/>
                    <a:pt x="81" y="349"/>
                  </a:cubicBezTo>
                  <a:cubicBezTo>
                    <a:pt x="81" y="349"/>
                    <a:pt x="77" y="364"/>
                    <a:pt x="74" y="369"/>
                  </a:cubicBezTo>
                  <a:cubicBezTo>
                    <a:pt x="72" y="373"/>
                    <a:pt x="63" y="394"/>
                    <a:pt x="62" y="413"/>
                  </a:cubicBezTo>
                  <a:cubicBezTo>
                    <a:pt x="60" y="432"/>
                    <a:pt x="62" y="445"/>
                    <a:pt x="62" y="449"/>
                  </a:cubicBezTo>
                  <a:cubicBezTo>
                    <a:pt x="62" y="453"/>
                    <a:pt x="65" y="476"/>
                    <a:pt x="70" y="488"/>
                  </a:cubicBezTo>
                  <a:cubicBezTo>
                    <a:pt x="74" y="499"/>
                    <a:pt x="87" y="550"/>
                    <a:pt x="90" y="569"/>
                  </a:cubicBezTo>
                  <a:cubicBezTo>
                    <a:pt x="93" y="587"/>
                    <a:pt x="93" y="609"/>
                    <a:pt x="94" y="615"/>
                  </a:cubicBezTo>
                  <a:cubicBezTo>
                    <a:pt x="95" y="620"/>
                    <a:pt x="98" y="624"/>
                    <a:pt x="99" y="630"/>
                  </a:cubicBezTo>
                  <a:cubicBezTo>
                    <a:pt x="100" y="635"/>
                    <a:pt x="102" y="660"/>
                    <a:pt x="103" y="665"/>
                  </a:cubicBezTo>
                  <a:cubicBezTo>
                    <a:pt x="103" y="670"/>
                    <a:pt x="106" y="692"/>
                    <a:pt x="106" y="692"/>
                  </a:cubicBezTo>
                  <a:cubicBezTo>
                    <a:pt x="106" y="692"/>
                    <a:pt x="106" y="692"/>
                    <a:pt x="106" y="692"/>
                  </a:cubicBezTo>
                  <a:cubicBezTo>
                    <a:pt x="106" y="692"/>
                    <a:pt x="106" y="692"/>
                    <a:pt x="106" y="692"/>
                  </a:cubicBezTo>
                  <a:cubicBezTo>
                    <a:pt x="106" y="692"/>
                    <a:pt x="106" y="693"/>
                    <a:pt x="107" y="693"/>
                  </a:cubicBezTo>
                  <a:cubicBezTo>
                    <a:pt x="107" y="694"/>
                    <a:pt x="107" y="694"/>
                    <a:pt x="107" y="694"/>
                  </a:cubicBezTo>
                  <a:cubicBezTo>
                    <a:pt x="108" y="707"/>
                    <a:pt x="108" y="707"/>
                    <a:pt x="108" y="707"/>
                  </a:cubicBezTo>
                  <a:cubicBezTo>
                    <a:pt x="108" y="707"/>
                    <a:pt x="103" y="714"/>
                    <a:pt x="101" y="718"/>
                  </a:cubicBezTo>
                  <a:cubicBezTo>
                    <a:pt x="101" y="719"/>
                    <a:pt x="100" y="720"/>
                    <a:pt x="99" y="721"/>
                  </a:cubicBezTo>
                  <a:cubicBezTo>
                    <a:pt x="96" y="725"/>
                    <a:pt x="90" y="730"/>
                    <a:pt x="89" y="732"/>
                  </a:cubicBezTo>
                  <a:cubicBezTo>
                    <a:pt x="87" y="734"/>
                    <a:pt x="85" y="738"/>
                    <a:pt x="87" y="739"/>
                  </a:cubicBezTo>
                  <a:cubicBezTo>
                    <a:pt x="90" y="740"/>
                    <a:pt x="97" y="741"/>
                    <a:pt x="100" y="740"/>
                  </a:cubicBezTo>
                  <a:cubicBezTo>
                    <a:pt x="104" y="740"/>
                    <a:pt x="110" y="739"/>
                    <a:pt x="110" y="739"/>
                  </a:cubicBezTo>
                  <a:cubicBezTo>
                    <a:pt x="110" y="742"/>
                    <a:pt x="110" y="742"/>
                    <a:pt x="110" y="742"/>
                  </a:cubicBezTo>
                  <a:cubicBezTo>
                    <a:pt x="117" y="745"/>
                    <a:pt x="117" y="745"/>
                    <a:pt x="117" y="745"/>
                  </a:cubicBezTo>
                  <a:cubicBezTo>
                    <a:pt x="121" y="744"/>
                    <a:pt x="121" y="744"/>
                    <a:pt x="121" y="744"/>
                  </a:cubicBezTo>
                  <a:cubicBezTo>
                    <a:pt x="125" y="751"/>
                    <a:pt x="125" y="751"/>
                    <a:pt x="125" y="751"/>
                  </a:cubicBezTo>
                  <a:cubicBezTo>
                    <a:pt x="125" y="751"/>
                    <a:pt x="124" y="754"/>
                    <a:pt x="130" y="756"/>
                  </a:cubicBezTo>
                  <a:cubicBezTo>
                    <a:pt x="136" y="758"/>
                    <a:pt x="149" y="758"/>
                    <a:pt x="152" y="756"/>
                  </a:cubicBezTo>
                  <a:cubicBezTo>
                    <a:pt x="156" y="754"/>
                    <a:pt x="156" y="748"/>
                    <a:pt x="154" y="743"/>
                  </a:cubicBezTo>
                  <a:cubicBezTo>
                    <a:pt x="152" y="740"/>
                    <a:pt x="149" y="737"/>
                    <a:pt x="147" y="734"/>
                  </a:cubicBezTo>
                  <a:cubicBezTo>
                    <a:pt x="146" y="734"/>
                    <a:pt x="146" y="733"/>
                    <a:pt x="146" y="733"/>
                  </a:cubicBezTo>
                  <a:cubicBezTo>
                    <a:pt x="145" y="731"/>
                    <a:pt x="144" y="728"/>
                    <a:pt x="144" y="727"/>
                  </a:cubicBezTo>
                  <a:cubicBezTo>
                    <a:pt x="144" y="727"/>
                    <a:pt x="143" y="726"/>
                    <a:pt x="143" y="726"/>
                  </a:cubicBezTo>
                  <a:cubicBezTo>
                    <a:pt x="145" y="726"/>
                    <a:pt x="145" y="726"/>
                    <a:pt x="145" y="726"/>
                  </a:cubicBezTo>
                  <a:cubicBezTo>
                    <a:pt x="145" y="726"/>
                    <a:pt x="144" y="709"/>
                    <a:pt x="145" y="706"/>
                  </a:cubicBezTo>
                  <a:cubicBezTo>
                    <a:pt x="146" y="703"/>
                    <a:pt x="147" y="699"/>
                    <a:pt x="146" y="695"/>
                  </a:cubicBezTo>
                  <a:cubicBezTo>
                    <a:pt x="145" y="692"/>
                    <a:pt x="144" y="688"/>
                    <a:pt x="144" y="688"/>
                  </a:cubicBezTo>
                  <a:cubicBezTo>
                    <a:pt x="148" y="672"/>
                    <a:pt x="148" y="672"/>
                    <a:pt x="148" y="672"/>
                  </a:cubicBezTo>
                  <a:cubicBezTo>
                    <a:pt x="148" y="672"/>
                    <a:pt x="159" y="652"/>
                    <a:pt x="162" y="608"/>
                  </a:cubicBezTo>
                  <a:cubicBezTo>
                    <a:pt x="162" y="608"/>
                    <a:pt x="165" y="601"/>
                    <a:pt x="165" y="599"/>
                  </a:cubicBezTo>
                  <a:cubicBezTo>
                    <a:pt x="166" y="598"/>
                    <a:pt x="169" y="569"/>
                    <a:pt x="170" y="565"/>
                  </a:cubicBezTo>
                  <a:cubicBezTo>
                    <a:pt x="170" y="561"/>
                    <a:pt x="171" y="554"/>
                    <a:pt x="172" y="551"/>
                  </a:cubicBezTo>
                  <a:cubicBezTo>
                    <a:pt x="172" y="548"/>
                    <a:pt x="172" y="541"/>
                    <a:pt x="173" y="539"/>
                  </a:cubicBezTo>
                  <a:cubicBezTo>
                    <a:pt x="174" y="536"/>
                    <a:pt x="177" y="514"/>
                    <a:pt x="177" y="509"/>
                  </a:cubicBezTo>
                  <a:cubicBezTo>
                    <a:pt x="177" y="505"/>
                    <a:pt x="179" y="494"/>
                    <a:pt x="180" y="490"/>
                  </a:cubicBezTo>
                  <a:cubicBezTo>
                    <a:pt x="181" y="486"/>
                    <a:pt x="184" y="462"/>
                    <a:pt x="186" y="452"/>
                  </a:cubicBezTo>
                  <a:cubicBezTo>
                    <a:pt x="188" y="443"/>
                    <a:pt x="187" y="423"/>
                    <a:pt x="187" y="420"/>
                  </a:cubicBezTo>
                  <a:cubicBezTo>
                    <a:pt x="187" y="418"/>
                    <a:pt x="188" y="415"/>
                    <a:pt x="188" y="413"/>
                  </a:cubicBezTo>
                  <a:cubicBezTo>
                    <a:pt x="188" y="412"/>
                    <a:pt x="179" y="381"/>
                    <a:pt x="176" y="377"/>
                  </a:cubicBezTo>
                  <a:cubicBezTo>
                    <a:pt x="174" y="373"/>
                    <a:pt x="177" y="367"/>
                    <a:pt x="179" y="363"/>
                  </a:cubicBezTo>
                  <a:cubicBezTo>
                    <a:pt x="179" y="367"/>
                    <a:pt x="180" y="370"/>
                    <a:pt x="180" y="370"/>
                  </a:cubicBezTo>
                  <a:cubicBezTo>
                    <a:pt x="180" y="370"/>
                    <a:pt x="188" y="370"/>
                    <a:pt x="191" y="368"/>
                  </a:cubicBezTo>
                  <a:cubicBezTo>
                    <a:pt x="194" y="366"/>
                    <a:pt x="200" y="364"/>
                    <a:pt x="202" y="362"/>
                  </a:cubicBezTo>
                  <a:cubicBezTo>
                    <a:pt x="204" y="360"/>
                    <a:pt x="208" y="316"/>
                    <a:pt x="209" y="302"/>
                  </a:cubicBezTo>
                  <a:cubicBezTo>
                    <a:pt x="211" y="301"/>
                    <a:pt x="213" y="301"/>
                    <a:pt x="214" y="301"/>
                  </a:cubicBezTo>
                  <a:cubicBezTo>
                    <a:pt x="216" y="300"/>
                    <a:pt x="220" y="301"/>
                    <a:pt x="217" y="290"/>
                  </a:cubicBezTo>
                  <a:cubicBezTo>
                    <a:pt x="214" y="279"/>
                    <a:pt x="215" y="256"/>
                    <a:pt x="213" y="253"/>
                  </a:cubicBezTo>
                  <a:close/>
                  <a:moveTo>
                    <a:pt x="18" y="33"/>
                  </a:moveTo>
                  <a:cubicBezTo>
                    <a:pt x="18" y="32"/>
                    <a:pt x="19" y="31"/>
                    <a:pt x="20" y="29"/>
                  </a:cubicBezTo>
                  <a:cubicBezTo>
                    <a:pt x="19" y="32"/>
                    <a:pt x="20" y="36"/>
                    <a:pt x="20" y="36"/>
                  </a:cubicBezTo>
                  <a:cubicBezTo>
                    <a:pt x="20" y="36"/>
                    <a:pt x="18" y="34"/>
                    <a:pt x="18" y="33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0" name="Freeform 156">
              <a:extLst>
                <a:ext uri="{FF2B5EF4-FFF2-40B4-BE49-F238E27FC236}">
                  <a16:creationId xmlns:a16="http://schemas.microsoft.com/office/drawing/2014/main" id="{73B2A7F4-4429-4F89-8F1F-2BB9D674FCED}"/>
                </a:ext>
              </a:extLst>
            </p:cNvPr>
            <p:cNvSpPr>
              <a:spLocks/>
            </p:cNvSpPr>
            <p:nvPr/>
          </p:nvSpPr>
          <p:spPr bwMode="gray">
            <a:xfrm>
              <a:off x="895277" y="2977561"/>
              <a:ext cx="493630" cy="714375"/>
            </a:xfrm>
            <a:custGeom>
              <a:avLst/>
              <a:gdLst>
                <a:gd name="T0" fmla="*/ 496 w 513"/>
                <a:gd name="T1" fmla="*/ 232 h 742"/>
                <a:gd name="T2" fmla="*/ 476 w 513"/>
                <a:gd name="T3" fmla="*/ 194 h 742"/>
                <a:gd name="T4" fmla="*/ 473 w 513"/>
                <a:gd name="T5" fmla="*/ 242 h 742"/>
                <a:gd name="T6" fmla="*/ 426 w 513"/>
                <a:gd name="T7" fmla="*/ 207 h 742"/>
                <a:gd name="T8" fmla="*/ 433 w 513"/>
                <a:gd name="T9" fmla="*/ 185 h 742"/>
                <a:gd name="T10" fmla="*/ 437 w 513"/>
                <a:gd name="T11" fmla="*/ 175 h 742"/>
                <a:gd name="T12" fmla="*/ 438 w 513"/>
                <a:gd name="T13" fmla="*/ 170 h 742"/>
                <a:gd name="T14" fmla="*/ 431 w 513"/>
                <a:gd name="T15" fmla="*/ 149 h 742"/>
                <a:gd name="T16" fmla="*/ 429 w 513"/>
                <a:gd name="T17" fmla="*/ 142 h 742"/>
                <a:gd name="T18" fmla="*/ 418 w 513"/>
                <a:gd name="T19" fmla="*/ 136 h 742"/>
                <a:gd name="T20" fmla="*/ 406 w 513"/>
                <a:gd name="T21" fmla="*/ 132 h 742"/>
                <a:gd name="T22" fmla="*/ 374 w 513"/>
                <a:gd name="T23" fmla="*/ 148 h 742"/>
                <a:gd name="T24" fmla="*/ 369 w 513"/>
                <a:gd name="T25" fmla="*/ 172 h 742"/>
                <a:gd name="T26" fmla="*/ 370 w 513"/>
                <a:gd name="T27" fmla="*/ 186 h 742"/>
                <a:gd name="T28" fmla="*/ 334 w 513"/>
                <a:gd name="T29" fmla="*/ 216 h 742"/>
                <a:gd name="T30" fmla="*/ 294 w 513"/>
                <a:gd name="T31" fmla="*/ 248 h 742"/>
                <a:gd name="T32" fmla="*/ 329 w 513"/>
                <a:gd name="T33" fmla="*/ 151 h 742"/>
                <a:gd name="T34" fmla="*/ 297 w 513"/>
                <a:gd name="T35" fmla="*/ 161 h 742"/>
                <a:gd name="T36" fmla="*/ 279 w 513"/>
                <a:gd name="T37" fmla="*/ 225 h 742"/>
                <a:gd name="T38" fmla="*/ 255 w 513"/>
                <a:gd name="T39" fmla="*/ 268 h 742"/>
                <a:gd name="T40" fmla="*/ 244 w 513"/>
                <a:gd name="T41" fmla="*/ 247 h 742"/>
                <a:gd name="T42" fmla="*/ 228 w 513"/>
                <a:gd name="T43" fmla="*/ 240 h 742"/>
                <a:gd name="T44" fmla="*/ 159 w 513"/>
                <a:gd name="T45" fmla="*/ 186 h 742"/>
                <a:gd name="T46" fmla="*/ 156 w 513"/>
                <a:gd name="T47" fmla="*/ 141 h 742"/>
                <a:gd name="T48" fmla="*/ 96 w 513"/>
                <a:gd name="T49" fmla="*/ 152 h 742"/>
                <a:gd name="T50" fmla="*/ 105 w 513"/>
                <a:gd name="T51" fmla="*/ 178 h 742"/>
                <a:gd name="T52" fmla="*/ 73 w 513"/>
                <a:gd name="T53" fmla="*/ 163 h 742"/>
                <a:gd name="T54" fmla="*/ 41 w 513"/>
                <a:gd name="T55" fmla="*/ 120 h 742"/>
                <a:gd name="T56" fmla="*/ 38 w 513"/>
                <a:gd name="T57" fmla="*/ 41 h 742"/>
                <a:gd name="T58" fmla="*/ 53 w 513"/>
                <a:gd name="T59" fmla="*/ 2 h 742"/>
                <a:gd name="T60" fmla="*/ 28 w 513"/>
                <a:gd name="T61" fmla="*/ 8 h 742"/>
                <a:gd name="T62" fmla="*/ 2 w 513"/>
                <a:gd name="T63" fmla="*/ 77 h 742"/>
                <a:gd name="T64" fmla="*/ 63 w 513"/>
                <a:gd name="T65" fmla="*/ 253 h 742"/>
                <a:gd name="T66" fmla="*/ 76 w 513"/>
                <a:gd name="T67" fmla="*/ 367 h 742"/>
                <a:gd name="T68" fmla="*/ 61 w 513"/>
                <a:gd name="T69" fmla="*/ 664 h 742"/>
                <a:gd name="T70" fmla="*/ 50 w 513"/>
                <a:gd name="T71" fmla="*/ 723 h 742"/>
                <a:gd name="T72" fmla="*/ 96 w 513"/>
                <a:gd name="T73" fmla="*/ 726 h 742"/>
                <a:gd name="T74" fmla="*/ 101 w 513"/>
                <a:gd name="T75" fmla="*/ 640 h 742"/>
                <a:gd name="T76" fmla="*/ 149 w 513"/>
                <a:gd name="T77" fmla="*/ 567 h 742"/>
                <a:gd name="T78" fmla="*/ 162 w 513"/>
                <a:gd name="T79" fmla="*/ 707 h 742"/>
                <a:gd name="T80" fmla="*/ 211 w 513"/>
                <a:gd name="T81" fmla="*/ 737 h 742"/>
                <a:gd name="T82" fmla="*/ 202 w 513"/>
                <a:gd name="T83" fmla="*/ 689 h 742"/>
                <a:gd name="T84" fmla="*/ 193 w 513"/>
                <a:gd name="T85" fmla="*/ 664 h 742"/>
                <a:gd name="T86" fmla="*/ 200 w 513"/>
                <a:gd name="T87" fmla="*/ 429 h 742"/>
                <a:gd name="T88" fmla="*/ 188 w 513"/>
                <a:gd name="T89" fmla="*/ 368 h 742"/>
                <a:gd name="T90" fmla="*/ 194 w 513"/>
                <a:gd name="T91" fmla="*/ 278 h 742"/>
                <a:gd name="T92" fmla="*/ 209 w 513"/>
                <a:gd name="T93" fmla="*/ 301 h 742"/>
                <a:gd name="T94" fmla="*/ 259 w 513"/>
                <a:gd name="T95" fmla="*/ 288 h 742"/>
                <a:gd name="T96" fmla="*/ 320 w 513"/>
                <a:gd name="T97" fmla="*/ 289 h 742"/>
                <a:gd name="T98" fmla="*/ 288 w 513"/>
                <a:gd name="T99" fmla="*/ 440 h 742"/>
                <a:gd name="T100" fmla="*/ 310 w 513"/>
                <a:gd name="T101" fmla="*/ 611 h 742"/>
                <a:gd name="T102" fmla="*/ 301 w 513"/>
                <a:gd name="T103" fmla="*/ 711 h 742"/>
                <a:gd name="T104" fmla="*/ 337 w 513"/>
                <a:gd name="T105" fmla="*/ 720 h 742"/>
                <a:gd name="T106" fmla="*/ 358 w 513"/>
                <a:gd name="T107" fmla="*/ 652 h 742"/>
                <a:gd name="T108" fmla="*/ 386 w 513"/>
                <a:gd name="T109" fmla="*/ 623 h 742"/>
                <a:gd name="T110" fmla="*/ 399 w 513"/>
                <a:gd name="T111" fmla="*/ 721 h 742"/>
                <a:gd name="T112" fmla="*/ 426 w 513"/>
                <a:gd name="T113" fmla="*/ 700 h 742"/>
                <a:gd name="T114" fmla="*/ 431 w 513"/>
                <a:gd name="T115" fmla="*/ 607 h 742"/>
                <a:gd name="T116" fmla="*/ 479 w 513"/>
                <a:gd name="T117" fmla="*/ 469 h 742"/>
                <a:gd name="T118" fmla="*/ 462 w 513"/>
                <a:gd name="T119" fmla="*/ 322 h 7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3" h="742">
                  <a:moveTo>
                    <a:pt x="508" y="280"/>
                  </a:moveTo>
                  <a:cubicBezTo>
                    <a:pt x="506" y="278"/>
                    <a:pt x="506" y="270"/>
                    <a:pt x="506" y="269"/>
                  </a:cubicBezTo>
                  <a:cubicBezTo>
                    <a:pt x="506" y="268"/>
                    <a:pt x="503" y="245"/>
                    <a:pt x="499" y="242"/>
                  </a:cubicBezTo>
                  <a:cubicBezTo>
                    <a:pt x="499" y="242"/>
                    <a:pt x="499" y="242"/>
                    <a:pt x="499" y="241"/>
                  </a:cubicBezTo>
                  <a:cubicBezTo>
                    <a:pt x="499" y="241"/>
                    <a:pt x="499" y="240"/>
                    <a:pt x="499" y="239"/>
                  </a:cubicBezTo>
                  <a:cubicBezTo>
                    <a:pt x="496" y="232"/>
                    <a:pt x="496" y="232"/>
                    <a:pt x="496" y="232"/>
                  </a:cubicBezTo>
                  <a:cubicBezTo>
                    <a:pt x="496" y="232"/>
                    <a:pt x="496" y="232"/>
                    <a:pt x="496" y="232"/>
                  </a:cubicBezTo>
                  <a:cubicBezTo>
                    <a:pt x="496" y="231"/>
                    <a:pt x="496" y="229"/>
                    <a:pt x="496" y="228"/>
                  </a:cubicBezTo>
                  <a:cubicBezTo>
                    <a:pt x="497" y="224"/>
                    <a:pt x="500" y="214"/>
                    <a:pt x="501" y="213"/>
                  </a:cubicBezTo>
                  <a:cubicBezTo>
                    <a:pt x="501" y="212"/>
                    <a:pt x="503" y="210"/>
                    <a:pt x="502" y="209"/>
                  </a:cubicBezTo>
                  <a:cubicBezTo>
                    <a:pt x="501" y="207"/>
                    <a:pt x="495" y="203"/>
                    <a:pt x="494" y="202"/>
                  </a:cubicBezTo>
                  <a:cubicBezTo>
                    <a:pt x="493" y="201"/>
                    <a:pt x="488" y="195"/>
                    <a:pt x="486" y="196"/>
                  </a:cubicBezTo>
                  <a:cubicBezTo>
                    <a:pt x="484" y="197"/>
                    <a:pt x="482" y="198"/>
                    <a:pt x="482" y="198"/>
                  </a:cubicBezTo>
                  <a:cubicBezTo>
                    <a:pt x="482" y="198"/>
                    <a:pt x="480" y="192"/>
                    <a:pt x="476" y="194"/>
                  </a:cubicBezTo>
                  <a:cubicBezTo>
                    <a:pt x="474" y="195"/>
                    <a:pt x="476" y="202"/>
                    <a:pt x="476" y="204"/>
                  </a:cubicBezTo>
                  <a:cubicBezTo>
                    <a:pt x="476" y="205"/>
                    <a:pt x="476" y="213"/>
                    <a:pt x="476" y="215"/>
                  </a:cubicBezTo>
                  <a:cubicBezTo>
                    <a:pt x="475" y="217"/>
                    <a:pt x="475" y="221"/>
                    <a:pt x="476" y="224"/>
                  </a:cubicBezTo>
                  <a:cubicBezTo>
                    <a:pt x="476" y="226"/>
                    <a:pt x="477" y="230"/>
                    <a:pt x="477" y="233"/>
                  </a:cubicBezTo>
                  <a:cubicBezTo>
                    <a:pt x="476" y="234"/>
                    <a:pt x="474" y="235"/>
                    <a:pt x="473" y="236"/>
                  </a:cubicBezTo>
                  <a:cubicBezTo>
                    <a:pt x="473" y="236"/>
                    <a:pt x="473" y="238"/>
                    <a:pt x="474" y="240"/>
                  </a:cubicBezTo>
                  <a:cubicBezTo>
                    <a:pt x="473" y="241"/>
                    <a:pt x="473" y="241"/>
                    <a:pt x="473" y="242"/>
                  </a:cubicBezTo>
                  <a:cubicBezTo>
                    <a:pt x="473" y="249"/>
                    <a:pt x="473" y="249"/>
                    <a:pt x="473" y="249"/>
                  </a:cubicBezTo>
                  <a:cubicBezTo>
                    <a:pt x="473" y="249"/>
                    <a:pt x="463" y="243"/>
                    <a:pt x="456" y="240"/>
                  </a:cubicBezTo>
                  <a:cubicBezTo>
                    <a:pt x="449" y="236"/>
                    <a:pt x="436" y="236"/>
                    <a:pt x="436" y="236"/>
                  </a:cubicBezTo>
                  <a:cubicBezTo>
                    <a:pt x="436" y="236"/>
                    <a:pt x="429" y="230"/>
                    <a:pt x="427" y="229"/>
                  </a:cubicBezTo>
                  <a:cubicBezTo>
                    <a:pt x="425" y="229"/>
                    <a:pt x="425" y="222"/>
                    <a:pt x="420" y="219"/>
                  </a:cubicBezTo>
                  <a:cubicBezTo>
                    <a:pt x="422" y="217"/>
                    <a:pt x="424" y="212"/>
                    <a:pt x="425" y="210"/>
                  </a:cubicBezTo>
                  <a:cubicBezTo>
                    <a:pt x="425" y="208"/>
                    <a:pt x="426" y="207"/>
                    <a:pt x="426" y="207"/>
                  </a:cubicBezTo>
                  <a:cubicBezTo>
                    <a:pt x="426" y="207"/>
                    <a:pt x="426" y="207"/>
                    <a:pt x="427" y="207"/>
                  </a:cubicBezTo>
                  <a:cubicBezTo>
                    <a:pt x="428" y="207"/>
                    <a:pt x="429" y="205"/>
                    <a:pt x="429" y="204"/>
                  </a:cubicBezTo>
                  <a:cubicBezTo>
                    <a:pt x="429" y="203"/>
                    <a:pt x="429" y="200"/>
                    <a:pt x="429" y="199"/>
                  </a:cubicBezTo>
                  <a:cubicBezTo>
                    <a:pt x="429" y="198"/>
                    <a:pt x="429" y="197"/>
                    <a:pt x="430" y="196"/>
                  </a:cubicBezTo>
                  <a:cubicBezTo>
                    <a:pt x="430" y="195"/>
                    <a:pt x="431" y="193"/>
                    <a:pt x="431" y="192"/>
                  </a:cubicBezTo>
                  <a:cubicBezTo>
                    <a:pt x="431" y="191"/>
                    <a:pt x="431" y="189"/>
                    <a:pt x="431" y="189"/>
                  </a:cubicBezTo>
                  <a:cubicBezTo>
                    <a:pt x="431" y="188"/>
                    <a:pt x="433" y="187"/>
                    <a:pt x="433" y="185"/>
                  </a:cubicBezTo>
                  <a:cubicBezTo>
                    <a:pt x="434" y="183"/>
                    <a:pt x="434" y="182"/>
                    <a:pt x="434" y="182"/>
                  </a:cubicBezTo>
                  <a:cubicBezTo>
                    <a:pt x="434" y="182"/>
                    <a:pt x="434" y="181"/>
                    <a:pt x="434" y="181"/>
                  </a:cubicBezTo>
                  <a:cubicBezTo>
                    <a:pt x="434" y="181"/>
                    <a:pt x="435" y="180"/>
                    <a:pt x="435" y="180"/>
                  </a:cubicBezTo>
                  <a:cubicBezTo>
                    <a:pt x="435" y="180"/>
                    <a:pt x="435" y="179"/>
                    <a:pt x="435" y="179"/>
                  </a:cubicBezTo>
                  <a:cubicBezTo>
                    <a:pt x="436" y="178"/>
                    <a:pt x="436" y="178"/>
                    <a:pt x="436" y="178"/>
                  </a:cubicBezTo>
                  <a:cubicBezTo>
                    <a:pt x="437" y="177"/>
                    <a:pt x="437" y="177"/>
                    <a:pt x="437" y="177"/>
                  </a:cubicBezTo>
                  <a:cubicBezTo>
                    <a:pt x="437" y="175"/>
                    <a:pt x="437" y="175"/>
                    <a:pt x="437" y="175"/>
                  </a:cubicBezTo>
                  <a:cubicBezTo>
                    <a:pt x="437" y="175"/>
                    <a:pt x="437" y="175"/>
                    <a:pt x="437" y="175"/>
                  </a:cubicBezTo>
                  <a:cubicBezTo>
                    <a:pt x="437" y="175"/>
                    <a:pt x="437" y="173"/>
                    <a:pt x="437" y="173"/>
                  </a:cubicBezTo>
                  <a:cubicBezTo>
                    <a:pt x="438" y="174"/>
                    <a:pt x="438" y="174"/>
                    <a:pt x="438" y="174"/>
                  </a:cubicBezTo>
                  <a:cubicBezTo>
                    <a:pt x="438" y="173"/>
                    <a:pt x="438" y="173"/>
                    <a:pt x="438" y="173"/>
                  </a:cubicBezTo>
                  <a:cubicBezTo>
                    <a:pt x="438" y="173"/>
                    <a:pt x="438" y="171"/>
                    <a:pt x="438" y="171"/>
                  </a:cubicBezTo>
                  <a:cubicBezTo>
                    <a:pt x="438" y="170"/>
                    <a:pt x="438" y="169"/>
                    <a:pt x="438" y="169"/>
                  </a:cubicBezTo>
                  <a:cubicBezTo>
                    <a:pt x="438" y="170"/>
                    <a:pt x="438" y="170"/>
                    <a:pt x="438" y="170"/>
                  </a:cubicBezTo>
                  <a:cubicBezTo>
                    <a:pt x="438" y="170"/>
                    <a:pt x="438" y="169"/>
                    <a:pt x="438" y="168"/>
                  </a:cubicBezTo>
                  <a:cubicBezTo>
                    <a:pt x="437" y="166"/>
                    <a:pt x="437" y="164"/>
                    <a:pt x="437" y="164"/>
                  </a:cubicBezTo>
                  <a:cubicBezTo>
                    <a:pt x="437" y="164"/>
                    <a:pt x="438" y="165"/>
                    <a:pt x="437" y="164"/>
                  </a:cubicBezTo>
                  <a:cubicBezTo>
                    <a:pt x="437" y="164"/>
                    <a:pt x="437" y="163"/>
                    <a:pt x="437" y="163"/>
                  </a:cubicBezTo>
                  <a:cubicBezTo>
                    <a:pt x="437" y="163"/>
                    <a:pt x="438" y="163"/>
                    <a:pt x="437" y="163"/>
                  </a:cubicBezTo>
                  <a:cubicBezTo>
                    <a:pt x="437" y="162"/>
                    <a:pt x="437" y="161"/>
                    <a:pt x="436" y="157"/>
                  </a:cubicBezTo>
                  <a:cubicBezTo>
                    <a:pt x="436" y="153"/>
                    <a:pt x="431" y="149"/>
                    <a:pt x="431" y="149"/>
                  </a:cubicBezTo>
                  <a:cubicBezTo>
                    <a:pt x="433" y="149"/>
                    <a:pt x="436" y="155"/>
                    <a:pt x="436" y="155"/>
                  </a:cubicBezTo>
                  <a:cubicBezTo>
                    <a:pt x="436" y="154"/>
                    <a:pt x="436" y="153"/>
                    <a:pt x="435" y="151"/>
                  </a:cubicBezTo>
                  <a:cubicBezTo>
                    <a:pt x="434" y="150"/>
                    <a:pt x="432" y="148"/>
                    <a:pt x="431" y="147"/>
                  </a:cubicBezTo>
                  <a:cubicBezTo>
                    <a:pt x="430" y="146"/>
                    <a:pt x="429" y="145"/>
                    <a:pt x="429" y="145"/>
                  </a:cubicBezTo>
                  <a:cubicBezTo>
                    <a:pt x="429" y="145"/>
                    <a:pt x="429" y="144"/>
                    <a:pt x="429" y="143"/>
                  </a:cubicBezTo>
                  <a:cubicBezTo>
                    <a:pt x="429" y="143"/>
                    <a:pt x="429" y="143"/>
                    <a:pt x="428" y="142"/>
                  </a:cubicBezTo>
                  <a:cubicBezTo>
                    <a:pt x="428" y="142"/>
                    <a:pt x="429" y="142"/>
                    <a:pt x="429" y="142"/>
                  </a:cubicBezTo>
                  <a:cubicBezTo>
                    <a:pt x="429" y="142"/>
                    <a:pt x="428" y="141"/>
                    <a:pt x="427" y="141"/>
                  </a:cubicBezTo>
                  <a:cubicBezTo>
                    <a:pt x="427" y="141"/>
                    <a:pt x="426" y="140"/>
                    <a:pt x="425" y="140"/>
                  </a:cubicBezTo>
                  <a:cubicBezTo>
                    <a:pt x="425" y="140"/>
                    <a:pt x="423" y="140"/>
                    <a:pt x="422" y="139"/>
                  </a:cubicBezTo>
                  <a:cubicBezTo>
                    <a:pt x="421" y="137"/>
                    <a:pt x="425" y="139"/>
                    <a:pt x="425" y="139"/>
                  </a:cubicBezTo>
                  <a:cubicBezTo>
                    <a:pt x="425" y="138"/>
                    <a:pt x="423" y="137"/>
                    <a:pt x="422" y="137"/>
                  </a:cubicBezTo>
                  <a:cubicBezTo>
                    <a:pt x="422" y="137"/>
                    <a:pt x="420" y="138"/>
                    <a:pt x="420" y="138"/>
                  </a:cubicBezTo>
                  <a:cubicBezTo>
                    <a:pt x="419" y="137"/>
                    <a:pt x="419" y="137"/>
                    <a:pt x="418" y="136"/>
                  </a:cubicBezTo>
                  <a:cubicBezTo>
                    <a:pt x="418" y="135"/>
                    <a:pt x="415" y="134"/>
                    <a:pt x="415" y="134"/>
                  </a:cubicBezTo>
                  <a:cubicBezTo>
                    <a:pt x="415" y="134"/>
                    <a:pt x="416" y="135"/>
                    <a:pt x="416" y="135"/>
                  </a:cubicBezTo>
                  <a:cubicBezTo>
                    <a:pt x="415" y="134"/>
                    <a:pt x="412" y="133"/>
                    <a:pt x="412" y="133"/>
                  </a:cubicBezTo>
                  <a:cubicBezTo>
                    <a:pt x="412" y="133"/>
                    <a:pt x="411" y="134"/>
                    <a:pt x="411" y="134"/>
                  </a:cubicBezTo>
                  <a:cubicBezTo>
                    <a:pt x="410" y="134"/>
                    <a:pt x="408" y="132"/>
                    <a:pt x="408" y="132"/>
                  </a:cubicBezTo>
                  <a:cubicBezTo>
                    <a:pt x="408" y="132"/>
                    <a:pt x="410" y="134"/>
                    <a:pt x="409" y="133"/>
                  </a:cubicBezTo>
                  <a:cubicBezTo>
                    <a:pt x="408" y="133"/>
                    <a:pt x="406" y="133"/>
                    <a:pt x="406" y="132"/>
                  </a:cubicBezTo>
                  <a:cubicBezTo>
                    <a:pt x="406" y="133"/>
                    <a:pt x="408" y="133"/>
                    <a:pt x="407" y="133"/>
                  </a:cubicBezTo>
                  <a:cubicBezTo>
                    <a:pt x="406" y="133"/>
                    <a:pt x="404" y="132"/>
                    <a:pt x="404" y="132"/>
                  </a:cubicBezTo>
                  <a:cubicBezTo>
                    <a:pt x="405" y="133"/>
                    <a:pt x="406" y="133"/>
                    <a:pt x="406" y="133"/>
                  </a:cubicBezTo>
                  <a:cubicBezTo>
                    <a:pt x="406" y="133"/>
                    <a:pt x="405" y="133"/>
                    <a:pt x="403" y="133"/>
                  </a:cubicBezTo>
                  <a:cubicBezTo>
                    <a:pt x="402" y="133"/>
                    <a:pt x="396" y="134"/>
                    <a:pt x="394" y="135"/>
                  </a:cubicBezTo>
                  <a:cubicBezTo>
                    <a:pt x="392" y="135"/>
                    <a:pt x="391" y="136"/>
                    <a:pt x="384" y="139"/>
                  </a:cubicBezTo>
                  <a:cubicBezTo>
                    <a:pt x="378" y="142"/>
                    <a:pt x="375" y="147"/>
                    <a:pt x="374" y="148"/>
                  </a:cubicBezTo>
                  <a:cubicBezTo>
                    <a:pt x="373" y="149"/>
                    <a:pt x="371" y="152"/>
                    <a:pt x="371" y="154"/>
                  </a:cubicBezTo>
                  <a:cubicBezTo>
                    <a:pt x="370" y="156"/>
                    <a:pt x="368" y="160"/>
                    <a:pt x="368" y="162"/>
                  </a:cubicBezTo>
                  <a:cubicBezTo>
                    <a:pt x="368" y="164"/>
                    <a:pt x="367" y="165"/>
                    <a:pt x="367" y="165"/>
                  </a:cubicBezTo>
                  <a:cubicBezTo>
                    <a:pt x="368" y="165"/>
                    <a:pt x="368" y="165"/>
                    <a:pt x="368" y="165"/>
                  </a:cubicBezTo>
                  <a:cubicBezTo>
                    <a:pt x="368" y="165"/>
                    <a:pt x="368" y="169"/>
                    <a:pt x="368" y="169"/>
                  </a:cubicBezTo>
                  <a:cubicBezTo>
                    <a:pt x="368" y="170"/>
                    <a:pt x="368" y="171"/>
                    <a:pt x="368" y="171"/>
                  </a:cubicBezTo>
                  <a:cubicBezTo>
                    <a:pt x="368" y="171"/>
                    <a:pt x="369" y="172"/>
                    <a:pt x="369" y="172"/>
                  </a:cubicBezTo>
                  <a:cubicBezTo>
                    <a:pt x="369" y="173"/>
                    <a:pt x="369" y="173"/>
                    <a:pt x="369" y="173"/>
                  </a:cubicBezTo>
                  <a:cubicBezTo>
                    <a:pt x="369" y="173"/>
                    <a:pt x="369" y="173"/>
                    <a:pt x="369" y="174"/>
                  </a:cubicBezTo>
                  <a:cubicBezTo>
                    <a:pt x="369" y="174"/>
                    <a:pt x="369" y="175"/>
                    <a:pt x="369" y="175"/>
                  </a:cubicBezTo>
                  <a:cubicBezTo>
                    <a:pt x="369" y="175"/>
                    <a:pt x="370" y="175"/>
                    <a:pt x="370" y="175"/>
                  </a:cubicBezTo>
                  <a:cubicBezTo>
                    <a:pt x="370" y="176"/>
                    <a:pt x="370" y="176"/>
                    <a:pt x="370" y="176"/>
                  </a:cubicBezTo>
                  <a:cubicBezTo>
                    <a:pt x="370" y="176"/>
                    <a:pt x="369" y="177"/>
                    <a:pt x="369" y="178"/>
                  </a:cubicBezTo>
                  <a:cubicBezTo>
                    <a:pt x="369" y="179"/>
                    <a:pt x="370" y="183"/>
                    <a:pt x="370" y="186"/>
                  </a:cubicBezTo>
                  <a:cubicBezTo>
                    <a:pt x="370" y="188"/>
                    <a:pt x="371" y="194"/>
                    <a:pt x="371" y="195"/>
                  </a:cubicBezTo>
                  <a:cubicBezTo>
                    <a:pt x="371" y="196"/>
                    <a:pt x="370" y="198"/>
                    <a:pt x="371" y="201"/>
                  </a:cubicBezTo>
                  <a:cubicBezTo>
                    <a:pt x="372" y="203"/>
                    <a:pt x="374" y="203"/>
                    <a:pt x="374" y="203"/>
                  </a:cubicBezTo>
                  <a:cubicBezTo>
                    <a:pt x="374" y="206"/>
                    <a:pt x="376" y="214"/>
                    <a:pt x="376" y="215"/>
                  </a:cubicBezTo>
                  <a:cubicBezTo>
                    <a:pt x="376" y="216"/>
                    <a:pt x="376" y="216"/>
                    <a:pt x="376" y="216"/>
                  </a:cubicBezTo>
                  <a:cubicBezTo>
                    <a:pt x="374" y="216"/>
                    <a:pt x="373" y="216"/>
                    <a:pt x="373" y="216"/>
                  </a:cubicBezTo>
                  <a:cubicBezTo>
                    <a:pt x="373" y="216"/>
                    <a:pt x="344" y="210"/>
                    <a:pt x="334" y="216"/>
                  </a:cubicBezTo>
                  <a:cubicBezTo>
                    <a:pt x="333" y="216"/>
                    <a:pt x="333" y="216"/>
                    <a:pt x="333" y="216"/>
                  </a:cubicBezTo>
                  <a:cubicBezTo>
                    <a:pt x="329" y="216"/>
                    <a:pt x="326" y="220"/>
                    <a:pt x="325" y="225"/>
                  </a:cubicBezTo>
                  <a:cubicBezTo>
                    <a:pt x="324" y="229"/>
                    <a:pt x="321" y="230"/>
                    <a:pt x="319" y="232"/>
                  </a:cubicBezTo>
                  <a:cubicBezTo>
                    <a:pt x="316" y="234"/>
                    <a:pt x="314" y="236"/>
                    <a:pt x="314" y="237"/>
                  </a:cubicBezTo>
                  <a:cubicBezTo>
                    <a:pt x="311" y="241"/>
                    <a:pt x="311" y="241"/>
                    <a:pt x="311" y="241"/>
                  </a:cubicBezTo>
                  <a:cubicBezTo>
                    <a:pt x="311" y="241"/>
                    <a:pt x="309" y="241"/>
                    <a:pt x="307" y="242"/>
                  </a:cubicBezTo>
                  <a:cubicBezTo>
                    <a:pt x="304" y="243"/>
                    <a:pt x="296" y="247"/>
                    <a:pt x="294" y="248"/>
                  </a:cubicBezTo>
                  <a:cubicBezTo>
                    <a:pt x="295" y="245"/>
                    <a:pt x="297" y="237"/>
                    <a:pt x="297" y="235"/>
                  </a:cubicBezTo>
                  <a:cubicBezTo>
                    <a:pt x="298" y="233"/>
                    <a:pt x="300" y="228"/>
                    <a:pt x="300" y="227"/>
                  </a:cubicBezTo>
                  <a:cubicBezTo>
                    <a:pt x="300" y="227"/>
                    <a:pt x="308" y="212"/>
                    <a:pt x="310" y="209"/>
                  </a:cubicBezTo>
                  <a:cubicBezTo>
                    <a:pt x="313" y="207"/>
                    <a:pt x="316" y="198"/>
                    <a:pt x="317" y="195"/>
                  </a:cubicBezTo>
                  <a:cubicBezTo>
                    <a:pt x="318" y="193"/>
                    <a:pt x="320" y="187"/>
                    <a:pt x="321" y="184"/>
                  </a:cubicBezTo>
                  <a:cubicBezTo>
                    <a:pt x="324" y="179"/>
                    <a:pt x="328" y="171"/>
                    <a:pt x="329" y="168"/>
                  </a:cubicBezTo>
                  <a:cubicBezTo>
                    <a:pt x="331" y="163"/>
                    <a:pt x="333" y="151"/>
                    <a:pt x="329" y="151"/>
                  </a:cubicBezTo>
                  <a:cubicBezTo>
                    <a:pt x="323" y="149"/>
                    <a:pt x="325" y="163"/>
                    <a:pt x="318" y="170"/>
                  </a:cubicBezTo>
                  <a:cubicBezTo>
                    <a:pt x="316" y="172"/>
                    <a:pt x="316" y="171"/>
                    <a:pt x="318" y="168"/>
                  </a:cubicBezTo>
                  <a:cubicBezTo>
                    <a:pt x="319" y="164"/>
                    <a:pt x="312" y="141"/>
                    <a:pt x="307" y="145"/>
                  </a:cubicBezTo>
                  <a:cubicBezTo>
                    <a:pt x="302" y="150"/>
                    <a:pt x="310" y="159"/>
                    <a:pt x="310" y="162"/>
                  </a:cubicBezTo>
                  <a:cubicBezTo>
                    <a:pt x="309" y="165"/>
                    <a:pt x="308" y="170"/>
                    <a:pt x="308" y="170"/>
                  </a:cubicBezTo>
                  <a:cubicBezTo>
                    <a:pt x="308" y="170"/>
                    <a:pt x="301" y="151"/>
                    <a:pt x="297" y="149"/>
                  </a:cubicBezTo>
                  <a:cubicBezTo>
                    <a:pt x="297" y="149"/>
                    <a:pt x="291" y="152"/>
                    <a:pt x="297" y="161"/>
                  </a:cubicBezTo>
                  <a:cubicBezTo>
                    <a:pt x="300" y="165"/>
                    <a:pt x="298" y="172"/>
                    <a:pt x="298" y="172"/>
                  </a:cubicBezTo>
                  <a:cubicBezTo>
                    <a:pt x="298" y="172"/>
                    <a:pt x="292" y="158"/>
                    <a:pt x="288" y="159"/>
                  </a:cubicBezTo>
                  <a:cubicBezTo>
                    <a:pt x="285" y="160"/>
                    <a:pt x="290" y="170"/>
                    <a:pt x="292" y="173"/>
                  </a:cubicBezTo>
                  <a:cubicBezTo>
                    <a:pt x="294" y="176"/>
                    <a:pt x="284" y="192"/>
                    <a:pt x="287" y="198"/>
                  </a:cubicBezTo>
                  <a:cubicBezTo>
                    <a:pt x="288" y="201"/>
                    <a:pt x="288" y="205"/>
                    <a:pt x="287" y="207"/>
                  </a:cubicBezTo>
                  <a:cubicBezTo>
                    <a:pt x="286" y="208"/>
                    <a:pt x="282" y="217"/>
                    <a:pt x="282" y="218"/>
                  </a:cubicBezTo>
                  <a:cubicBezTo>
                    <a:pt x="282" y="219"/>
                    <a:pt x="280" y="222"/>
                    <a:pt x="279" y="225"/>
                  </a:cubicBezTo>
                  <a:cubicBezTo>
                    <a:pt x="278" y="225"/>
                    <a:pt x="277" y="225"/>
                    <a:pt x="277" y="225"/>
                  </a:cubicBezTo>
                  <a:cubicBezTo>
                    <a:pt x="277" y="225"/>
                    <a:pt x="274" y="230"/>
                    <a:pt x="272" y="235"/>
                  </a:cubicBezTo>
                  <a:cubicBezTo>
                    <a:pt x="271" y="235"/>
                    <a:pt x="270" y="236"/>
                    <a:pt x="270" y="236"/>
                  </a:cubicBezTo>
                  <a:cubicBezTo>
                    <a:pt x="263" y="241"/>
                    <a:pt x="263" y="241"/>
                    <a:pt x="263" y="241"/>
                  </a:cubicBezTo>
                  <a:cubicBezTo>
                    <a:pt x="263" y="241"/>
                    <a:pt x="261" y="252"/>
                    <a:pt x="261" y="253"/>
                  </a:cubicBezTo>
                  <a:cubicBezTo>
                    <a:pt x="261" y="254"/>
                    <a:pt x="260" y="256"/>
                    <a:pt x="259" y="259"/>
                  </a:cubicBezTo>
                  <a:cubicBezTo>
                    <a:pt x="259" y="261"/>
                    <a:pt x="256" y="265"/>
                    <a:pt x="255" y="268"/>
                  </a:cubicBezTo>
                  <a:cubicBezTo>
                    <a:pt x="255" y="269"/>
                    <a:pt x="253" y="273"/>
                    <a:pt x="253" y="274"/>
                  </a:cubicBezTo>
                  <a:cubicBezTo>
                    <a:pt x="252" y="271"/>
                    <a:pt x="250" y="267"/>
                    <a:pt x="250" y="267"/>
                  </a:cubicBezTo>
                  <a:cubicBezTo>
                    <a:pt x="248" y="259"/>
                    <a:pt x="248" y="259"/>
                    <a:pt x="248" y="259"/>
                  </a:cubicBezTo>
                  <a:cubicBezTo>
                    <a:pt x="248" y="259"/>
                    <a:pt x="248" y="258"/>
                    <a:pt x="248" y="257"/>
                  </a:cubicBezTo>
                  <a:cubicBezTo>
                    <a:pt x="249" y="254"/>
                    <a:pt x="244" y="249"/>
                    <a:pt x="244" y="249"/>
                  </a:cubicBezTo>
                  <a:cubicBezTo>
                    <a:pt x="244" y="249"/>
                    <a:pt x="244" y="249"/>
                    <a:pt x="244" y="249"/>
                  </a:cubicBezTo>
                  <a:cubicBezTo>
                    <a:pt x="244" y="248"/>
                    <a:pt x="244" y="247"/>
                    <a:pt x="244" y="247"/>
                  </a:cubicBezTo>
                  <a:cubicBezTo>
                    <a:pt x="246" y="246"/>
                    <a:pt x="251" y="242"/>
                    <a:pt x="251" y="241"/>
                  </a:cubicBezTo>
                  <a:cubicBezTo>
                    <a:pt x="252" y="241"/>
                    <a:pt x="256" y="240"/>
                    <a:pt x="257" y="240"/>
                  </a:cubicBezTo>
                  <a:cubicBezTo>
                    <a:pt x="259" y="239"/>
                    <a:pt x="259" y="237"/>
                    <a:pt x="261" y="235"/>
                  </a:cubicBezTo>
                  <a:cubicBezTo>
                    <a:pt x="264" y="234"/>
                    <a:pt x="263" y="232"/>
                    <a:pt x="263" y="229"/>
                  </a:cubicBezTo>
                  <a:cubicBezTo>
                    <a:pt x="264" y="226"/>
                    <a:pt x="263" y="220"/>
                    <a:pt x="260" y="219"/>
                  </a:cubicBezTo>
                  <a:cubicBezTo>
                    <a:pt x="257" y="218"/>
                    <a:pt x="237" y="231"/>
                    <a:pt x="236" y="232"/>
                  </a:cubicBezTo>
                  <a:cubicBezTo>
                    <a:pt x="235" y="233"/>
                    <a:pt x="229" y="239"/>
                    <a:pt x="228" y="240"/>
                  </a:cubicBezTo>
                  <a:cubicBezTo>
                    <a:pt x="228" y="240"/>
                    <a:pt x="228" y="241"/>
                    <a:pt x="228" y="241"/>
                  </a:cubicBezTo>
                  <a:cubicBezTo>
                    <a:pt x="227" y="239"/>
                    <a:pt x="221" y="232"/>
                    <a:pt x="221" y="230"/>
                  </a:cubicBezTo>
                  <a:cubicBezTo>
                    <a:pt x="221" y="227"/>
                    <a:pt x="218" y="213"/>
                    <a:pt x="218" y="213"/>
                  </a:cubicBezTo>
                  <a:cubicBezTo>
                    <a:pt x="218" y="213"/>
                    <a:pt x="210" y="204"/>
                    <a:pt x="209" y="202"/>
                  </a:cubicBezTo>
                  <a:cubicBezTo>
                    <a:pt x="208" y="200"/>
                    <a:pt x="203" y="197"/>
                    <a:pt x="202" y="196"/>
                  </a:cubicBezTo>
                  <a:cubicBezTo>
                    <a:pt x="200" y="196"/>
                    <a:pt x="188" y="192"/>
                    <a:pt x="186" y="192"/>
                  </a:cubicBezTo>
                  <a:cubicBezTo>
                    <a:pt x="184" y="192"/>
                    <a:pt x="161" y="187"/>
                    <a:pt x="159" y="186"/>
                  </a:cubicBezTo>
                  <a:cubicBezTo>
                    <a:pt x="157" y="186"/>
                    <a:pt x="153" y="172"/>
                    <a:pt x="153" y="172"/>
                  </a:cubicBezTo>
                  <a:cubicBezTo>
                    <a:pt x="152" y="172"/>
                    <a:pt x="152" y="172"/>
                    <a:pt x="151" y="172"/>
                  </a:cubicBezTo>
                  <a:cubicBezTo>
                    <a:pt x="153" y="165"/>
                    <a:pt x="153" y="157"/>
                    <a:pt x="153" y="157"/>
                  </a:cubicBezTo>
                  <a:cubicBezTo>
                    <a:pt x="153" y="157"/>
                    <a:pt x="153" y="157"/>
                    <a:pt x="154" y="157"/>
                  </a:cubicBezTo>
                  <a:cubicBezTo>
                    <a:pt x="155" y="156"/>
                    <a:pt x="155" y="155"/>
                    <a:pt x="156" y="153"/>
                  </a:cubicBezTo>
                  <a:cubicBezTo>
                    <a:pt x="156" y="151"/>
                    <a:pt x="157" y="149"/>
                    <a:pt x="157" y="147"/>
                  </a:cubicBezTo>
                  <a:cubicBezTo>
                    <a:pt x="156" y="146"/>
                    <a:pt x="156" y="143"/>
                    <a:pt x="156" y="141"/>
                  </a:cubicBezTo>
                  <a:cubicBezTo>
                    <a:pt x="155" y="140"/>
                    <a:pt x="156" y="137"/>
                    <a:pt x="154" y="137"/>
                  </a:cubicBezTo>
                  <a:cubicBezTo>
                    <a:pt x="153" y="136"/>
                    <a:pt x="151" y="138"/>
                    <a:pt x="151" y="138"/>
                  </a:cubicBezTo>
                  <a:cubicBezTo>
                    <a:pt x="151" y="138"/>
                    <a:pt x="148" y="123"/>
                    <a:pt x="146" y="116"/>
                  </a:cubicBezTo>
                  <a:cubicBezTo>
                    <a:pt x="143" y="110"/>
                    <a:pt x="130" y="103"/>
                    <a:pt x="117" y="106"/>
                  </a:cubicBezTo>
                  <a:cubicBezTo>
                    <a:pt x="105" y="108"/>
                    <a:pt x="96" y="120"/>
                    <a:pt x="95" y="128"/>
                  </a:cubicBezTo>
                  <a:cubicBezTo>
                    <a:pt x="94" y="136"/>
                    <a:pt x="99" y="149"/>
                    <a:pt x="99" y="149"/>
                  </a:cubicBezTo>
                  <a:cubicBezTo>
                    <a:pt x="96" y="148"/>
                    <a:pt x="96" y="150"/>
                    <a:pt x="96" y="152"/>
                  </a:cubicBezTo>
                  <a:cubicBezTo>
                    <a:pt x="96" y="154"/>
                    <a:pt x="101" y="165"/>
                    <a:pt x="103" y="166"/>
                  </a:cubicBezTo>
                  <a:cubicBezTo>
                    <a:pt x="104" y="167"/>
                    <a:pt x="105" y="167"/>
                    <a:pt x="106" y="168"/>
                  </a:cubicBezTo>
                  <a:cubicBezTo>
                    <a:pt x="106" y="168"/>
                    <a:pt x="109" y="174"/>
                    <a:pt x="110" y="176"/>
                  </a:cubicBezTo>
                  <a:cubicBezTo>
                    <a:pt x="110" y="176"/>
                    <a:pt x="110" y="178"/>
                    <a:pt x="111" y="179"/>
                  </a:cubicBezTo>
                  <a:cubicBezTo>
                    <a:pt x="108" y="182"/>
                    <a:pt x="110" y="183"/>
                    <a:pt x="110" y="183"/>
                  </a:cubicBezTo>
                  <a:cubicBezTo>
                    <a:pt x="106" y="181"/>
                    <a:pt x="106" y="181"/>
                    <a:pt x="106" y="181"/>
                  </a:cubicBezTo>
                  <a:cubicBezTo>
                    <a:pt x="105" y="178"/>
                    <a:pt x="105" y="178"/>
                    <a:pt x="105" y="178"/>
                  </a:cubicBezTo>
                  <a:cubicBezTo>
                    <a:pt x="105" y="178"/>
                    <a:pt x="105" y="178"/>
                    <a:pt x="105" y="178"/>
                  </a:cubicBezTo>
                  <a:cubicBezTo>
                    <a:pt x="105" y="178"/>
                    <a:pt x="105" y="178"/>
                    <a:pt x="105" y="178"/>
                  </a:cubicBezTo>
                  <a:cubicBezTo>
                    <a:pt x="104" y="176"/>
                    <a:pt x="104" y="176"/>
                    <a:pt x="104" y="176"/>
                  </a:cubicBezTo>
                  <a:cubicBezTo>
                    <a:pt x="104" y="176"/>
                    <a:pt x="98" y="173"/>
                    <a:pt x="97" y="173"/>
                  </a:cubicBezTo>
                  <a:cubicBezTo>
                    <a:pt x="96" y="173"/>
                    <a:pt x="89" y="173"/>
                    <a:pt x="89" y="173"/>
                  </a:cubicBezTo>
                  <a:cubicBezTo>
                    <a:pt x="89" y="173"/>
                    <a:pt x="85" y="170"/>
                    <a:pt x="83" y="169"/>
                  </a:cubicBezTo>
                  <a:cubicBezTo>
                    <a:pt x="81" y="168"/>
                    <a:pt x="73" y="163"/>
                    <a:pt x="73" y="163"/>
                  </a:cubicBezTo>
                  <a:cubicBezTo>
                    <a:pt x="73" y="163"/>
                    <a:pt x="69" y="158"/>
                    <a:pt x="67" y="157"/>
                  </a:cubicBezTo>
                  <a:cubicBezTo>
                    <a:pt x="64" y="156"/>
                    <a:pt x="58" y="151"/>
                    <a:pt x="55" y="145"/>
                  </a:cubicBezTo>
                  <a:cubicBezTo>
                    <a:pt x="53" y="140"/>
                    <a:pt x="46" y="135"/>
                    <a:pt x="46" y="135"/>
                  </a:cubicBezTo>
                  <a:cubicBezTo>
                    <a:pt x="46" y="135"/>
                    <a:pt x="46" y="131"/>
                    <a:pt x="44" y="129"/>
                  </a:cubicBezTo>
                  <a:cubicBezTo>
                    <a:pt x="44" y="129"/>
                    <a:pt x="43" y="128"/>
                    <a:pt x="43" y="128"/>
                  </a:cubicBezTo>
                  <a:cubicBezTo>
                    <a:pt x="43" y="127"/>
                    <a:pt x="42" y="123"/>
                    <a:pt x="41" y="121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3" y="105"/>
                    <a:pt x="41" y="99"/>
                  </a:cubicBezTo>
                  <a:cubicBezTo>
                    <a:pt x="39" y="94"/>
                    <a:pt x="40" y="90"/>
                    <a:pt x="38" y="86"/>
                  </a:cubicBezTo>
                  <a:cubicBezTo>
                    <a:pt x="37" y="82"/>
                    <a:pt x="35" y="80"/>
                    <a:pt x="35" y="80"/>
                  </a:cubicBezTo>
                  <a:cubicBezTo>
                    <a:pt x="35" y="80"/>
                    <a:pt x="36" y="68"/>
                    <a:pt x="36" y="63"/>
                  </a:cubicBezTo>
                  <a:cubicBezTo>
                    <a:pt x="36" y="61"/>
                    <a:pt x="36" y="59"/>
                    <a:pt x="36" y="58"/>
                  </a:cubicBezTo>
                  <a:cubicBezTo>
                    <a:pt x="36" y="54"/>
                    <a:pt x="36" y="49"/>
                    <a:pt x="36" y="48"/>
                  </a:cubicBezTo>
                  <a:cubicBezTo>
                    <a:pt x="37" y="47"/>
                    <a:pt x="38" y="43"/>
                    <a:pt x="38" y="41"/>
                  </a:cubicBezTo>
                  <a:cubicBezTo>
                    <a:pt x="39" y="40"/>
                    <a:pt x="45" y="36"/>
                    <a:pt x="46" y="35"/>
                  </a:cubicBezTo>
                  <a:cubicBezTo>
                    <a:pt x="48" y="34"/>
                    <a:pt x="52" y="30"/>
                    <a:pt x="54" y="28"/>
                  </a:cubicBezTo>
                  <a:cubicBezTo>
                    <a:pt x="56" y="26"/>
                    <a:pt x="59" y="23"/>
                    <a:pt x="60" y="22"/>
                  </a:cubicBezTo>
                  <a:cubicBezTo>
                    <a:pt x="60" y="21"/>
                    <a:pt x="61" y="19"/>
                    <a:pt x="62" y="13"/>
                  </a:cubicBezTo>
                  <a:cubicBezTo>
                    <a:pt x="63" y="8"/>
                    <a:pt x="62" y="7"/>
                    <a:pt x="61" y="4"/>
                  </a:cubicBezTo>
                  <a:cubicBezTo>
                    <a:pt x="60" y="2"/>
                    <a:pt x="54" y="6"/>
                    <a:pt x="54" y="6"/>
                  </a:cubicBezTo>
                  <a:cubicBezTo>
                    <a:pt x="54" y="6"/>
                    <a:pt x="53" y="4"/>
                    <a:pt x="53" y="2"/>
                  </a:cubicBezTo>
                  <a:cubicBezTo>
                    <a:pt x="52" y="1"/>
                    <a:pt x="50" y="0"/>
                    <a:pt x="48" y="0"/>
                  </a:cubicBezTo>
                  <a:cubicBezTo>
                    <a:pt x="46" y="0"/>
                    <a:pt x="44" y="3"/>
                    <a:pt x="44" y="3"/>
                  </a:cubicBezTo>
                  <a:cubicBezTo>
                    <a:pt x="44" y="3"/>
                    <a:pt x="43" y="0"/>
                    <a:pt x="41" y="0"/>
                  </a:cubicBezTo>
                  <a:cubicBezTo>
                    <a:pt x="39" y="0"/>
                    <a:pt x="36" y="2"/>
                    <a:pt x="36" y="2"/>
                  </a:cubicBezTo>
                  <a:cubicBezTo>
                    <a:pt x="36" y="2"/>
                    <a:pt x="36" y="1"/>
                    <a:pt x="34" y="0"/>
                  </a:cubicBezTo>
                  <a:cubicBezTo>
                    <a:pt x="31" y="0"/>
                    <a:pt x="30" y="2"/>
                    <a:pt x="30" y="2"/>
                  </a:cubicBezTo>
                  <a:cubicBezTo>
                    <a:pt x="29" y="3"/>
                    <a:pt x="29" y="6"/>
                    <a:pt x="28" y="8"/>
                  </a:cubicBezTo>
                  <a:cubicBezTo>
                    <a:pt x="27" y="9"/>
                    <a:pt x="27" y="11"/>
                    <a:pt x="27" y="11"/>
                  </a:cubicBezTo>
                  <a:cubicBezTo>
                    <a:pt x="27" y="11"/>
                    <a:pt x="23" y="18"/>
                    <a:pt x="21" y="23"/>
                  </a:cubicBezTo>
                  <a:cubicBezTo>
                    <a:pt x="19" y="28"/>
                    <a:pt x="19" y="35"/>
                    <a:pt x="19" y="38"/>
                  </a:cubicBezTo>
                  <a:cubicBezTo>
                    <a:pt x="19" y="41"/>
                    <a:pt x="16" y="51"/>
                    <a:pt x="15" y="56"/>
                  </a:cubicBezTo>
                  <a:cubicBezTo>
                    <a:pt x="14" y="57"/>
                    <a:pt x="13" y="58"/>
                    <a:pt x="13" y="58"/>
                  </a:cubicBezTo>
                  <a:cubicBezTo>
                    <a:pt x="13" y="58"/>
                    <a:pt x="9" y="71"/>
                    <a:pt x="8" y="72"/>
                  </a:cubicBezTo>
                  <a:cubicBezTo>
                    <a:pt x="7" y="73"/>
                    <a:pt x="2" y="77"/>
                    <a:pt x="2" y="77"/>
                  </a:cubicBezTo>
                  <a:cubicBezTo>
                    <a:pt x="3" y="82"/>
                    <a:pt x="3" y="82"/>
                    <a:pt x="3" y="82"/>
                  </a:cubicBezTo>
                  <a:cubicBezTo>
                    <a:pt x="3" y="82"/>
                    <a:pt x="1" y="89"/>
                    <a:pt x="0" y="90"/>
                  </a:cubicBezTo>
                  <a:cubicBezTo>
                    <a:pt x="0" y="91"/>
                    <a:pt x="3" y="97"/>
                    <a:pt x="3" y="99"/>
                  </a:cubicBezTo>
                  <a:cubicBezTo>
                    <a:pt x="3" y="101"/>
                    <a:pt x="1" y="122"/>
                    <a:pt x="3" y="133"/>
                  </a:cubicBezTo>
                  <a:cubicBezTo>
                    <a:pt x="5" y="144"/>
                    <a:pt x="19" y="164"/>
                    <a:pt x="31" y="183"/>
                  </a:cubicBezTo>
                  <a:cubicBezTo>
                    <a:pt x="43" y="202"/>
                    <a:pt x="58" y="223"/>
                    <a:pt x="61" y="228"/>
                  </a:cubicBezTo>
                  <a:cubicBezTo>
                    <a:pt x="63" y="233"/>
                    <a:pt x="63" y="247"/>
                    <a:pt x="63" y="253"/>
                  </a:cubicBezTo>
                  <a:cubicBezTo>
                    <a:pt x="63" y="259"/>
                    <a:pt x="71" y="286"/>
                    <a:pt x="73" y="291"/>
                  </a:cubicBezTo>
                  <a:cubicBezTo>
                    <a:pt x="75" y="296"/>
                    <a:pt x="70" y="328"/>
                    <a:pt x="70" y="330"/>
                  </a:cubicBezTo>
                  <a:cubicBezTo>
                    <a:pt x="70" y="332"/>
                    <a:pt x="70" y="340"/>
                    <a:pt x="72" y="345"/>
                  </a:cubicBezTo>
                  <a:cubicBezTo>
                    <a:pt x="74" y="350"/>
                    <a:pt x="72" y="357"/>
                    <a:pt x="78" y="362"/>
                  </a:cubicBezTo>
                  <a:cubicBezTo>
                    <a:pt x="78" y="362"/>
                    <a:pt x="78" y="362"/>
                    <a:pt x="79" y="363"/>
                  </a:cubicBezTo>
                  <a:cubicBezTo>
                    <a:pt x="78" y="363"/>
                    <a:pt x="78" y="363"/>
                    <a:pt x="78" y="364"/>
                  </a:cubicBezTo>
                  <a:cubicBezTo>
                    <a:pt x="78" y="364"/>
                    <a:pt x="76" y="364"/>
                    <a:pt x="76" y="367"/>
                  </a:cubicBezTo>
                  <a:cubicBezTo>
                    <a:pt x="75" y="370"/>
                    <a:pt x="74" y="376"/>
                    <a:pt x="74" y="376"/>
                  </a:cubicBezTo>
                  <a:cubicBezTo>
                    <a:pt x="74" y="380"/>
                    <a:pt x="70" y="385"/>
                    <a:pt x="68" y="387"/>
                  </a:cubicBezTo>
                  <a:cubicBezTo>
                    <a:pt x="67" y="390"/>
                    <a:pt x="58" y="398"/>
                    <a:pt x="60" y="413"/>
                  </a:cubicBezTo>
                  <a:cubicBezTo>
                    <a:pt x="63" y="428"/>
                    <a:pt x="64" y="423"/>
                    <a:pt x="64" y="435"/>
                  </a:cubicBezTo>
                  <a:cubicBezTo>
                    <a:pt x="63" y="447"/>
                    <a:pt x="61" y="476"/>
                    <a:pt x="62" y="493"/>
                  </a:cubicBezTo>
                  <a:cubicBezTo>
                    <a:pt x="62" y="510"/>
                    <a:pt x="63" y="558"/>
                    <a:pt x="62" y="606"/>
                  </a:cubicBezTo>
                  <a:cubicBezTo>
                    <a:pt x="62" y="606"/>
                    <a:pt x="60" y="657"/>
                    <a:pt x="61" y="664"/>
                  </a:cubicBezTo>
                  <a:cubicBezTo>
                    <a:pt x="62" y="671"/>
                    <a:pt x="67" y="676"/>
                    <a:pt x="64" y="683"/>
                  </a:cubicBezTo>
                  <a:cubicBezTo>
                    <a:pt x="60" y="690"/>
                    <a:pt x="59" y="698"/>
                    <a:pt x="60" y="700"/>
                  </a:cubicBezTo>
                  <a:cubicBezTo>
                    <a:pt x="60" y="703"/>
                    <a:pt x="63" y="703"/>
                    <a:pt x="62" y="706"/>
                  </a:cubicBezTo>
                  <a:cubicBezTo>
                    <a:pt x="62" y="707"/>
                    <a:pt x="62" y="708"/>
                    <a:pt x="62" y="709"/>
                  </a:cubicBezTo>
                  <a:cubicBezTo>
                    <a:pt x="61" y="709"/>
                    <a:pt x="61" y="709"/>
                    <a:pt x="61" y="710"/>
                  </a:cubicBezTo>
                  <a:cubicBezTo>
                    <a:pt x="61" y="710"/>
                    <a:pt x="60" y="713"/>
                    <a:pt x="60" y="713"/>
                  </a:cubicBezTo>
                  <a:cubicBezTo>
                    <a:pt x="60" y="713"/>
                    <a:pt x="51" y="721"/>
                    <a:pt x="50" y="723"/>
                  </a:cubicBezTo>
                  <a:cubicBezTo>
                    <a:pt x="48" y="725"/>
                    <a:pt x="44" y="729"/>
                    <a:pt x="45" y="731"/>
                  </a:cubicBezTo>
                  <a:cubicBezTo>
                    <a:pt x="45" y="734"/>
                    <a:pt x="45" y="734"/>
                    <a:pt x="45" y="734"/>
                  </a:cubicBezTo>
                  <a:cubicBezTo>
                    <a:pt x="45" y="734"/>
                    <a:pt x="42" y="737"/>
                    <a:pt x="44" y="737"/>
                  </a:cubicBezTo>
                  <a:cubicBezTo>
                    <a:pt x="45" y="737"/>
                    <a:pt x="60" y="739"/>
                    <a:pt x="70" y="740"/>
                  </a:cubicBezTo>
                  <a:cubicBezTo>
                    <a:pt x="70" y="740"/>
                    <a:pt x="84" y="737"/>
                    <a:pt x="87" y="732"/>
                  </a:cubicBezTo>
                  <a:cubicBezTo>
                    <a:pt x="87" y="732"/>
                    <a:pt x="90" y="725"/>
                    <a:pt x="91" y="725"/>
                  </a:cubicBezTo>
                  <a:cubicBezTo>
                    <a:pt x="93" y="725"/>
                    <a:pt x="96" y="726"/>
                    <a:pt x="96" y="726"/>
                  </a:cubicBezTo>
                  <a:cubicBezTo>
                    <a:pt x="96" y="726"/>
                    <a:pt x="106" y="721"/>
                    <a:pt x="107" y="719"/>
                  </a:cubicBezTo>
                  <a:cubicBezTo>
                    <a:pt x="107" y="719"/>
                    <a:pt x="105" y="707"/>
                    <a:pt x="105" y="705"/>
                  </a:cubicBezTo>
                  <a:cubicBezTo>
                    <a:pt x="106" y="705"/>
                    <a:pt x="106" y="705"/>
                    <a:pt x="106" y="705"/>
                  </a:cubicBezTo>
                  <a:cubicBezTo>
                    <a:pt x="106" y="703"/>
                    <a:pt x="107" y="699"/>
                    <a:pt x="107" y="698"/>
                  </a:cubicBezTo>
                  <a:cubicBezTo>
                    <a:pt x="107" y="697"/>
                    <a:pt x="106" y="697"/>
                    <a:pt x="106" y="697"/>
                  </a:cubicBezTo>
                  <a:cubicBezTo>
                    <a:pt x="106" y="697"/>
                    <a:pt x="112" y="691"/>
                    <a:pt x="110" y="677"/>
                  </a:cubicBezTo>
                  <a:cubicBezTo>
                    <a:pt x="108" y="663"/>
                    <a:pt x="101" y="652"/>
                    <a:pt x="101" y="640"/>
                  </a:cubicBezTo>
                  <a:cubicBezTo>
                    <a:pt x="101" y="627"/>
                    <a:pt x="104" y="603"/>
                    <a:pt x="105" y="595"/>
                  </a:cubicBezTo>
                  <a:cubicBezTo>
                    <a:pt x="107" y="588"/>
                    <a:pt x="108" y="580"/>
                    <a:pt x="109" y="579"/>
                  </a:cubicBezTo>
                  <a:cubicBezTo>
                    <a:pt x="109" y="578"/>
                    <a:pt x="114" y="556"/>
                    <a:pt x="113" y="544"/>
                  </a:cubicBezTo>
                  <a:cubicBezTo>
                    <a:pt x="113" y="533"/>
                    <a:pt x="117" y="513"/>
                    <a:pt x="119" y="502"/>
                  </a:cubicBezTo>
                  <a:cubicBezTo>
                    <a:pt x="121" y="492"/>
                    <a:pt x="129" y="470"/>
                    <a:pt x="129" y="470"/>
                  </a:cubicBezTo>
                  <a:cubicBezTo>
                    <a:pt x="129" y="470"/>
                    <a:pt x="137" y="486"/>
                    <a:pt x="139" y="497"/>
                  </a:cubicBezTo>
                  <a:cubicBezTo>
                    <a:pt x="140" y="509"/>
                    <a:pt x="147" y="554"/>
                    <a:pt x="149" y="567"/>
                  </a:cubicBezTo>
                  <a:cubicBezTo>
                    <a:pt x="151" y="579"/>
                    <a:pt x="152" y="584"/>
                    <a:pt x="153" y="587"/>
                  </a:cubicBezTo>
                  <a:cubicBezTo>
                    <a:pt x="153" y="589"/>
                    <a:pt x="155" y="617"/>
                    <a:pt x="155" y="622"/>
                  </a:cubicBezTo>
                  <a:cubicBezTo>
                    <a:pt x="156" y="627"/>
                    <a:pt x="158" y="669"/>
                    <a:pt x="157" y="672"/>
                  </a:cubicBezTo>
                  <a:cubicBezTo>
                    <a:pt x="156" y="676"/>
                    <a:pt x="147" y="684"/>
                    <a:pt x="152" y="688"/>
                  </a:cubicBezTo>
                  <a:cubicBezTo>
                    <a:pt x="152" y="688"/>
                    <a:pt x="154" y="690"/>
                    <a:pt x="154" y="694"/>
                  </a:cubicBezTo>
                  <a:cubicBezTo>
                    <a:pt x="153" y="697"/>
                    <a:pt x="156" y="703"/>
                    <a:pt x="158" y="704"/>
                  </a:cubicBezTo>
                  <a:cubicBezTo>
                    <a:pt x="159" y="705"/>
                    <a:pt x="162" y="707"/>
                    <a:pt x="162" y="707"/>
                  </a:cubicBezTo>
                  <a:cubicBezTo>
                    <a:pt x="162" y="707"/>
                    <a:pt x="162" y="707"/>
                    <a:pt x="162" y="708"/>
                  </a:cubicBezTo>
                  <a:cubicBezTo>
                    <a:pt x="162" y="711"/>
                    <a:pt x="163" y="719"/>
                    <a:pt x="163" y="720"/>
                  </a:cubicBezTo>
                  <a:cubicBezTo>
                    <a:pt x="163" y="721"/>
                    <a:pt x="169" y="726"/>
                    <a:pt x="169" y="726"/>
                  </a:cubicBezTo>
                  <a:cubicBezTo>
                    <a:pt x="173" y="725"/>
                    <a:pt x="173" y="725"/>
                    <a:pt x="173" y="725"/>
                  </a:cubicBezTo>
                  <a:cubicBezTo>
                    <a:pt x="173" y="725"/>
                    <a:pt x="173" y="733"/>
                    <a:pt x="174" y="734"/>
                  </a:cubicBezTo>
                  <a:cubicBezTo>
                    <a:pt x="176" y="736"/>
                    <a:pt x="183" y="742"/>
                    <a:pt x="187" y="741"/>
                  </a:cubicBezTo>
                  <a:cubicBezTo>
                    <a:pt x="191" y="739"/>
                    <a:pt x="208" y="740"/>
                    <a:pt x="211" y="737"/>
                  </a:cubicBezTo>
                  <a:cubicBezTo>
                    <a:pt x="211" y="737"/>
                    <a:pt x="213" y="735"/>
                    <a:pt x="212" y="732"/>
                  </a:cubicBezTo>
                  <a:cubicBezTo>
                    <a:pt x="211" y="728"/>
                    <a:pt x="210" y="723"/>
                    <a:pt x="209" y="722"/>
                  </a:cubicBezTo>
                  <a:cubicBezTo>
                    <a:pt x="208" y="721"/>
                    <a:pt x="201" y="714"/>
                    <a:pt x="201" y="713"/>
                  </a:cubicBezTo>
                  <a:cubicBezTo>
                    <a:pt x="201" y="712"/>
                    <a:pt x="199" y="705"/>
                    <a:pt x="199" y="705"/>
                  </a:cubicBezTo>
                  <a:cubicBezTo>
                    <a:pt x="199" y="705"/>
                    <a:pt x="200" y="704"/>
                    <a:pt x="200" y="703"/>
                  </a:cubicBezTo>
                  <a:cubicBezTo>
                    <a:pt x="202" y="701"/>
                    <a:pt x="204" y="698"/>
                    <a:pt x="204" y="696"/>
                  </a:cubicBezTo>
                  <a:cubicBezTo>
                    <a:pt x="205" y="691"/>
                    <a:pt x="202" y="689"/>
                    <a:pt x="202" y="689"/>
                  </a:cubicBezTo>
                  <a:cubicBezTo>
                    <a:pt x="202" y="689"/>
                    <a:pt x="205" y="687"/>
                    <a:pt x="204" y="682"/>
                  </a:cubicBezTo>
                  <a:cubicBezTo>
                    <a:pt x="204" y="681"/>
                    <a:pt x="204" y="681"/>
                    <a:pt x="203" y="680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3" y="680"/>
                    <a:pt x="203" y="680"/>
                    <a:pt x="203" y="680"/>
                  </a:cubicBezTo>
                  <a:cubicBezTo>
                    <a:pt x="201" y="676"/>
                    <a:pt x="197" y="674"/>
                    <a:pt x="196" y="672"/>
                  </a:cubicBezTo>
                  <a:cubicBezTo>
                    <a:pt x="194" y="670"/>
                    <a:pt x="193" y="667"/>
                    <a:pt x="193" y="664"/>
                  </a:cubicBezTo>
                  <a:cubicBezTo>
                    <a:pt x="193" y="664"/>
                    <a:pt x="193" y="664"/>
                    <a:pt x="193" y="664"/>
                  </a:cubicBezTo>
                  <a:cubicBezTo>
                    <a:pt x="193" y="664"/>
                    <a:pt x="193" y="664"/>
                    <a:pt x="193" y="664"/>
                  </a:cubicBezTo>
                  <a:cubicBezTo>
                    <a:pt x="193" y="663"/>
                    <a:pt x="199" y="643"/>
                    <a:pt x="198" y="630"/>
                  </a:cubicBezTo>
                  <a:cubicBezTo>
                    <a:pt x="196" y="617"/>
                    <a:pt x="197" y="586"/>
                    <a:pt x="196" y="581"/>
                  </a:cubicBezTo>
                  <a:cubicBezTo>
                    <a:pt x="196" y="576"/>
                    <a:pt x="197" y="549"/>
                    <a:pt x="198" y="545"/>
                  </a:cubicBezTo>
                  <a:cubicBezTo>
                    <a:pt x="199" y="541"/>
                    <a:pt x="199" y="508"/>
                    <a:pt x="200" y="494"/>
                  </a:cubicBezTo>
                  <a:cubicBezTo>
                    <a:pt x="200" y="480"/>
                    <a:pt x="200" y="455"/>
                    <a:pt x="201" y="452"/>
                  </a:cubicBezTo>
                  <a:cubicBezTo>
                    <a:pt x="201" y="449"/>
                    <a:pt x="200" y="430"/>
                    <a:pt x="200" y="429"/>
                  </a:cubicBezTo>
                  <a:cubicBezTo>
                    <a:pt x="200" y="429"/>
                    <a:pt x="201" y="427"/>
                    <a:pt x="201" y="425"/>
                  </a:cubicBezTo>
                  <a:cubicBezTo>
                    <a:pt x="202" y="423"/>
                    <a:pt x="202" y="422"/>
                    <a:pt x="202" y="421"/>
                  </a:cubicBezTo>
                  <a:cubicBezTo>
                    <a:pt x="202" y="419"/>
                    <a:pt x="189" y="380"/>
                    <a:pt x="190" y="380"/>
                  </a:cubicBezTo>
                  <a:cubicBezTo>
                    <a:pt x="190" y="380"/>
                    <a:pt x="190" y="378"/>
                    <a:pt x="190" y="377"/>
                  </a:cubicBezTo>
                  <a:cubicBezTo>
                    <a:pt x="190" y="373"/>
                    <a:pt x="190" y="367"/>
                    <a:pt x="189" y="366"/>
                  </a:cubicBezTo>
                  <a:cubicBezTo>
                    <a:pt x="189" y="366"/>
                    <a:pt x="189" y="367"/>
                    <a:pt x="188" y="368"/>
                  </a:cubicBezTo>
                  <a:cubicBezTo>
                    <a:pt x="188" y="368"/>
                    <a:pt x="188" y="368"/>
                    <a:pt x="188" y="368"/>
                  </a:cubicBezTo>
                  <a:cubicBezTo>
                    <a:pt x="188" y="367"/>
                    <a:pt x="188" y="367"/>
                    <a:pt x="188" y="367"/>
                  </a:cubicBezTo>
                  <a:cubicBezTo>
                    <a:pt x="188" y="367"/>
                    <a:pt x="190" y="363"/>
                    <a:pt x="190" y="362"/>
                  </a:cubicBezTo>
                  <a:cubicBezTo>
                    <a:pt x="190" y="360"/>
                    <a:pt x="197" y="358"/>
                    <a:pt x="197" y="358"/>
                  </a:cubicBezTo>
                  <a:cubicBezTo>
                    <a:pt x="197" y="358"/>
                    <a:pt x="201" y="350"/>
                    <a:pt x="199" y="346"/>
                  </a:cubicBezTo>
                  <a:cubicBezTo>
                    <a:pt x="198" y="343"/>
                    <a:pt x="195" y="334"/>
                    <a:pt x="193" y="330"/>
                  </a:cubicBezTo>
                  <a:cubicBezTo>
                    <a:pt x="192" y="327"/>
                    <a:pt x="195" y="312"/>
                    <a:pt x="196" y="303"/>
                  </a:cubicBezTo>
                  <a:cubicBezTo>
                    <a:pt x="196" y="294"/>
                    <a:pt x="194" y="278"/>
                    <a:pt x="194" y="278"/>
                  </a:cubicBezTo>
                  <a:cubicBezTo>
                    <a:pt x="194" y="278"/>
                    <a:pt x="195" y="279"/>
                    <a:pt x="196" y="279"/>
                  </a:cubicBezTo>
                  <a:cubicBezTo>
                    <a:pt x="196" y="280"/>
                    <a:pt x="196" y="280"/>
                    <a:pt x="196" y="280"/>
                  </a:cubicBezTo>
                  <a:cubicBezTo>
                    <a:pt x="196" y="281"/>
                    <a:pt x="198" y="282"/>
                    <a:pt x="199" y="283"/>
                  </a:cubicBezTo>
                  <a:cubicBezTo>
                    <a:pt x="199" y="284"/>
                    <a:pt x="199" y="284"/>
                    <a:pt x="199" y="284"/>
                  </a:cubicBezTo>
                  <a:cubicBezTo>
                    <a:pt x="199" y="285"/>
                    <a:pt x="202" y="291"/>
                    <a:pt x="203" y="293"/>
                  </a:cubicBezTo>
                  <a:cubicBezTo>
                    <a:pt x="204" y="295"/>
                    <a:pt x="207" y="295"/>
                    <a:pt x="207" y="299"/>
                  </a:cubicBezTo>
                  <a:cubicBezTo>
                    <a:pt x="208" y="300"/>
                    <a:pt x="208" y="300"/>
                    <a:pt x="209" y="301"/>
                  </a:cubicBezTo>
                  <a:cubicBezTo>
                    <a:pt x="209" y="303"/>
                    <a:pt x="210" y="304"/>
                    <a:pt x="211" y="304"/>
                  </a:cubicBezTo>
                  <a:cubicBezTo>
                    <a:pt x="212" y="305"/>
                    <a:pt x="214" y="306"/>
                    <a:pt x="214" y="306"/>
                  </a:cubicBezTo>
                  <a:cubicBezTo>
                    <a:pt x="220" y="318"/>
                    <a:pt x="227" y="320"/>
                    <a:pt x="232" y="319"/>
                  </a:cubicBezTo>
                  <a:cubicBezTo>
                    <a:pt x="237" y="319"/>
                    <a:pt x="241" y="311"/>
                    <a:pt x="244" y="307"/>
                  </a:cubicBezTo>
                  <a:cubicBezTo>
                    <a:pt x="247" y="303"/>
                    <a:pt x="252" y="288"/>
                    <a:pt x="252" y="288"/>
                  </a:cubicBezTo>
                  <a:cubicBezTo>
                    <a:pt x="252" y="288"/>
                    <a:pt x="253" y="284"/>
                    <a:pt x="254" y="281"/>
                  </a:cubicBezTo>
                  <a:cubicBezTo>
                    <a:pt x="255" y="283"/>
                    <a:pt x="256" y="287"/>
                    <a:pt x="259" y="288"/>
                  </a:cubicBezTo>
                  <a:cubicBezTo>
                    <a:pt x="265" y="292"/>
                    <a:pt x="271" y="296"/>
                    <a:pt x="275" y="296"/>
                  </a:cubicBezTo>
                  <a:cubicBezTo>
                    <a:pt x="278" y="296"/>
                    <a:pt x="285" y="294"/>
                    <a:pt x="286" y="294"/>
                  </a:cubicBezTo>
                  <a:cubicBezTo>
                    <a:pt x="287" y="293"/>
                    <a:pt x="295" y="294"/>
                    <a:pt x="297" y="294"/>
                  </a:cubicBezTo>
                  <a:cubicBezTo>
                    <a:pt x="299" y="294"/>
                    <a:pt x="304" y="292"/>
                    <a:pt x="306" y="292"/>
                  </a:cubicBezTo>
                  <a:cubicBezTo>
                    <a:pt x="307" y="291"/>
                    <a:pt x="314" y="290"/>
                    <a:pt x="316" y="289"/>
                  </a:cubicBezTo>
                  <a:cubicBezTo>
                    <a:pt x="317" y="288"/>
                    <a:pt x="319" y="288"/>
                    <a:pt x="319" y="288"/>
                  </a:cubicBezTo>
                  <a:cubicBezTo>
                    <a:pt x="319" y="288"/>
                    <a:pt x="319" y="289"/>
                    <a:pt x="320" y="289"/>
                  </a:cubicBezTo>
                  <a:cubicBezTo>
                    <a:pt x="321" y="292"/>
                    <a:pt x="322" y="295"/>
                    <a:pt x="323" y="295"/>
                  </a:cubicBezTo>
                  <a:cubicBezTo>
                    <a:pt x="323" y="295"/>
                    <a:pt x="323" y="295"/>
                    <a:pt x="323" y="295"/>
                  </a:cubicBezTo>
                  <a:cubicBezTo>
                    <a:pt x="323" y="296"/>
                    <a:pt x="321" y="309"/>
                    <a:pt x="319" y="318"/>
                  </a:cubicBezTo>
                  <a:cubicBezTo>
                    <a:pt x="317" y="327"/>
                    <a:pt x="307" y="357"/>
                    <a:pt x="307" y="359"/>
                  </a:cubicBezTo>
                  <a:cubicBezTo>
                    <a:pt x="307" y="361"/>
                    <a:pt x="301" y="376"/>
                    <a:pt x="301" y="376"/>
                  </a:cubicBezTo>
                  <a:cubicBezTo>
                    <a:pt x="302" y="379"/>
                    <a:pt x="302" y="379"/>
                    <a:pt x="302" y="379"/>
                  </a:cubicBezTo>
                  <a:cubicBezTo>
                    <a:pt x="302" y="379"/>
                    <a:pt x="288" y="438"/>
                    <a:pt x="288" y="440"/>
                  </a:cubicBezTo>
                  <a:cubicBezTo>
                    <a:pt x="287" y="443"/>
                    <a:pt x="288" y="448"/>
                    <a:pt x="288" y="448"/>
                  </a:cubicBezTo>
                  <a:cubicBezTo>
                    <a:pt x="309" y="457"/>
                    <a:pt x="309" y="457"/>
                    <a:pt x="309" y="457"/>
                  </a:cubicBezTo>
                  <a:cubicBezTo>
                    <a:pt x="309" y="457"/>
                    <a:pt x="308" y="468"/>
                    <a:pt x="307" y="471"/>
                  </a:cubicBezTo>
                  <a:cubicBezTo>
                    <a:pt x="306" y="474"/>
                    <a:pt x="308" y="479"/>
                    <a:pt x="308" y="487"/>
                  </a:cubicBezTo>
                  <a:cubicBezTo>
                    <a:pt x="308" y="495"/>
                    <a:pt x="308" y="516"/>
                    <a:pt x="309" y="524"/>
                  </a:cubicBezTo>
                  <a:cubicBezTo>
                    <a:pt x="310" y="531"/>
                    <a:pt x="312" y="544"/>
                    <a:pt x="310" y="555"/>
                  </a:cubicBezTo>
                  <a:cubicBezTo>
                    <a:pt x="309" y="565"/>
                    <a:pt x="309" y="595"/>
                    <a:pt x="310" y="611"/>
                  </a:cubicBezTo>
                  <a:cubicBezTo>
                    <a:pt x="311" y="627"/>
                    <a:pt x="312" y="675"/>
                    <a:pt x="312" y="675"/>
                  </a:cubicBezTo>
                  <a:cubicBezTo>
                    <a:pt x="312" y="675"/>
                    <a:pt x="308" y="676"/>
                    <a:pt x="308" y="680"/>
                  </a:cubicBezTo>
                  <a:cubicBezTo>
                    <a:pt x="307" y="684"/>
                    <a:pt x="310" y="688"/>
                    <a:pt x="310" y="689"/>
                  </a:cubicBezTo>
                  <a:cubicBezTo>
                    <a:pt x="310" y="691"/>
                    <a:pt x="311" y="698"/>
                    <a:pt x="311" y="698"/>
                  </a:cubicBezTo>
                  <a:cubicBezTo>
                    <a:pt x="311" y="698"/>
                    <a:pt x="311" y="698"/>
                    <a:pt x="311" y="699"/>
                  </a:cubicBezTo>
                  <a:cubicBezTo>
                    <a:pt x="310" y="700"/>
                    <a:pt x="309" y="702"/>
                    <a:pt x="309" y="703"/>
                  </a:cubicBezTo>
                  <a:cubicBezTo>
                    <a:pt x="308" y="704"/>
                    <a:pt x="303" y="710"/>
                    <a:pt x="301" y="711"/>
                  </a:cubicBezTo>
                  <a:cubicBezTo>
                    <a:pt x="300" y="713"/>
                    <a:pt x="295" y="717"/>
                    <a:pt x="295" y="719"/>
                  </a:cubicBezTo>
                  <a:cubicBezTo>
                    <a:pt x="295" y="722"/>
                    <a:pt x="292" y="723"/>
                    <a:pt x="292" y="724"/>
                  </a:cubicBezTo>
                  <a:cubicBezTo>
                    <a:pt x="292" y="725"/>
                    <a:pt x="290" y="730"/>
                    <a:pt x="292" y="730"/>
                  </a:cubicBezTo>
                  <a:cubicBezTo>
                    <a:pt x="295" y="731"/>
                    <a:pt x="311" y="734"/>
                    <a:pt x="319" y="733"/>
                  </a:cubicBezTo>
                  <a:cubicBezTo>
                    <a:pt x="327" y="731"/>
                    <a:pt x="332" y="727"/>
                    <a:pt x="332" y="726"/>
                  </a:cubicBezTo>
                  <a:cubicBezTo>
                    <a:pt x="332" y="724"/>
                    <a:pt x="334" y="719"/>
                    <a:pt x="334" y="719"/>
                  </a:cubicBezTo>
                  <a:cubicBezTo>
                    <a:pt x="337" y="720"/>
                    <a:pt x="337" y="720"/>
                    <a:pt x="337" y="720"/>
                  </a:cubicBezTo>
                  <a:cubicBezTo>
                    <a:pt x="337" y="720"/>
                    <a:pt x="349" y="715"/>
                    <a:pt x="349" y="714"/>
                  </a:cubicBezTo>
                  <a:cubicBezTo>
                    <a:pt x="350" y="713"/>
                    <a:pt x="349" y="708"/>
                    <a:pt x="349" y="706"/>
                  </a:cubicBezTo>
                  <a:cubicBezTo>
                    <a:pt x="349" y="705"/>
                    <a:pt x="349" y="705"/>
                    <a:pt x="349" y="705"/>
                  </a:cubicBezTo>
                  <a:cubicBezTo>
                    <a:pt x="349" y="705"/>
                    <a:pt x="349" y="702"/>
                    <a:pt x="351" y="700"/>
                  </a:cubicBezTo>
                  <a:cubicBezTo>
                    <a:pt x="353" y="698"/>
                    <a:pt x="355" y="692"/>
                    <a:pt x="355" y="690"/>
                  </a:cubicBezTo>
                  <a:cubicBezTo>
                    <a:pt x="355" y="687"/>
                    <a:pt x="349" y="678"/>
                    <a:pt x="351" y="674"/>
                  </a:cubicBezTo>
                  <a:cubicBezTo>
                    <a:pt x="353" y="671"/>
                    <a:pt x="358" y="662"/>
                    <a:pt x="358" y="652"/>
                  </a:cubicBezTo>
                  <a:cubicBezTo>
                    <a:pt x="359" y="643"/>
                    <a:pt x="361" y="649"/>
                    <a:pt x="361" y="624"/>
                  </a:cubicBezTo>
                  <a:cubicBezTo>
                    <a:pt x="361" y="600"/>
                    <a:pt x="365" y="573"/>
                    <a:pt x="366" y="566"/>
                  </a:cubicBezTo>
                  <a:cubicBezTo>
                    <a:pt x="367" y="559"/>
                    <a:pt x="375" y="489"/>
                    <a:pt x="377" y="485"/>
                  </a:cubicBezTo>
                  <a:cubicBezTo>
                    <a:pt x="379" y="488"/>
                    <a:pt x="379" y="488"/>
                    <a:pt x="379" y="488"/>
                  </a:cubicBezTo>
                  <a:cubicBezTo>
                    <a:pt x="379" y="488"/>
                    <a:pt x="380" y="531"/>
                    <a:pt x="383" y="548"/>
                  </a:cubicBezTo>
                  <a:cubicBezTo>
                    <a:pt x="385" y="564"/>
                    <a:pt x="385" y="577"/>
                    <a:pt x="386" y="587"/>
                  </a:cubicBezTo>
                  <a:cubicBezTo>
                    <a:pt x="387" y="598"/>
                    <a:pt x="387" y="612"/>
                    <a:pt x="386" y="623"/>
                  </a:cubicBezTo>
                  <a:cubicBezTo>
                    <a:pt x="385" y="634"/>
                    <a:pt x="383" y="654"/>
                    <a:pt x="382" y="659"/>
                  </a:cubicBezTo>
                  <a:cubicBezTo>
                    <a:pt x="380" y="664"/>
                    <a:pt x="379" y="674"/>
                    <a:pt x="380" y="679"/>
                  </a:cubicBezTo>
                  <a:cubicBezTo>
                    <a:pt x="381" y="683"/>
                    <a:pt x="384" y="694"/>
                    <a:pt x="386" y="696"/>
                  </a:cubicBezTo>
                  <a:cubicBezTo>
                    <a:pt x="388" y="699"/>
                    <a:pt x="392" y="702"/>
                    <a:pt x="391" y="705"/>
                  </a:cubicBezTo>
                  <a:cubicBezTo>
                    <a:pt x="391" y="705"/>
                    <a:pt x="391" y="705"/>
                    <a:pt x="391" y="706"/>
                  </a:cubicBezTo>
                  <a:cubicBezTo>
                    <a:pt x="391" y="709"/>
                    <a:pt x="390" y="715"/>
                    <a:pt x="390" y="715"/>
                  </a:cubicBezTo>
                  <a:cubicBezTo>
                    <a:pt x="399" y="721"/>
                    <a:pt x="399" y="721"/>
                    <a:pt x="399" y="721"/>
                  </a:cubicBezTo>
                  <a:cubicBezTo>
                    <a:pt x="402" y="721"/>
                    <a:pt x="402" y="721"/>
                    <a:pt x="402" y="721"/>
                  </a:cubicBezTo>
                  <a:cubicBezTo>
                    <a:pt x="402" y="721"/>
                    <a:pt x="400" y="728"/>
                    <a:pt x="405" y="731"/>
                  </a:cubicBezTo>
                  <a:cubicBezTo>
                    <a:pt x="409" y="733"/>
                    <a:pt x="416" y="736"/>
                    <a:pt x="427" y="735"/>
                  </a:cubicBezTo>
                  <a:cubicBezTo>
                    <a:pt x="438" y="734"/>
                    <a:pt x="442" y="735"/>
                    <a:pt x="442" y="731"/>
                  </a:cubicBezTo>
                  <a:cubicBezTo>
                    <a:pt x="442" y="731"/>
                    <a:pt x="443" y="723"/>
                    <a:pt x="438" y="718"/>
                  </a:cubicBezTo>
                  <a:cubicBezTo>
                    <a:pt x="432" y="713"/>
                    <a:pt x="427" y="704"/>
                    <a:pt x="426" y="703"/>
                  </a:cubicBezTo>
                  <a:cubicBezTo>
                    <a:pt x="426" y="701"/>
                    <a:pt x="426" y="700"/>
                    <a:pt x="426" y="700"/>
                  </a:cubicBezTo>
                  <a:cubicBezTo>
                    <a:pt x="426" y="700"/>
                    <a:pt x="426" y="700"/>
                    <a:pt x="426" y="700"/>
                  </a:cubicBezTo>
                  <a:cubicBezTo>
                    <a:pt x="426" y="700"/>
                    <a:pt x="424" y="687"/>
                    <a:pt x="426" y="687"/>
                  </a:cubicBezTo>
                  <a:cubicBezTo>
                    <a:pt x="427" y="686"/>
                    <a:pt x="435" y="682"/>
                    <a:pt x="435" y="680"/>
                  </a:cubicBezTo>
                  <a:cubicBezTo>
                    <a:pt x="435" y="678"/>
                    <a:pt x="432" y="673"/>
                    <a:pt x="431" y="672"/>
                  </a:cubicBezTo>
                  <a:cubicBezTo>
                    <a:pt x="429" y="670"/>
                    <a:pt x="428" y="657"/>
                    <a:pt x="428" y="655"/>
                  </a:cubicBezTo>
                  <a:cubicBezTo>
                    <a:pt x="429" y="652"/>
                    <a:pt x="430" y="637"/>
                    <a:pt x="430" y="631"/>
                  </a:cubicBezTo>
                  <a:cubicBezTo>
                    <a:pt x="429" y="625"/>
                    <a:pt x="430" y="609"/>
                    <a:pt x="431" y="607"/>
                  </a:cubicBezTo>
                  <a:cubicBezTo>
                    <a:pt x="432" y="605"/>
                    <a:pt x="433" y="570"/>
                    <a:pt x="434" y="562"/>
                  </a:cubicBezTo>
                  <a:cubicBezTo>
                    <a:pt x="434" y="554"/>
                    <a:pt x="437" y="535"/>
                    <a:pt x="438" y="527"/>
                  </a:cubicBezTo>
                  <a:cubicBezTo>
                    <a:pt x="439" y="519"/>
                    <a:pt x="443" y="473"/>
                    <a:pt x="443" y="468"/>
                  </a:cubicBezTo>
                  <a:cubicBezTo>
                    <a:pt x="449" y="467"/>
                    <a:pt x="449" y="467"/>
                    <a:pt x="449" y="467"/>
                  </a:cubicBezTo>
                  <a:cubicBezTo>
                    <a:pt x="449" y="467"/>
                    <a:pt x="452" y="485"/>
                    <a:pt x="459" y="486"/>
                  </a:cubicBezTo>
                  <a:cubicBezTo>
                    <a:pt x="459" y="486"/>
                    <a:pt x="463" y="487"/>
                    <a:pt x="468" y="479"/>
                  </a:cubicBezTo>
                  <a:cubicBezTo>
                    <a:pt x="473" y="471"/>
                    <a:pt x="479" y="469"/>
                    <a:pt x="479" y="469"/>
                  </a:cubicBezTo>
                  <a:cubicBezTo>
                    <a:pt x="479" y="469"/>
                    <a:pt x="475" y="448"/>
                    <a:pt x="474" y="442"/>
                  </a:cubicBezTo>
                  <a:cubicBezTo>
                    <a:pt x="473" y="435"/>
                    <a:pt x="469" y="406"/>
                    <a:pt x="469" y="406"/>
                  </a:cubicBezTo>
                  <a:cubicBezTo>
                    <a:pt x="470" y="402"/>
                    <a:pt x="470" y="402"/>
                    <a:pt x="470" y="402"/>
                  </a:cubicBezTo>
                  <a:cubicBezTo>
                    <a:pt x="470" y="402"/>
                    <a:pt x="463" y="380"/>
                    <a:pt x="463" y="378"/>
                  </a:cubicBezTo>
                  <a:cubicBezTo>
                    <a:pt x="462" y="375"/>
                    <a:pt x="461" y="327"/>
                    <a:pt x="462" y="322"/>
                  </a:cubicBezTo>
                  <a:cubicBezTo>
                    <a:pt x="462" y="322"/>
                    <a:pt x="462" y="322"/>
                    <a:pt x="462" y="322"/>
                  </a:cubicBezTo>
                  <a:cubicBezTo>
                    <a:pt x="462" y="322"/>
                    <a:pt x="462" y="322"/>
                    <a:pt x="462" y="322"/>
                  </a:cubicBezTo>
                  <a:cubicBezTo>
                    <a:pt x="462" y="322"/>
                    <a:pt x="475" y="330"/>
                    <a:pt x="484" y="333"/>
                  </a:cubicBezTo>
                  <a:cubicBezTo>
                    <a:pt x="488" y="335"/>
                    <a:pt x="492" y="335"/>
                    <a:pt x="495" y="334"/>
                  </a:cubicBezTo>
                  <a:cubicBezTo>
                    <a:pt x="505" y="331"/>
                    <a:pt x="511" y="326"/>
                    <a:pt x="511" y="324"/>
                  </a:cubicBezTo>
                  <a:cubicBezTo>
                    <a:pt x="511" y="321"/>
                    <a:pt x="511" y="316"/>
                    <a:pt x="512" y="313"/>
                  </a:cubicBezTo>
                  <a:cubicBezTo>
                    <a:pt x="513" y="310"/>
                    <a:pt x="512" y="301"/>
                    <a:pt x="512" y="300"/>
                  </a:cubicBezTo>
                  <a:cubicBezTo>
                    <a:pt x="512" y="299"/>
                    <a:pt x="510" y="282"/>
                    <a:pt x="508" y="280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" name="Freeform 157">
              <a:extLst>
                <a:ext uri="{FF2B5EF4-FFF2-40B4-BE49-F238E27FC236}">
                  <a16:creationId xmlns:a16="http://schemas.microsoft.com/office/drawing/2014/main" id="{9A1BB8FF-95B6-4FC8-A528-84D922E78954}"/>
                </a:ext>
              </a:extLst>
            </p:cNvPr>
            <p:cNvSpPr>
              <a:spLocks/>
            </p:cNvSpPr>
            <p:nvPr/>
          </p:nvSpPr>
          <p:spPr bwMode="gray">
            <a:xfrm>
              <a:off x="1285738" y="310456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2" name="Freeform 158">
              <a:extLst>
                <a:ext uri="{FF2B5EF4-FFF2-40B4-BE49-F238E27FC236}">
                  <a16:creationId xmlns:a16="http://schemas.microsoft.com/office/drawing/2014/main" id="{4FF9AEEF-1066-45D3-BAD4-24F0A215E60E}"/>
                </a:ext>
              </a:extLst>
            </p:cNvPr>
            <p:cNvSpPr>
              <a:spLocks/>
            </p:cNvSpPr>
            <p:nvPr/>
          </p:nvSpPr>
          <p:spPr bwMode="gray">
            <a:xfrm>
              <a:off x="1336529" y="2972798"/>
              <a:ext cx="271417" cy="719138"/>
            </a:xfrm>
            <a:custGeom>
              <a:avLst/>
              <a:gdLst>
                <a:gd name="T0" fmla="*/ 271 w 283"/>
                <a:gd name="T1" fmla="*/ 32 h 748"/>
                <a:gd name="T2" fmla="*/ 248 w 283"/>
                <a:gd name="T3" fmla="*/ 0 h 748"/>
                <a:gd name="T4" fmla="*/ 249 w 283"/>
                <a:gd name="T5" fmla="*/ 36 h 748"/>
                <a:gd name="T6" fmla="*/ 243 w 283"/>
                <a:gd name="T7" fmla="*/ 75 h 748"/>
                <a:gd name="T8" fmla="*/ 232 w 283"/>
                <a:gd name="T9" fmla="*/ 134 h 748"/>
                <a:gd name="T10" fmla="*/ 223 w 283"/>
                <a:gd name="T11" fmla="*/ 162 h 748"/>
                <a:gd name="T12" fmla="*/ 198 w 283"/>
                <a:gd name="T13" fmla="*/ 176 h 748"/>
                <a:gd name="T14" fmla="*/ 185 w 283"/>
                <a:gd name="T15" fmla="*/ 182 h 748"/>
                <a:gd name="T16" fmla="*/ 195 w 283"/>
                <a:gd name="T17" fmla="*/ 150 h 748"/>
                <a:gd name="T18" fmla="*/ 192 w 283"/>
                <a:gd name="T19" fmla="*/ 130 h 748"/>
                <a:gd name="T20" fmla="*/ 170 w 283"/>
                <a:gd name="T21" fmla="*/ 108 h 748"/>
                <a:gd name="T22" fmla="*/ 147 w 283"/>
                <a:gd name="T23" fmla="*/ 110 h 748"/>
                <a:gd name="T24" fmla="*/ 140 w 283"/>
                <a:gd name="T25" fmla="*/ 122 h 748"/>
                <a:gd name="T26" fmla="*/ 131 w 283"/>
                <a:gd name="T27" fmla="*/ 141 h 748"/>
                <a:gd name="T28" fmla="*/ 132 w 283"/>
                <a:gd name="T29" fmla="*/ 149 h 748"/>
                <a:gd name="T30" fmla="*/ 139 w 283"/>
                <a:gd name="T31" fmla="*/ 190 h 748"/>
                <a:gd name="T32" fmla="*/ 109 w 283"/>
                <a:gd name="T33" fmla="*/ 177 h 748"/>
                <a:gd name="T34" fmla="*/ 90 w 283"/>
                <a:gd name="T35" fmla="*/ 186 h 748"/>
                <a:gd name="T36" fmla="*/ 63 w 283"/>
                <a:gd name="T37" fmla="*/ 166 h 748"/>
                <a:gd name="T38" fmla="*/ 48 w 283"/>
                <a:gd name="T39" fmla="*/ 155 h 748"/>
                <a:gd name="T40" fmla="*/ 40 w 283"/>
                <a:gd name="T41" fmla="*/ 116 h 748"/>
                <a:gd name="T42" fmla="*/ 39 w 283"/>
                <a:gd name="T43" fmla="*/ 85 h 748"/>
                <a:gd name="T44" fmla="*/ 43 w 283"/>
                <a:gd name="T45" fmla="*/ 52 h 748"/>
                <a:gd name="T46" fmla="*/ 26 w 283"/>
                <a:gd name="T47" fmla="*/ 48 h 748"/>
                <a:gd name="T48" fmla="*/ 18 w 283"/>
                <a:gd name="T49" fmla="*/ 73 h 748"/>
                <a:gd name="T50" fmla="*/ 0 w 283"/>
                <a:gd name="T51" fmla="*/ 123 h 748"/>
                <a:gd name="T52" fmla="*/ 55 w 283"/>
                <a:gd name="T53" fmla="*/ 215 h 748"/>
                <a:gd name="T54" fmla="*/ 87 w 283"/>
                <a:gd name="T55" fmla="*/ 254 h 748"/>
                <a:gd name="T56" fmla="*/ 70 w 283"/>
                <a:gd name="T57" fmla="*/ 390 h 748"/>
                <a:gd name="T58" fmla="*/ 86 w 283"/>
                <a:gd name="T59" fmla="*/ 455 h 748"/>
                <a:gd name="T60" fmla="*/ 89 w 283"/>
                <a:gd name="T61" fmla="*/ 570 h 748"/>
                <a:gd name="T62" fmla="*/ 75 w 283"/>
                <a:gd name="T63" fmla="*/ 724 h 748"/>
                <a:gd name="T64" fmla="*/ 115 w 283"/>
                <a:gd name="T65" fmla="*/ 730 h 748"/>
                <a:gd name="T66" fmla="*/ 131 w 283"/>
                <a:gd name="T67" fmla="*/ 713 h 748"/>
                <a:gd name="T68" fmla="*/ 129 w 283"/>
                <a:gd name="T69" fmla="*/ 680 h 748"/>
                <a:gd name="T70" fmla="*/ 131 w 283"/>
                <a:gd name="T71" fmla="*/ 614 h 748"/>
                <a:gd name="T72" fmla="*/ 136 w 283"/>
                <a:gd name="T73" fmla="*/ 569 h 748"/>
                <a:gd name="T74" fmla="*/ 144 w 283"/>
                <a:gd name="T75" fmla="*/ 508 h 748"/>
                <a:gd name="T76" fmla="*/ 150 w 283"/>
                <a:gd name="T77" fmla="*/ 473 h 748"/>
                <a:gd name="T78" fmla="*/ 155 w 283"/>
                <a:gd name="T79" fmla="*/ 494 h 748"/>
                <a:gd name="T80" fmla="*/ 157 w 283"/>
                <a:gd name="T81" fmla="*/ 523 h 748"/>
                <a:gd name="T82" fmla="*/ 163 w 283"/>
                <a:gd name="T83" fmla="*/ 593 h 748"/>
                <a:gd name="T84" fmla="*/ 154 w 283"/>
                <a:gd name="T85" fmla="*/ 677 h 748"/>
                <a:gd name="T86" fmla="*/ 159 w 283"/>
                <a:gd name="T87" fmla="*/ 726 h 748"/>
                <a:gd name="T88" fmla="*/ 202 w 283"/>
                <a:gd name="T89" fmla="*/ 745 h 748"/>
                <a:gd name="T90" fmla="*/ 194 w 283"/>
                <a:gd name="T91" fmla="*/ 718 h 748"/>
                <a:gd name="T92" fmla="*/ 199 w 283"/>
                <a:gd name="T93" fmla="*/ 681 h 748"/>
                <a:gd name="T94" fmla="*/ 207 w 283"/>
                <a:gd name="T95" fmla="*/ 572 h 748"/>
                <a:gd name="T96" fmla="*/ 222 w 283"/>
                <a:gd name="T97" fmla="*/ 452 h 748"/>
                <a:gd name="T98" fmla="*/ 225 w 283"/>
                <a:gd name="T99" fmla="*/ 391 h 748"/>
                <a:gd name="T100" fmla="*/ 261 w 283"/>
                <a:gd name="T101" fmla="*/ 382 h 748"/>
                <a:gd name="T102" fmla="*/ 244 w 283"/>
                <a:gd name="T103" fmla="*/ 308 h 748"/>
                <a:gd name="T104" fmla="*/ 237 w 283"/>
                <a:gd name="T105" fmla="*/ 259 h 748"/>
                <a:gd name="T106" fmla="*/ 244 w 283"/>
                <a:gd name="T107" fmla="*/ 226 h 748"/>
                <a:gd name="T108" fmla="*/ 271 w 283"/>
                <a:gd name="T109" fmla="*/ 159 h 748"/>
                <a:gd name="T110" fmla="*/ 277 w 283"/>
                <a:gd name="T111" fmla="*/ 96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3" h="748">
                  <a:moveTo>
                    <a:pt x="273" y="74"/>
                  </a:moveTo>
                  <a:cubicBezTo>
                    <a:pt x="273" y="68"/>
                    <a:pt x="273" y="68"/>
                    <a:pt x="273" y="68"/>
                  </a:cubicBezTo>
                  <a:cubicBezTo>
                    <a:pt x="273" y="68"/>
                    <a:pt x="272" y="68"/>
                    <a:pt x="271" y="68"/>
                  </a:cubicBezTo>
                  <a:cubicBezTo>
                    <a:pt x="271" y="67"/>
                    <a:pt x="271" y="67"/>
                    <a:pt x="271" y="66"/>
                  </a:cubicBezTo>
                  <a:cubicBezTo>
                    <a:pt x="270" y="63"/>
                    <a:pt x="270" y="37"/>
                    <a:pt x="271" y="32"/>
                  </a:cubicBezTo>
                  <a:cubicBezTo>
                    <a:pt x="272" y="27"/>
                    <a:pt x="272" y="18"/>
                    <a:pt x="272" y="15"/>
                  </a:cubicBezTo>
                  <a:cubicBezTo>
                    <a:pt x="271" y="11"/>
                    <a:pt x="268" y="5"/>
                    <a:pt x="265" y="3"/>
                  </a:cubicBezTo>
                  <a:cubicBezTo>
                    <a:pt x="263" y="1"/>
                    <a:pt x="260" y="2"/>
                    <a:pt x="260" y="2"/>
                  </a:cubicBezTo>
                  <a:cubicBezTo>
                    <a:pt x="257" y="1"/>
                    <a:pt x="253" y="2"/>
                    <a:pt x="253" y="2"/>
                  </a:cubicBezTo>
                  <a:cubicBezTo>
                    <a:pt x="253" y="2"/>
                    <a:pt x="251" y="0"/>
                    <a:pt x="248" y="0"/>
                  </a:cubicBezTo>
                  <a:cubicBezTo>
                    <a:pt x="244" y="1"/>
                    <a:pt x="244" y="3"/>
                    <a:pt x="244" y="3"/>
                  </a:cubicBezTo>
                  <a:cubicBezTo>
                    <a:pt x="239" y="1"/>
                    <a:pt x="239" y="2"/>
                    <a:pt x="236" y="5"/>
                  </a:cubicBezTo>
                  <a:cubicBezTo>
                    <a:pt x="233" y="8"/>
                    <a:pt x="238" y="15"/>
                    <a:pt x="237" y="16"/>
                  </a:cubicBezTo>
                  <a:cubicBezTo>
                    <a:pt x="237" y="16"/>
                    <a:pt x="234" y="20"/>
                    <a:pt x="236" y="24"/>
                  </a:cubicBezTo>
                  <a:cubicBezTo>
                    <a:pt x="238" y="28"/>
                    <a:pt x="249" y="34"/>
                    <a:pt x="249" y="36"/>
                  </a:cubicBezTo>
                  <a:cubicBezTo>
                    <a:pt x="250" y="37"/>
                    <a:pt x="249" y="66"/>
                    <a:pt x="249" y="66"/>
                  </a:cubicBezTo>
                  <a:cubicBezTo>
                    <a:pt x="250" y="66"/>
                    <a:pt x="250" y="66"/>
                    <a:pt x="250" y="66"/>
                  </a:cubicBezTo>
                  <a:cubicBezTo>
                    <a:pt x="249" y="66"/>
                    <a:pt x="249" y="66"/>
                    <a:pt x="248" y="66"/>
                  </a:cubicBezTo>
                  <a:cubicBezTo>
                    <a:pt x="247" y="72"/>
                    <a:pt x="247" y="72"/>
                    <a:pt x="247" y="72"/>
                  </a:cubicBezTo>
                  <a:cubicBezTo>
                    <a:pt x="244" y="73"/>
                    <a:pt x="244" y="74"/>
                    <a:pt x="243" y="75"/>
                  </a:cubicBezTo>
                  <a:cubicBezTo>
                    <a:pt x="242" y="76"/>
                    <a:pt x="242" y="93"/>
                    <a:pt x="242" y="94"/>
                  </a:cubicBezTo>
                  <a:cubicBezTo>
                    <a:pt x="242" y="96"/>
                    <a:pt x="240" y="100"/>
                    <a:pt x="240" y="103"/>
                  </a:cubicBezTo>
                  <a:cubicBezTo>
                    <a:pt x="239" y="105"/>
                    <a:pt x="239" y="119"/>
                    <a:pt x="239" y="121"/>
                  </a:cubicBezTo>
                  <a:cubicBezTo>
                    <a:pt x="239" y="123"/>
                    <a:pt x="236" y="125"/>
                    <a:pt x="235" y="126"/>
                  </a:cubicBezTo>
                  <a:cubicBezTo>
                    <a:pt x="234" y="127"/>
                    <a:pt x="232" y="132"/>
                    <a:pt x="232" y="134"/>
                  </a:cubicBezTo>
                  <a:cubicBezTo>
                    <a:pt x="232" y="135"/>
                    <a:pt x="233" y="141"/>
                    <a:pt x="233" y="142"/>
                  </a:cubicBezTo>
                  <a:cubicBezTo>
                    <a:pt x="233" y="144"/>
                    <a:pt x="231" y="145"/>
                    <a:pt x="230" y="146"/>
                  </a:cubicBezTo>
                  <a:cubicBezTo>
                    <a:pt x="228" y="148"/>
                    <a:pt x="227" y="151"/>
                    <a:pt x="227" y="151"/>
                  </a:cubicBezTo>
                  <a:cubicBezTo>
                    <a:pt x="227" y="152"/>
                    <a:pt x="224" y="154"/>
                    <a:pt x="224" y="155"/>
                  </a:cubicBezTo>
                  <a:cubicBezTo>
                    <a:pt x="223" y="155"/>
                    <a:pt x="223" y="160"/>
                    <a:pt x="223" y="162"/>
                  </a:cubicBezTo>
                  <a:cubicBezTo>
                    <a:pt x="222" y="165"/>
                    <a:pt x="222" y="165"/>
                    <a:pt x="219" y="170"/>
                  </a:cubicBezTo>
                  <a:cubicBezTo>
                    <a:pt x="217" y="174"/>
                    <a:pt x="218" y="180"/>
                    <a:pt x="218" y="180"/>
                  </a:cubicBezTo>
                  <a:cubicBezTo>
                    <a:pt x="218" y="180"/>
                    <a:pt x="212" y="175"/>
                    <a:pt x="210" y="174"/>
                  </a:cubicBezTo>
                  <a:cubicBezTo>
                    <a:pt x="209" y="173"/>
                    <a:pt x="201" y="173"/>
                    <a:pt x="200" y="174"/>
                  </a:cubicBezTo>
                  <a:cubicBezTo>
                    <a:pt x="199" y="174"/>
                    <a:pt x="198" y="176"/>
                    <a:pt x="198" y="176"/>
                  </a:cubicBezTo>
                  <a:cubicBezTo>
                    <a:pt x="197" y="177"/>
                    <a:pt x="192" y="183"/>
                    <a:pt x="191" y="184"/>
                  </a:cubicBezTo>
                  <a:cubicBezTo>
                    <a:pt x="190" y="186"/>
                    <a:pt x="191" y="193"/>
                    <a:pt x="190" y="193"/>
                  </a:cubicBezTo>
                  <a:cubicBezTo>
                    <a:pt x="189" y="192"/>
                    <a:pt x="185" y="185"/>
                    <a:pt x="185" y="185"/>
                  </a:cubicBezTo>
                  <a:cubicBezTo>
                    <a:pt x="185" y="184"/>
                    <a:pt x="185" y="184"/>
                    <a:pt x="184" y="184"/>
                  </a:cubicBezTo>
                  <a:cubicBezTo>
                    <a:pt x="185" y="183"/>
                    <a:pt x="185" y="183"/>
                    <a:pt x="185" y="182"/>
                  </a:cubicBezTo>
                  <a:cubicBezTo>
                    <a:pt x="187" y="179"/>
                    <a:pt x="188" y="170"/>
                    <a:pt x="188" y="170"/>
                  </a:cubicBezTo>
                  <a:cubicBezTo>
                    <a:pt x="188" y="170"/>
                    <a:pt x="189" y="170"/>
                    <a:pt x="190" y="169"/>
                  </a:cubicBezTo>
                  <a:cubicBezTo>
                    <a:pt x="191" y="167"/>
                    <a:pt x="192" y="165"/>
                    <a:pt x="193" y="162"/>
                  </a:cubicBezTo>
                  <a:cubicBezTo>
                    <a:pt x="194" y="159"/>
                    <a:pt x="194" y="153"/>
                    <a:pt x="194" y="153"/>
                  </a:cubicBezTo>
                  <a:cubicBezTo>
                    <a:pt x="194" y="153"/>
                    <a:pt x="194" y="151"/>
                    <a:pt x="195" y="150"/>
                  </a:cubicBezTo>
                  <a:cubicBezTo>
                    <a:pt x="196" y="149"/>
                    <a:pt x="196" y="145"/>
                    <a:pt x="196" y="144"/>
                  </a:cubicBezTo>
                  <a:cubicBezTo>
                    <a:pt x="196" y="144"/>
                    <a:pt x="194" y="140"/>
                    <a:pt x="194" y="140"/>
                  </a:cubicBezTo>
                  <a:cubicBezTo>
                    <a:pt x="195" y="140"/>
                    <a:pt x="195" y="140"/>
                    <a:pt x="195" y="140"/>
                  </a:cubicBezTo>
                  <a:cubicBezTo>
                    <a:pt x="195" y="140"/>
                    <a:pt x="195" y="136"/>
                    <a:pt x="194" y="134"/>
                  </a:cubicBezTo>
                  <a:cubicBezTo>
                    <a:pt x="194" y="132"/>
                    <a:pt x="192" y="130"/>
                    <a:pt x="192" y="130"/>
                  </a:cubicBezTo>
                  <a:cubicBezTo>
                    <a:pt x="194" y="130"/>
                    <a:pt x="194" y="130"/>
                    <a:pt x="194" y="130"/>
                  </a:cubicBezTo>
                  <a:cubicBezTo>
                    <a:pt x="193" y="129"/>
                    <a:pt x="191" y="127"/>
                    <a:pt x="191" y="126"/>
                  </a:cubicBezTo>
                  <a:cubicBezTo>
                    <a:pt x="190" y="124"/>
                    <a:pt x="187" y="118"/>
                    <a:pt x="184" y="115"/>
                  </a:cubicBezTo>
                  <a:cubicBezTo>
                    <a:pt x="181" y="112"/>
                    <a:pt x="176" y="111"/>
                    <a:pt x="175" y="109"/>
                  </a:cubicBezTo>
                  <a:cubicBezTo>
                    <a:pt x="174" y="108"/>
                    <a:pt x="172" y="109"/>
                    <a:pt x="170" y="108"/>
                  </a:cubicBezTo>
                  <a:cubicBezTo>
                    <a:pt x="169" y="108"/>
                    <a:pt x="165" y="107"/>
                    <a:pt x="164" y="107"/>
                  </a:cubicBezTo>
                  <a:cubicBezTo>
                    <a:pt x="163" y="108"/>
                    <a:pt x="161" y="107"/>
                    <a:pt x="155" y="108"/>
                  </a:cubicBezTo>
                  <a:cubicBezTo>
                    <a:pt x="149" y="109"/>
                    <a:pt x="144" y="117"/>
                    <a:pt x="144" y="117"/>
                  </a:cubicBezTo>
                  <a:cubicBezTo>
                    <a:pt x="147" y="107"/>
                    <a:pt x="158" y="107"/>
                    <a:pt x="158" y="107"/>
                  </a:cubicBezTo>
                  <a:cubicBezTo>
                    <a:pt x="158" y="107"/>
                    <a:pt x="154" y="107"/>
                    <a:pt x="147" y="110"/>
                  </a:cubicBezTo>
                  <a:cubicBezTo>
                    <a:pt x="141" y="113"/>
                    <a:pt x="142" y="120"/>
                    <a:pt x="142" y="120"/>
                  </a:cubicBezTo>
                  <a:cubicBezTo>
                    <a:pt x="140" y="119"/>
                    <a:pt x="140" y="119"/>
                    <a:pt x="140" y="119"/>
                  </a:cubicBezTo>
                  <a:cubicBezTo>
                    <a:pt x="135" y="119"/>
                    <a:pt x="137" y="123"/>
                    <a:pt x="137" y="123"/>
                  </a:cubicBezTo>
                  <a:cubicBezTo>
                    <a:pt x="137" y="123"/>
                    <a:pt x="137" y="121"/>
                    <a:pt x="138" y="120"/>
                  </a:cubicBezTo>
                  <a:cubicBezTo>
                    <a:pt x="139" y="119"/>
                    <a:pt x="140" y="121"/>
                    <a:pt x="140" y="122"/>
                  </a:cubicBezTo>
                  <a:cubicBezTo>
                    <a:pt x="140" y="124"/>
                    <a:pt x="137" y="125"/>
                    <a:pt x="137" y="125"/>
                  </a:cubicBezTo>
                  <a:cubicBezTo>
                    <a:pt x="137" y="125"/>
                    <a:pt x="135" y="127"/>
                    <a:pt x="135" y="128"/>
                  </a:cubicBezTo>
                  <a:cubicBezTo>
                    <a:pt x="135" y="128"/>
                    <a:pt x="134" y="129"/>
                    <a:pt x="134" y="129"/>
                  </a:cubicBezTo>
                  <a:cubicBezTo>
                    <a:pt x="131" y="132"/>
                    <a:pt x="132" y="138"/>
                    <a:pt x="132" y="138"/>
                  </a:cubicBezTo>
                  <a:cubicBezTo>
                    <a:pt x="130" y="139"/>
                    <a:pt x="131" y="141"/>
                    <a:pt x="131" y="141"/>
                  </a:cubicBezTo>
                  <a:cubicBezTo>
                    <a:pt x="131" y="140"/>
                    <a:pt x="131" y="140"/>
                    <a:pt x="131" y="140"/>
                  </a:cubicBezTo>
                  <a:cubicBezTo>
                    <a:pt x="131" y="140"/>
                    <a:pt x="132" y="142"/>
                    <a:pt x="132" y="142"/>
                  </a:cubicBezTo>
                  <a:cubicBezTo>
                    <a:pt x="132" y="143"/>
                    <a:pt x="131" y="144"/>
                    <a:pt x="131" y="145"/>
                  </a:cubicBezTo>
                  <a:cubicBezTo>
                    <a:pt x="131" y="146"/>
                    <a:pt x="131" y="146"/>
                    <a:pt x="132" y="147"/>
                  </a:cubicBezTo>
                  <a:cubicBezTo>
                    <a:pt x="132" y="149"/>
                    <a:pt x="132" y="148"/>
                    <a:pt x="132" y="149"/>
                  </a:cubicBezTo>
                  <a:cubicBezTo>
                    <a:pt x="132" y="150"/>
                    <a:pt x="133" y="152"/>
                    <a:pt x="133" y="152"/>
                  </a:cubicBezTo>
                  <a:cubicBezTo>
                    <a:pt x="133" y="152"/>
                    <a:pt x="131" y="154"/>
                    <a:pt x="133" y="163"/>
                  </a:cubicBezTo>
                  <a:cubicBezTo>
                    <a:pt x="134" y="172"/>
                    <a:pt x="140" y="172"/>
                    <a:pt x="140" y="172"/>
                  </a:cubicBezTo>
                  <a:cubicBezTo>
                    <a:pt x="140" y="176"/>
                    <a:pt x="143" y="182"/>
                    <a:pt x="144" y="185"/>
                  </a:cubicBezTo>
                  <a:cubicBezTo>
                    <a:pt x="141" y="187"/>
                    <a:pt x="139" y="190"/>
                    <a:pt x="139" y="190"/>
                  </a:cubicBezTo>
                  <a:cubicBezTo>
                    <a:pt x="139" y="190"/>
                    <a:pt x="137" y="188"/>
                    <a:pt x="135" y="187"/>
                  </a:cubicBezTo>
                  <a:cubicBezTo>
                    <a:pt x="135" y="185"/>
                    <a:pt x="135" y="185"/>
                    <a:pt x="135" y="185"/>
                  </a:cubicBezTo>
                  <a:cubicBezTo>
                    <a:pt x="134" y="185"/>
                    <a:pt x="131" y="185"/>
                    <a:pt x="129" y="185"/>
                  </a:cubicBezTo>
                  <a:cubicBezTo>
                    <a:pt x="128" y="184"/>
                    <a:pt x="125" y="181"/>
                    <a:pt x="121" y="179"/>
                  </a:cubicBezTo>
                  <a:cubicBezTo>
                    <a:pt x="118" y="178"/>
                    <a:pt x="110" y="177"/>
                    <a:pt x="109" y="177"/>
                  </a:cubicBezTo>
                  <a:cubicBezTo>
                    <a:pt x="109" y="177"/>
                    <a:pt x="108" y="176"/>
                    <a:pt x="107" y="175"/>
                  </a:cubicBezTo>
                  <a:cubicBezTo>
                    <a:pt x="106" y="175"/>
                    <a:pt x="103" y="176"/>
                    <a:pt x="102" y="176"/>
                  </a:cubicBezTo>
                  <a:cubicBezTo>
                    <a:pt x="101" y="177"/>
                    <a:pt x="99" y="179"/>
                    <a:pt x="97" y="181"/>
                  </a:cubicBezTo>
                  <a:cubicBezTo>
                    <a:pt x="94" y="182"/>
                    <a:pt x="94" y="184"/>
                    <a:pt x="93" y="185"/>
                  </a:cubicBezTo>
                  <a:cubicBezTo>
                    <a:pt x="93" y="185"/>
                    <a:pt x="91" y="185"/>
                    <a:pt x="90" y="186"/>
                  </a:cubicBezTo>
                  <a:cubicBezTo>
                    <a:pt x="89" y="187"/>
                    <a:pt x="88" y="188"/>
                    <a:pt x="87" y="188"/>
                  </a:cubicBezTo>
                  <a:cubicBezTo>
                    <a:pt x="86" y="188"/>
                    <a:pt x="86" y="186"/>
                    <a:pt x="84" y="183"/>
                  </a:cubicBezTo>
                  <a:cubicBezTo>
                    <a:pt x="83" y="181"/>
                    <a:pt x="77" y="178"/>
                    <a:pt x="76" y="178"/>
                  </a:cubicBezTo>
                  <a:cubicBezTo>
                    <a:pt x="75" y="177"/>
                    <a:pt x="74" y="174"/>
                    <a:pt x="73" y="172"/>
                  </a:cubicBezTo>
                  <a:cubicBezTo>
                    <a:pt x="71" y="170"/>
                    <a:pt x="64" y="167"/>
                    <a:pt x="63" y="166"/>
                  </a:cubicBezTo>
                  <a:cubicBezTo>
                    <a:pt x="61" y="164"/>
                    <a:pt x="54" y="160"/>
                    <a:pt x="54" y="160"/>
                  </a:cubicBezTo>
                  <a:cubicBezTo>
                    <a:pt x="53" y="159"/>
                    <a:pt x="50" y="159"/>
                    <a:pt x="50" y="159"/>
                  </a:cubicBezTo>
                  <a:cubicBezTo>
                    <a:pt x="50" y="159"/>
                    <a:pt x="49" y="157"/>
                    <a:pt x="48" y="156"/>
                  </a:cubicBezTo>
                  <a:cubicBezTo>
                    <a:pt x="48" y="156"/>
                    <a:pt x="48" y="156"/>
                    <a:pt x="48" y="156"/>
                  </a:cubicBezTo>
                  <a:cubicBezTo>
                    <a:pt x="48" y="155"/>
                    <a:pt x="48" y="155"/>
                    <a:pt x="48" y="155"/>
                  </a:cubicBezTo>
                  <a:cubicBezTo>
                    <a:pt x="48" y="155"/>
                    <a:pt x="48" y="155"/>
                    <a:pt x="47" y="155"/>
                  </a:cubicBezTo>
                  <a:cubicBezTo>
                    <a:pt x="47" y="154"/>
                    <a:pt x="45" y="152"/>
                    <a:pt x="45" y="152"/>
                  </a:cubicBezTo>
                  <a:cubicBezTo>
                    <a:pt x="45" y="152"/>
                    <a:pt x="46" y="151"/>
                    <a:pt x="47" y="149"/>
                  </a:cubicBezTo>
                  <a:cubicBezTo>
                    <a:pt x="48" y="147"/>
                    <a:pt x="47" y="143"/>
                    <a:pt x="45" y="139"/>
                  </a:cubicBezTo>
                  <a:cubicBezTo>
                    <a:pt x="44" y="135"/>
                    <a:pt x="42" y="122"/>
                    <a:pt x="40" y="116"/>
                  </a:cubicBezTo>
                  <a:cubicBezTo>
                    <a:pt x="40" y="116"/>
                    <a:pt x="40" y="115"/>
                    <a:pt x="39" y="114"/>
                  </a:cubicBezTo>
                  <a:cubicBezTo>
                    <a:pt x="39" y="111"/>
                    <a:pt x="39" y="108"/>
                    <a:pt x="39" y="108"/>
                  </a:cubicBezTo>
                  <a:cubicBezTo>
                    <a:pt x="39" y="108"/>
                    <a:pt x="38" y="107"/>
                    <a:pt x="38" y="107"/>
                  </a:cubicBezTo>
                  <a:cubicBezTo>
                    <a:pt x="38" y="107"/>
                    <a:pt x="38" y="107"/>
                    <a:pt x="37" y="107"/>
                  </a:cubicBezTo>
                  <a:cubicBezTo>
                    <a:pt x="38" y="103"/>
                    <a:pt x="39" y="86"/>
                    <a:pt x="39" y="85"/>
                  </a:cubicBezTo>
                  <a:cubicBezTo>
                    <a:pt x="40" y="84"/>
                    <a:pt x="42" y="80"/>
                    <a:pt x="43" y="78"/>
                  </a:cubicBezTo>
                  <a:cubicBezTo>
                    <a:pt x="44" y="76"/>
                    <a:pt x="52" y="67"/>
                    <a:pt x="53" y="64"/>
                  </a:cubicBezTo>
                  <a:cubicBezTo>
                    <a:pt x="53" y="63"/>
                    <a:pt x="57" y="32"/>
                    <a:pt x="52" y="30"/>
                  </a:cubicBezTo>
                  <a:cubicBezTo>
                    <a:pt x="52" y="30"/>
                    <a:pt x="46" y="28"/>
                    <a:pt x="47" y="40"/>
                  </a:cubicBezTo>
                  <a:cubicBezTo>
                    <a:pt x="48" y="53"/>
                    <a:pt x="44" y="53"/>
                    <a:pt x="43" y="52"/>
                  </a:cubicBezTo>
                  <a:cubicBezTo>
                    <a:pt x="43" y="52"/>
                    <a:pt x="39" y="25"/>
                    <a:pt x="35" y="25"/>
                  </a:cubicBezTo>
                  <a:cubicBezTo>
                    <a:pt x="28" y="27"/>
                    <a:pt x="34" y="32"/>
                    <a:pt x="34" y="42"/>
                  </a:cubicBezTo>
                  <a:cubicBezTo>
                    <a:pt x="35" y="52"/>
                    <a:pt x="34" y="51"/>
                    <a:pt x="34" y="51"/>
                  </a:cubicBezTo>
                  <a:cubicBezTo>
                    <a:pt x="34" y="51"/>
                    <a:pt x="28" y="30"/>
                    <a:pt x="22" y="32"/>
                  </a:cubicBezTo>
                  <a:cubicBezTo>
                    <a:pt x="16" y="34"/>
                    <a:pt x="25" y="44"/>
                    <a:pt x="26" y="48"/>
                  </a:cubicBezTo>
                  <a:cubicBezTo>
                    <a:pt x="26" y="52"/>
                    <a:pt x="28" y="55"/>
                    <a:pt x="26" y="55"/>
                  </a:cubicBezTo>
                  <a:cubicBezTo>
                    <a:pt x="25" y="55"/>
                    <a:pt x="13" y="34"/>
                    <a:pt x="11" y="43"/>
                  </a:cubicBezTo>
                  <a:cubicBezTo>
                    <a:pt x="11" y="43"/>
                    <a:pt x="13" y="48"/>
                    <a:pt x="16" y="52"/>
                  </a:cubicBezTo>
                  <a:cubicBezTo>
                    <a:pt x="18" y="54"/>
                    <a:pt x="20" y="59"/>
                    <a:pt x="21" y="60"/>
                  </a:cubicBezTo>
                  <a:cubicBezTo>
                    <a:pt x="20" y="62"/>
                    <a:pt x="17" y="69"/>
                    <a:pt x="18" y="73"/>
                  </a:cubicBezTo>
                  <a:cubicBezTo>
                    <a:pt x="19" y="77"/>
                    <a:pt x="20" y="83"/>
                    <a:pt x="20" y="85"/>
                  </a:cubicBezTo>
                  <a:cubicBezTo>
                    <a:pt x="19" y="87"/>
                    <a:pt x="17" y="101"/>
                    <a:pt x="16" y="107"/>
                  </a:cubicBezTo>
                  <a:cubicBezTo>
                    <a:pt x="15" y="108"/>
                    <a:pt x="13" y="108"/>
                    <a:pt x="12" y="109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4" y="119"/>
                    <a:pt x="0" y="123"/>
                    <a:pt x="0" y="123"/>
                  </a:cubicBezTo>
                  <a:cubicBezTo>
                    <a:pt x="1" y="126"/>
                    <a:pt x="1" y="126"/>
                    <a:pt x="1" y="126"/>
                  </a:cubicBezTo>
                  <a:cubicBezTo>
                    <a:pt x="5" y="135"/>
                    <a:pt x="12" y="158"/>
                    <a:pt x="13" y="161"/>
                  </a:cubicBezTo>
                  <a:cubicBezTo>
                    <a:pt x="14" y="165"/>
                    <a:pt x="15" y="171"/>
                    <a:pt x="18" y="178"/>
                  </a:cubicBezTo>
                  <a:cubicBezTo>
                    <a:pt x="22" y="186"/>
                    <a:pt x="30" y="192"/>
                    <a:pt x="31" y="193"/>
                  </a:cubicBezTo>
                  <a:cubicBezTo>
                    <a:pt x="33" y="195"/>
                    <a:pt x="45" y="206"/>
                    <a:pt x="55" y="215"/>
                  </a:cubicBezTo>
                  <a:cubicBezTo>
                    <a:pt x="64" y="224"/>
                    <a:pt x="75" y="229"/>
                    <a:pt x="76" y="230"/>
                  </a:cubicBezTo>
                  <a:cubicBezTo>
                    <a:pt x="77" y="232"/>
                    <a:pt x="79" y="234"/>
                    <a:pt x="81" y="234"/>
                  </a:cubicBezTo>
                  <a:cubicBezTo>
                    <a:pt x="82" y="235"/>
                    <a:pt x="82" y="236"/>
                    <a:pt x="83" y="237"/>
                  </a:cubicBezTo>
                  <a:cubicBezTo>
                    <a:pt x="83" y="238"/>
                    <a:pt x="85" y="238"/>
                    <a:pt x="86" y="239"/>
                  </a:cubicBezTo>
                  <a:cubicBezTo>
                    <a:pt x="86" y="240"/>
                    <a:pt x="88" y="245"/>
                    <a:pt x="87" y="254"/>
                  </a:cubicBezTo>
                  <a:cubicBezTo>
                    <a:pt x="86" y="262"/>
                    <a:pt x="84" y="291"/>
                    <a:pt x="83" y="298"/>
                  </a:cubicBezTo>
                  <a:cubicBezTo>
                    <a:pt x="82" y="304"/>
                    <a:pt x="78" y="341"/>
                    <a:pt x="78" y="343"/>
                  </a:cubicBezTo>
                  <a:cubicBezTo>
                    <a:pt x="78" y="345"/>
                    <a:pt x="78" y="351"/>
                    <a:pt x="78" y="352"/>
                  </a:cubicBezTo>
                  <a:cubicBezTo>
                    <a:pt x="77" y="354"/>
                    <a:pt x="75" y="370"/>
                    <a:pt x="74" y="372"/>
                  </a:cubicBezTo>
                  <a:cubicBezTo>
                    <a:pt x="74" y="375"/>
                    <a:pt x="70" y="387"/>
                    <a:pt x="70" y="390"/>
                  </a:cubicBezTo>
                  <a:cubicBezTo>
                    <a:pt x="70" y="393"/>
                    <a:pt x="78" y="401"/>
                    <a:pt x="80" y="403"/>
                  </a:cubicBezTo>
                  <a:cubicBezTo>
                    <a:pt x="82" y="405"/>
                    <a:pt x="91" y="411"/>
                    <a:pt x="91" y="411"/>
                  </a:cubicBezTo>
                  <a:cubicBezTo>
                    <a:pt x="91" y="412"/>
                    <a:pt x="87" y="427"/>
                    <a:pt x="87" y="429"/>
                  </a:cubicBezTo>
                  <a:cubicBezTo>
                    <a:pt x="87" y="431"/>
                    <a:pt x="87" y="437"/>
                    <a:pt x="87" y="438"/>
                  </a:cubicBezTo>
                  <a:cubicBezTo>
                    <a:pt x="86" y="440"/>
                    <a:pt x="86" y="451"/>
                    <a:pt x="86" y="455"/>
                  </a:cubicBezTo>
                  <a:cubicBezTo>
                    <a:pt x="86" y="460"/>
                    <a:pt x="86" y="477"/>
                    <a:pt x="86" y="484"/>
                  </a:cubicBezTo>
                  <a:cubicBezTo>
                    <a:pt x="86" y="491"/>
                    <a:pt x="87" y="517"/>
                    <a:pt x="87" y="520"/>
                  </a:cubicBezTo>
                  <a:cubicBezTo>
                    <a:pt x="87" y="523"/>
                    <a:pt x="88" y="541"/>
                    <a:pt x="88" y="544"/>
                  </a:cubicBezTo>
                  <a:cubicBezTo>
                    <a:pt x="89" y="547"/>
                    <a:pt x="88" y="562"/>
                    <a:pt x="88" y="563"/>
                  </a:cubicBezTo>
                  <a:cubicBezTo>
                    <a:pt x="88" y="565"/>
                    <a:pt x="89" y="568"/>
                    <a:pt x="89" y="570"/>
                  </a:cubicBezTo>
                  <a:cubicBezTo>
                    <a:pt x="90" y="573"/>
                    <a:pt x="89" y="598"/>
                    <a:pt x="88" y="604"/>
                  </a:cubicBezTo>
                  <a:cubicBezTo>
                    <a:pt x="88" y="611"/>
                    <a:pt x="86" y="647"/>
                    <a:pt x="85" y="656"/>
                  </a:cubicBezTo>
                  <a:cubicBezTo>
                    <a:pt x="84" y="664"/>
                    <a:pt x="84" y="692"/>
                    <a:pt x="85" y="697"/>
                  </a:cubicBezTo>
                  <a:cubicBezTo>
                    <a:pt x="85" y="702"/>
                    <a:pt x="93" y="704"/>
                    <a:pt x="93" y="704"/>
                  </a:cubicBezTo>
                  <a:cubicBezTo>
                    <a:pt x="91" y="709"/>
                    <a:pt x="78" y="722"/>
                    <a:pt x="75" y="724"/>
                  </a:cubicBezTo>
                  <a:cubicBezTo>
                    <a:pt x="72" y="726"/>
                    <a:pt x="71" y="732"/>
                    <a:pt x="71" y="732"/>
                  </a:cubicBezTo>
                  <a:cubicBezTo>
                    <a:pt x="70" y="733"/>
                    <a:pt x="68" y="734"/>
                    <a:pt x="69" y="737"/>
                  </a:cubicBezTo>
                  <a:cubicBezTo>
                    <a:pt x="70" y="740"/>
                    <a:pt x="90" y="743"/>
                    <a:pt x="96" y="743"/>
                  </a:cubicBezTo>
                  <a:cubicBezTo>
                    <a:pt x="102" y="744"/>
                    <a:pt x="110" y="740"/>
                    <a:pt x="112" y="737"/>
                  </a:cubicBezTo>
                  <a:cubicBezTo>
                    <a:pt x="114" y="734"/>
                    <a:pt x="115" y="730"/>
                    <a:pt x="115" y="730"/>
                  </a:cubicBezTo>
                  <a:cubicBezTo>
                    <a:pt x="115" y="730"/>
                    <a:pt x="115" y="730"/>
                    <a:pt x="119" y="731"/>
                  </a:cubicBezTo>
                  <a:cubicBezTo>
                    <a:pt x="122" y="732"/>
                    <a:pt x="130" y="727"/>
                    <a:pt x="131" y="726"/>
                  </a:cubicBezTo>
                  <a:cubicBezTo>
                    <a:pt x="132" y="725"/>
                    <a:pt x="131" y="722"/>
                    <a:pt x="131" y="722"/>
                  </a:cubicBezTo>
                  <a:cubicBezTo>
                    <a:pt x="130" y="721"/>
                    <a:pt x="132" y="718"/>
                    <a:pt x="132" y="717"/>
                  </a:cubicBezTo>
                  <a:cubicBezTo>
                    <a:pt x="132" y="715"/>
                    <a:pt x="131" y="714"/>
                    <a:pt x="131" y="713"/>
                  </a:cubicBezTo>
                  <a:cubicBezTo>
                    <a:pt x="131" y="713"/>
                    <a:pt x="134" y="704"/>
                    <a:pt x="134" y="702"/>
                  </a:cubicBezTo>
                  <a:cubicBezTo>
                    <a:pt x="135" y="701"/>
                    <a:pt x="133" y="699"/>
                    <a:pt x="132" y="698"/>
                  </a:cubicBezTo>
                  <a:cubicBezTo>
                    <a:pt x="132" y="697"/>
                    <a:pt x="131" y="695"/>
                    <a:pt x="129" y="694"/>
                  </a:cubicBezTo>
                  <a:cubicBezTo>
                    <a:pt x="128" y="692"/>
                    <a:pt x="127" y="690"/>
                    <a:pt x="126" y="688"/>
                  </a:cubicBezTo>
                  <a:cubicBezTo>
                    <a:pt x="126" y="685"/>
                    <a:pt x="128" y="681"/>
                    <a:pt x="129" y="680"/>
                  </a:cubicBezTo>
                  <a:cubicBezTo>
                    <a:pt x="130" y="679"/>
                    <a:pt x="130" y="676"/>
                    <a:pt x="131" y="675"/>
                  </a:cubicBezTo>
                  <a:cubicBezTo>
                    <a:pt x="131" y="673"/>
                    <a:pt x="132" y="661"/>
                    <a:pt x="132" y="657"/>
                  </a:cubicBezTo>
                  <a:cubicBezTo>
                    <a:pt x="131" y="653"/>
                    <a:pt x="131" y="641"/>
                    <a:pt x="131" y="639"/>
                  </a:cubicBezTo>
                  <a:cubicBezTo>
                    <a:pt x="131" y="636"/>
                    <a:pt x="131" y="624"/>
                    <a:pt x="131" y="622"/>
                  </a:cubicBezTo>
                  <a:cubicBezTo>
                    <a:pt x="131" y="621"/>
                    <a:pt x="130" y="615"/>
                    <a:pt x="131" y="614"/>
                  </a:cubicBezTo>
                  <a:cubicBezTo>
                    <a:pt x="131" y="612"/>
                    <a:pt x="131" y="610"/>
                    <a:pt x="131" y="608"/>
                  </a:cubicBezTo>
                  <a:cubicBezTo>
                    <a:pt x="132" y="605"/>
                    <a:pt x="131" y="599"/>
                    <a:pt x="131" y="597"/>
                  </a:cubicBezTo>
                  <a:cubicBezTo>
                    <a:pt x="130" y="595"/>
                    <a:pt x="131" y="591"/>
                    <a:pt x="131" y="589"/>
                  </a:cubicBezTo>
                  <a:cubicBezTo>
                    <a:pt x="132" y="586"/>
                    <a:pt x="133" y="578"/>
                    <a:pt x="133" y="576"/>
                  </a:cubicBezTo>
                  <a:cubicBezTo>
                    <a:pt x="133" y="575"/>
                    <a:pt x="135" y="572"/>
                    <a:pt x="136" y="569"/>
                  </a:cubicBezTo>
                  <a:cubicBezTo>
                    <a:pt x="138" y="566"/>
                    <a:pt x="138" y="554"/>
                    <a:pt x="138" y="550"/>
                  </a:cubicBezTo>
                  <a:cubicBezTo>
                    <a:pt x="138" y="546"/>
                    <a:pt x="139" y="535"/>
                    <a:pt x="140" y="531"/>
                  </a:cubicBezTo>
                  <a:cubicBezTo>
                    <a:pt x="140" y="529"/>
                    <a:pt x="142" y="519"/>
                    <a:pt x="143" y="512"/>
                  </a:cubicBezTo>
                  <a:cubicBezTo>
                    <a:pt x="143" y="511"/>
                    <a:pt x="144" y="510"/>
                    <a:pt x="144" y="508"/>
                  </a:cubicBezTo>
                  <a:cubicBezTo>
                    <a:pt x="144" y="508"/>
                    <a:pt x="144" y="508"/>
                    <a:pt x="144" y="508"/>
                  </a:cubicBezTo>
                  <a:cubicBezTo>
                    <a:pt x="146" y="504"/>
                    <a:pt x="147" y="491"/>
                    <a:pt x="148" y="490"/>
                  </a:cubicBezTo>
                  <a:cubicBezTo>
                    <a:pt x="148" y="488"/>
                    <a:pt x="149" y="485"/>
                    <a:pt x="149" y="481"/>
                  </a:cubicBezTo>
                  <a:cubicBezTo>
                    <a:pt x="149" y="481"/>
                    <a:pt x="149" y="481"/>
                    <a:pt x="149" y="481"/>
                  </a:cubicBezTo>
                  <a:cubicBezTo>
                    <a:pt x="149" y="480"/>
                    <a:pt x="149" y="479"/>
                    <a:pt x="149" y="478"/>
                  </a:cubicBezTo>
                  <a:cubicBezTo>
                    <a:pt x="150" y="477"/>
                    <a:pt x="150" y="475"/>
                    <a:pt x="150" y="473"/>
                  </a:cubicBezTo>
                  <a:cubicBezTo>
                    <a:pt x="150" y="470"/>
                    <a:pt x="151" y="468"/>
                    <a:pt x="151" y="467"/>
                  </a:cubicBezTo>
                  <a:cubicBezTo>
                    <a:pt x="151" y="467"/>
                    <a:pt x="151" y="467"/>
                    <a:pt x="151" y="467"/>
                  </a:cubicBezTo>
                  <a:cubicBezTo>
                    <a:pt x="151" y="467"/>
                    <a:pt x="151" y="467"/>
                    <a:pt x="151" y="467"/>
                  </a:cubicBezTo>
                  <a:cubicBezTo>
                    <a:pt x="151" y="470"/>
                    <a:pt x="152" y="483"/>
                    <a:pt x="152" y="485"/>
                  </a:cubicBezTo>
                  <a:cubicBezTo>
                    <a:pt x="152" y="486"/>
                    <a:pt x="154" y="493"/>
                    <a:pt x="155" y="494"/>
                  </a:cubicBezTo>
                  <a:cubicBezTo>
                    <a:pt x="155" y="496"/>
                    <a:pt x="155" y="497"/>
                    <a:pt x="155" y="499"/>
                  </a:cubicBezTo>
                  <a:cubicBezTo>
                    <a:pt x="155" y="499"/>
                    <a:pt x="155" y="500"/>
                    <a:pt x="155" y="501"/>
                  </a:cubicBezTo>
                  <a:cubicBezTo>
                    <a:pt x="155" y="501"/>
                    <a:pt x="155" y="502"/>
                    <a:pt x="155" y="502"/>
                  </a:cubicBezTo>
                  <a:cubicBezTo>
                    <a:pt x="155" y="502"/>
                    <a:pt x="155" y="502"/>
                    <a:pt x="155" y="503"/>
                  </a:cubicBezTo>
                  <a:cubicBezTo>
                    <a:pt x="155" y="509"/>
                    <a:pt x="156" y="519"/>
                    <a:pt x="157" y="523"/>
                  </a:cubicBezTo>
                  <a:cubicBezTo>
                    <a:pt x="158" y="528"/>
                    <a:pt x="161" y="551"/>
                    <a:pt x="161" y="554"/>
                  </a:cubicBezTo>
                  <a:cubicBezTo>
                    <a:pt x="162" y="558"/>
                    <a:pt x="161" y="564"/>
                    <a:pt x="161" y="567"/>
                  </a:cubicBezTo>
                  <a:cubicBezTo>
                    <a:pt x="160" y="569"/>
                    <a:pt x="164" y="577"/>
                    <a:pt x="165" y="578"/>
                  </a:cubicBezTo>
                  <a:cubicBezTo>
                    <a:pt x="165" y="579"/>
                    <a:pt x="164" y="584"/>
                    <a:pt x="164" y="584"/>
                  </a:cubicBezTo>
                  <a:cubicBezTo>
                    <a:pt x="164" y="585"/>
                    <a:pt x="163" y="592"/>
                    <a:pt x="163" y="593"/>
                  </a:cubicBezTo>
                  <a:cubicBezTo>
                    <a:pt x="163" y="594"/>
                    <a:pt x="164" y="602"/>
                    <a:pt x="164" y="603"/>
                  </a:cubicBezTo>
                  <a:cubicBezTo>
                    <a:pt x="164" y="604"/>
                    <a:pt x="164" y="620"/>
                    <a:pt x="163" y="622"/>
                  </a:cubicBezTo>
                  <a:cubicBezTo>
                    <a:pt x="163" y="624"/>
                    <a:pt x="164" y="633"/>
                    <a:pt x="164" y="635"/>
                  </a:cubicBezTo>
                  <a:cubicBezTo>
                    <a:pt x="163" y="638"/>
                    <a:pt x="160" y="648"/>
                    <a:pt x="159" y="651"/>
                  </a:cubicBezTo>
                  <a:cubicBezTo>
                    <a:pt x="159" y="654"/>
                    <a:pt x="155" y="670"/>
                    <a:pt x="154" y="677"/>
                  </a:cubicBezTo>
                  <a:cubicBezTo>
                    <a:pt x="153" y="683"/>
                    <a:pt x="159" y="691"/>
                    <a:pt x="159" y="693"/>
                  </a:cubicBezTo>
                  <a:cubicBezTo>
                    <a:pt x="159" y="694"/>
                    <a:pt x="154" y="703"/>
                    <a:pt x="154" y="704"/>
                  </a:cubicBezTo>
                  <a:cubicBezTo>
                    <a:pt x="154" y="705"/>
                    <a:pt x="152" y="707"/>
                    <a:pt x="153" y="710"/>
                  </a:cubicBezTo>
                  <a:cubicBezTo>
                    <a:pt x="154" y="714"/>
                    <a:pt x="159" y="717"/>
                    <a:pt x="159" y="717"/>
                  </a:cubicBezTo>
                  <a:cubicBezTo>
                    <a:pt x="159" y="718"/>
                    <a:pt x="159" y="726"/>
                    <a:pt x="159" y="726"/>
                  </a:cubicBezTo>
                  <a:cubicBezTo>
                    <a:pt x="159" y="727"/>
                    <a:pt x="159" y="728"/>
                    <a:pt x="162" y="730"/>
                  </a:cubicBezTo>
                  <a:cubicBezTo>
                    <a:pt x="164" y="732"/>
                    <a:pt x="164" y="731"/>
                    <a:pt x="164" y="731"/>
                  </a:cubicBezTo>
                  <a:cubicBezTo>
                    <a:pt x="164" y="731"/>
                    <a:pt x="165" y="732"/>
                    <a:pt x="165" y="734"/>
                  </a:cubicBezTo>
                  <a:cubicBezTo>
                    <a:pt x="165" y="737"/>
                    <a:pt x="164" y="743"/>
                    <a:pt x="172" y="745"/>
                  </a:cubicBezTo>
                  <a:cubicBezTo>
                    <a:pt x="181" y="748"/>
                    <a:pt x="200" y="746"/>
                    <a:pt x="202" y="745"/>
                  </a:cubicBezTo>
                  <a:cubicBezTo>
                    <a:pt x="204" y="744"/>
                    <a:pt x="204" y="744"/>
                    <a:pt x="205" y="741"/>
                  </a:cubicBezTo>
                  <a:cubicBezTo>
                    <a:pt x="206" y="738"/>
                    <a:pt x="204" y="737"/>
                    <a:pt x="204" y="737"/>
                  </a:cubicBezTo>
                  <a:cubicBezTo>
                    <a:pt x="204" y="737"/>
                    <a:pt x="204" y="736"/>
                    <a:pt x="204" y="734"/>
                  </a:cubicBezTo>
                  <a:cubicBezTo>
                    <a:pt x="203" y="731"/>
                    <a:pt x="202" y="730"/>
                    <a:pt x="200" y="727"/>
                  </a:cubicBezTo>
                  <a:cubicBezTo>
                    <a:pt x="198" y="724"/>
                    <a:pt x="194" y="718"/>
                    <a:pt x="194" y="718"/>
                  </a:cubicBezTo>
                  <a:cubicBezTo>
                    <a:pt x="194" y="718"/>
                    <a:pt x="195" y="717"/>
                    <a:pt x="196" y="717"/>
                  </a:cubicBezTo>
                  <a:cubicBezTo>
                    <a:pt x="196" y="716"/>
                    <a:pt x="196" y="713"/>
                    <a:pt x="197" y="711"/>
                  </a:cubicBezTo>
                  <a:cubicBezTo>
                    <a:pt x="197" y="708"/>
                    <a:pt x="197" y="701"/>
                    <a:pt x="197" y="700"/>
                  </a:cubicBezTo>
                  <a:cubicBezTo>
                    <a:pt x="197" y="699"/>
                    <a:pt x="196" y="699"/>
                    <a:pt x="195" y="698"/>
                  </a:cubicBezTo>
                  <a:cubicBezTo>
                    <a:pt x="194" y="698"/>
                    <a:pt x="198" y="686"/>
                    <a:pt x="199" y="681"/>
                  </a:cubicBezTo>
                  <a:cubicBezTo>
                    <a:pt x="201" y="676"/>
                    <a:pt x="202" y="662"/>
                    <a:pt x="203" y="658"/>
                  </a:cubicBezTo>
                  <a:cubicBezTo>
                    <a:pt x="203" y="654"/>
                    <a:pt x="204" y="643"/>
                    <a:pt x="204" y="640"/>
                  </a:cubicBezTo>
                  <a:cubicBezTo>
                    <a:pt x="204" y="638"/>
                    <a:pt x="206" y="626"/>
                    <a:pt x="207" y="620"/>
                  </a:cubicBezTo>
                  <a:cubicBezTo>
                    <a:pt x="208" y="614"/>
                    <a:pt x="208" y="609"/>
                    <a:pt x="208" y="602"/>
                  </a:cubicBezTo>
                  <a:cubicBezTo>
                    <a:pt x="208" y="596"/>
                    <a:pt x="207" y="578"/>
                    <a:pt x="207" y="572"/>
                  </a:cubicBezTo>
                  <a:cubicBezTo>
                    <a:pt x="208" y="565"/>
                    <a:pt x="208" y="556"/>
                    <a:pt x="209" y="548"/>
                  </a:cubicBezTo>
                  <a:cubicBezTo>
                    <a:pt x="210" y="540"/>
                    <a:pt x="211" y="532"/>
                    <a:pt x="213" y="525"/>
                  </a:cubicBezTo>
                  <a:cubicBezTo>
                    <a:pt x="215" y="518"/>
                    <a:pt x="217" y="507"/>
                    <a:pt x="218" y="503"/>
                  </a:cubicBezTo>
                  <a:cubicBezTo>
                    <a:pt x="218" y="498"/>
                    <a:pt x="219" y="490"/>
                    <a:pt x="220" y="482"/>
                  </a:cubicBezTo>
                  <a:cubicBezTo>
                    <a:pt x="221" y="474"/>
                    <a:pt x="222" y="457"/>
                    <a:pt x="222" y="452"/>
                  </a:cubicBezTo>
                  <a:cubicBezTo>
                    <a:pt x="222" y="447"/>
                    <a:pt x="222" y="442"/>
                    <a:pt x="222" y="440"/>
                  </a:cubicBezTo>
                  <a:cubicBezTo>
                    <a:pt x="222" y="437"/>
                    <a:pt x="221" y="425"/>
                    <a:pt x="220" y="420"/>
                  </a:cubicBezTo>
                  <a:cubicBezTo>
                    <a:pt x="220" y="414"/>
                    <a:pt x="217" y="408"/>
                    <a:pt x="216" y="404"/>
                  </a:cubicBezTo>
                  <a:cubicBezTo>
                    <a:pt x="216" y="399"/>
                    <a:pt x="216" y="395"/>
                    <a:pt x="215" y="394"/>
                  </a:cubicBezTo>
                  <a:cubicBezTo>
                    <a:pt x="216" y="395"/>
                    <a:pt x="221" y="394"/>
                    <a:pt x="225" y="391"/>
                  </a:cubicBezTo>
                  <a:cubicBezTo>
                    <a:pt x="225" y="391"/>
                    <a:pt x="231" y="400"/>
                    <a:pt x="232" y="402"/>
                  </a:cubicBezTo>
                  <a:cubicBezTo>
                    <a:pt x="234" y="403"/>
                    <a:pt x="237" y="404"/>
                    <a:pt x="238" y="403"/>
                  </a:cubicBezTo>
                  <a:cubicBezTo>
                    <a:pt x="239" y="403"/>
                    <a:pt x="243" y="399"/>
                    <a:pt x="244" y="398"/>
                  </a:cubicBezTo>
                  <a:cubicBezTo>
                    <a:pt x="245" y="397"/>
                    <a:pt x="249" y="395"/>
                    <a:pt x="251" y="393"/>
                  </a:cubicBezTo>
                  <a:cubicBezTo>
                    <a:pt x="253" y="392"/>
                    <a:pt x="260" y="385"/>
                    <a:pt x="261" y="382"/>
                  </a:cubicBezTo>
                  <a:cubicBezTo>
                    <a:pt x="262" y="380"/>
                    <a:pt x="253" y="345"/>
                    <a:pt x="253" y="345"/>
                  </a:cubicBezTo>
                  <a:cubicBezTo>
                    <a:pt x="253" y="343"/>
                    <a:pt x="251" y="337"/>
                    <a:pt x="250" y="335"/>
                  </a:cubicBezTo>
                  <a:cubicBezTo>
                    <a:pt x="249" y="333"/>
                    <a:pt x="248" y="327"/>
                    <a:pt x="248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9" y="321"/>
                    <a:pt x="245" y="310"/>
                    <a:pt x="244" y="308"/>
                  </a:cubicBezTo>
                  <a:cubicBezTo>
                    <a:pt x="244" y="308"/>
                    <a:pt x="244" y="308"/>
                    <a:pt x="244" y="308"/>
                  </a:cubicBezTo>
                  <a:cubicBezTo>
                    <a:pt x="244" y="308"/>
                    <a:pt x="243" y="304"/>
                    <a:pt x="242" y="302"/>
                  </a:cubicBezTo>
                  <a:cubicBezTo>
                    <a:pt x="242" y="300"/>
                    <a:pt x="240" y="291"/>
                    <a:pt x="240" y="286"/>
                  </a:cubicBezTo>
                  <a:cubicBezTo>
                    <a:pt x="239" y="282"/>
                    <a:pt x="238" y="273"/>
                    <a:pt x="238" y="270"/>
                  </a:cubicBezTo>
                  <a:cubicBezTo>
                    <a:pt x="238" y="267"/>
                    <a:pt x="237" y="260"/>
                    <a:pt x="237" y="259"/>
                  </a:cubicBezTo>
                  <a:cubicBezTo>
                    <a:pt x="236" y="258"/>
                    <a:pt x="235" y="247"/>
                    <a:pt x="235" y="247"/>
                  </a:cubicBezTo>
                  <a:cubicBezTo>
                    <a:pt x="235" y="247"/>
                    <a:pt x="236" y="243"/>
                    <a:pt x="236" y="243"/>
                  </a:cubicBezTo>
                  <a:cubicBezTo>
                    <a:pt x="236" y="242"/>
                    <a:pt x="238" y="239"/>
                    <a:pt x="239" y="237"/>
                  </a:cubicBezTo>
                  <a:cubicBezTo>
                    <a:pt x="240" y="236"/>
                    <a:pt x="242" y="229"/>
                    <a:pt x="242" y="229"/>
                  </a:cubicBezTo>
                  <a:cubicBezTo>
                    <a:pt x="242" y="228"/>
                    <a:pt x="242" y="228"/>
                    <a:pt x="244" y="226"/>
                  </a:cubicBezTo>
                  <a:cubicBezTo>
                    <a:pt x="246" y="225"/>
                    <a:pt x="248" y="217"/>
                    <a:pt x="249" y="215"/>
                  </a:cubicBezTo>
                  <a:cubicBezTo>
                    <a:pt x="250" y="213"/>
                    <a:pt x="255" y="201"/>
                    <a:pt x="257" y="195"/>
                  </a:cubicBezTo>
                  <a:cubicBezTo>
                    <a:pt x="260" y="189"/>
                    <a:pt x="263" y="181"/>
                    <a:pt x="265" y="178"/>
                  </a:cubicBezTo>
                  <a:cubicBezTo>
                    <a:pt x="267" y="175"/>
                    <a:pt x="265" y="174"/>
                    <a:pt x="265" y="172"/>
                  </a:cubicBezTo>
                  <a:cubicBezTo>
                    <a:pt x="266" y="170"/>
                    <a:pt x="271" y="162"/>
                    <a:pt x="271" y="159"/>
                  </a:cubicBezTo>
                  <a:cubicBezTo>
                    <a:pt x="271" y="157"/>
                    <a:pt x="270" y="155"/>
                    <a:pt x="270" y="152"/>
                  </a:cubicBezTo>
                  <a:cubicBezTo>
                    <a:pt x="270" y="150"/>
                    <a:pt x="271" y="147"/>
                    <a:pt x="272" y="144"/>
                  </a:cubicBezTo>
                  <a:cubicBezTo>
                    <a:pt x="273" y="140"/>
                    <a:pt x="274" y="136"/>
                    <a:pt x="273" y="131"/>
                  </a:cubicBezTo>
                  <a:cubicBezTo>
                    <a:pt x="273" y="126"/>
                    <a:pt x="272" y="121"/>
                    <a:pt x="274" y="112"/>
                  </a:cubicBezTo>
                  <a:cubicBezTo>
                    <a:pt x="276" y="104"/>
                    <a:pt x="275" y="101"/>
                    <a:pt x="277" y="96"/>
                  </a:cubicBezTo>
                  <a:cubicBezTo>
                    <a:pt x="278" y="91"/>
                    <a:pt x="283" y="76"/>
                    <a:pt x="283" y="76"/>
                  </a:cubicBezTo>
                  <a:cubicBezTo>
                    <a:pt x="280" y="75"/>
                    <a:pt x="276" y="74"/>
                    <a:pt x="273" y="7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3" name="Freeform 159">
              <a:extLst>
                <a:ext uri="{FF2B5EF4-FFF2-40B4-BE49-F238E27FC236}">
                  <a16:creationId xmlns:a16="http://schemas.microsoft.com/office/drawing/2014/main" id="{E8F9AAFA-BC7F-4088-8BB9-906703BAFEFF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200" y="2774361"/>
              <a:ext cx="968215" cy="604838"/>
            </a:xfrm>
            <a:custGeom>
              <a:avLst/>
              <a:gdLst>
                <a:gd name="T0" fmla="*/ 0 w 1007"/>
                <a:gd name="T1" fmla="*/ 628 h 628"/>
                <a:gd name="T2" fmla="*/ 522 w 1007"/>
                <a:gd name="T3" fmla="*/ 460 h 628"/>
                <a:gd name="T4" fmla="*/ 818 w 1007"/>
                <a:gd name="T5" fmla="*/ 180 h 628"/>
                <a:gd name="T6" fmla="*/ 756 w 1007"/>
                <a:gd name="T7" fmla="*/ 140 h 628"/>
                <a:gd name="T8" fmla="*/ 756 w 1007"/>
                <a:gd name="T9" fmla="*/ 135 h 628"/>
                <a:gd name="T10" fmla="*/ 1007 w 1007"/>
                <a:gd name="T11" fmla="*/ 0 h 628"/>
                <a:gd name="T12" fmla="*/ 987 w 1007"/>
                <a:gd name="T13" fmla="*/ 284 h 628"/>
                <a:gd name="T14" fmla="*/ 985 w 1007"/>
                <a:gd name="T15" fmla="*/ 287 h 628"/>
                <a:gd name="T16" fmla="*/ 923 w 1007"/>
                <a:gd name="T17" fmla="*/ 244 h 628"/>
                <a:gd name="T18" fmla="*/ 671 w 1007"/>
                <a:gd name="T19" fmla="*/ 461 h 628"/>
                <a:gd name="T20" fmla="*/ 0 w 1007"/>
                <a:gd name="T21" fmla="*/ 628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7" h="628">
                  <a:moveTo>
                    <a:pt x="0" y="628"/>
                  </a:moveTo>
                  <a:cubicBezTo>
                    <a:pt x="0" y="628"/>
                    <a:pt x="307" y="605"/>
                    <a:pt x="522" y="460"/>
                  </a:cubicBezTo>
                  <a:cubicBezTo>
                    <a:pt x="693" y="346"/>
                    <a:pt x="722" y="291"/>
                    <a:pt x="818" y="180"/>
                  </a:cubicBezTo>
                  <a:cubicBezTo>
                    <a:pt x="756" y="140"/>
                    <a:pt x="756" y="140"/>
                    <a:pt x="756" y="140"/>
                  </a:cubicBezTo>
                  <a:cubicBezTo>
                    <a:pt x="756" y="135"/>
                    <a:pt x="756" y="135"/>
                    <a:pt x="756" y="135"/>
                  </a:cubicBezTo>
                  <a:cubicBezTo>
                    <a:pt x="1007" y="0"/>
                    <a:pt x="1007" y="0"/>
                    <a:pt x="1007" y="0"/>
                  </a:cubicBezTo>
                  <a:cubicBezTo>
                    <a:pt x="987" y="284"/>
                    <a:pt x="987" y="284"/>
                    <a:pt x="987" y="284"/>
                  </a:cubicBezTo>
                  <a:cubicBezTo>
                    <a:pt x="985" y="287"/>
                    <a:pt x="985" y="287"/>
                    <a:pt x="985" y="287"/>
                  </a:cubicBezTo>
                  <a:cubicBezTo>
                    <a:pt x="923" y="244"/>
                    <a:pt x="923" y="244"/>
                    <a:pt x="923" y="244"/>
                  </a:cubicBezTo>
                  <a:cubicBezTo>
                    <a:pt x="923" y="244"/>
                    <a:pt x="737" y="418"/>
                    <a:pt x="671" y="461"/>
                  </a:cubicBezTo>
                  <a:cubicBezTo>
                    <a:pt x="604" y="505"/>
                    <a:pt x="423" y="615"/>
                    <a:pt x="0" y="62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4" name="Freeform 160">
              <a:extLst>
                <a:ext uri="{FF2B5EF4-FFF2-40B4-BE49-F238E27FC236}">
                  <a16:creationId xmlns:a16="http://schemas.microsoft.com/office/drawing/2014/main" id="{99EF0D61-474C-4263-AAD0-94260F0D4F3B}"/>
                </a:ext>
              </a:extLst>
            </p:cNvPr>
            <p:cNvSpPr>
              <a:spLocks/>
            </p:cNvSpPr>
            <p:nvPr/>
          </p:nvSpPr>
          <p:spPr bwMode="gray">
            <a:xfrm>
              <a:off x="701635" y="3344274"/>
              <a:ext cx="33331" cy="17463"/>
            </a:xfrm>
            <a:custGeom>
              <a:avLst/>
              <a:gdLst>
                <a:gd name="T0" fmla="*/ 6 w 35"/>
                <a:gd name="T1" fmla="*/ 1 h 19"/>
                <a:gd name="T2" fmla="*/ 5 w 35"/>
                <a:gd name="T3" fmla="*/ 5 h 19"/>
                <a:gd name="T4" fmla="*/ 4 w 35"/>
                <a:gd name="T5" fmla="*/ 6 h 19"/>
                <a:gd name="T6" fmla="*/ 3 w 35"/>
                <a:gd name="T7" fmla="*/ 10 h 19"/>
                <a:gd name="T8" fmla="*/ 4 w 35"/>
                <a:gd name="T9" fmla="*/ 13 h 19"/>
                <a:gd name="T10" fmla="*/ 0 w 35"/>
                <a:gd name="T11" fmla="*/ 14 h 19"/>
                <a:gd name="T12" fmla="*/ 4 w 35"/>
                <a:gd name="T13" fmla="*/ 17 h 19"/>
                <a:gd name="T14" fmla="*/ 10 w 35"/>
                <a:gd name="T15" fmla="*/ 19 h 19"/>
                <a:gd name="T16" fmla="*/ 13 w 35"/>
                <a:gd name="T17" fmla="*/ 19 h 19"/>
                <a:gd name="T18" fmla="*/ 15 w 35"/>
                <a:gd name="T19" fmla="*/ 19 h 19"/>
                <a:gd name="T20" fmla="*/ 17 w 35"/>
                <a:gd name="T21" fmla="*/ 18 h 19"/>
                <a:gd name="T22" fmla="*/ 20 w 35"/>
                <a:gd name="T23" fmla="*/ 18 h 19"/>
                <a:gd name="T24" fmla="*/ 23 w 35"/>
                <a:gd name="T25" fmla="*/ 16 h 19"/>
                <a:gd name="T26" fmla="*/ 25 w 35"/>
                <a:gd name="T27" fmla="*/ 15 h 19"/>
                <a:gd name="T28" fmla="*/ 29 w 35"/>
                <a:gd name="T29" fmla="*/ 13 h 19"/>
                <a:gd name="T30" fmla="*/ 30 w 35"/>
                <a:gd name="T31" fmla="*/ 12 h 19"/>
                <a:gd name="T32" fmla="*/ 33 w 35"/>
                <a:gd name="T33" fmla="*/ 14 h 19"/>
                <a:gd name="T34" fmla="*/ 35 w 35"/>
                <a:gd name="T35" fmla="*/ 14 h 19"/>
                <a:gd name="T36" fmla="*/ 34 w 35"/>
                <a:gd name="T37" fmla="*/ 8 h 19"/>
                <a:gd name="T38" fmla="*/ 27 w 35"/>
                <a:gd name="T39" fmla="*/ 9 h 19"/>
                <a:gd name="T40" fmla="*/ 25 w 35"/>
                <a:gd name="T41" fmla="*/ 8 h 19"/>
                <a:gd name="T42" fmla="*/ 20 w 35"/>
                <a:gd name="T43" fmla="*/ 2 h 19"/>
                <a:gd name="T44" fmla="*/ 17 w 35"/>
                <a:gd name="T45" fmla="*/ 3 h 19"/>
                <a:gd name="T46" fmla="*/ 15 w 35"/>
                <a:gd name="T47" fmla="*/ 1 h 19"/>
                <a:gd name="T48" fmla="*/ 12 w 35"/>
                <a:gd name="T49" fmla="*/ 0 h 19"/>
                <a:gd name="T50" fmla="*/ 11 w 35"/>
                <a:gd name="T51" fmla="*/ 3 h 19"/>
                <a:gd name="T52" fmla="*/ 6 w 35"/>
                <a:gd name="T53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5" h="19">
                  <a:moveTo>
                    <a:pt x="6" y="1"/>
                  </a:moveTo>
                  <a:cubicBezTo>
                    <a:pt x="5" y="2"/>
                    <a:pt x="5" y="3"/>
                    <a:pt x="5" y="5"/>
                  </a:cubicBezTo>
                  <a:cubicBezTo>
                    <a:pt x="5" y="5"/>
                    <a:pt x="4" y="5"/>
                    <a:pt x="4" y="6"/>
                  </a:cubicBezTo>
                  <a:cubicBezTo>
                    <a:pt x="3" y="6"/>
                    <a:pt x="2" y="8"/>
                    <a:pt x="3" y="10"/>
                  </a:cubicBezTo>
                  <a:cubicBezTo>
                    <a:pt x="3" y="11"/>
                    <a:pt x="4" y="13"/>
                    <a:pt x="4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3" y="16"/>
                    <a:pt x="4" y="17"/>
                  </a:cubicBezTo>
                  <a:cubicBezTo>
                    <a:pt x="6" y="18"/>
                    <a:pt x="9" y="19"/>
                    <a:pt x="10" y="19"/>
                  </a:cubicBezTo>
                  <a:cubicBezTo>
                    <a:pt x="10" y="19"/>
                    <a:pt x="12" y="19"/>
                    <a:pt x="13" y="19"/>
                  </a:cubicBezTo>
                  <a:cubicBezTo>
                    <a:pt x="13" y="19"/>
                    <a:pt x="15" y="19"/>
                    <a:pt x="15" y="19"/>
                  </a:cubicBezTo>
                  <a:cubicBezTo>
                    <a:pt x="16" y="19"/>
                    <a:pt x="17" y="18"/>
                    <a:pt x="17" y="18"/>
                  </a:cubicBezTo>
                  <a:cubicBezTo>
                    <a:pt x="17" y="18"/>
                    <a:pt x="20" y="18"/>
                    <a:pt x="20" y="18"/>
                  </a:cubicBezTo>
                  <a:cubicBezTo>
                    <a:pt x="23" y="18"/>
                    <a:pt x="23" y="16"/>
                    <a:pt x="23" y="16"/>
                  </a:cubicBezTo>
                  <a:cubicBezTo>
                    <a:pt x="24" y="15"/>
                    <a:pt x="24" y="15"/>
                    <a:pt x="25" y="15"/>
                  </a:cubicBezTo>
                  <a:cubicBezTo>
                    <a:pt x="26" y="15"/>
                    <a:pt x="29" y="13"/>
                    <a:pt x="29" y="13"/>
                  </a:cubicBezTo>
                  <a:cubicBezTo>
                    <a:pt x="29" y="13"/>
                    <a:pt x="30" y="12"/>
                    <a:pt x="30" y="12"/>
                  </a:cubicBezTo>
                  <a:cubicBezTo>
                    <a:pt x="30" y="12"/>
                    <a:pt x="31" y="14"/>
                    <a:pt x="33" y="14"/>
                  </a:cubicBezTo>
                  <a:cubicBezTo>
                    <a:pt x="34" y="15"/>
                    <a:pt x="35" y="14"/>
                    <a:pt x="35" y="14"/>
                  </a:cubicBezTo>
                  <a:cubicBezTo>
                    <a:pt x="35" y="13"/>
                    <a:pt x="34" y="9"/>
                    <a:pt x="34" y="8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2" y="3"/>
                    <a:pt x="20" y="2"/>
                  </a:cubicBezTo>
                  <a:cubicBezTo>
                    <a:pt x="19" y="2"/>
                    <a:pt x="17" y="2"/>
                    <a:pt x="17" y="3"/>
                  </a:cubicBezTo>
                  <a:cubicBezTo>
                    <a:pt x="17" y="3"/>
                    <a:pt x="16" y="1"/>
                    <a:pt x="15" y="1"/>
                  </a:cubicBezTo>
                  <a:cubicBezTo>
                    <a:pt x="15" y="0"/>
                    <a:pt x="13" y="0"/>
                    <a:pt x="12" y="0"/>
                  </a:cubicBezTo>
                  <a:cubicBezTo>
                    <a:pt x="11" y="0"/>
                    <a:pt x="11" y="3"/>
                    <a:pt x="11" y="3"/>
                  </a:cubicBezTo>
                  <a:cubicBezTo>
                    <a:pt x="11" y="3"/>
                    <a:pt x="9" y="0"/>
                    <a:pt x="6" y="1"/>
                  </a:cubicBez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5" name="Freeform 161">
              <a:extLst>
                <a:ext uri="{FF2B5EF4-FFF2-40B4-BE49-F238E27FC236}">
                  <a16:creationId xmlns:a16="http://schemas.microsoft.com/office/drawing/2014/main" id="{03818E10-B954-4E29-A8CD-30637F47F84B}"/>
                </a:ext>
              </a:extLst>
            </p:cNvPr>
            <p:cNvSpPr>
              <a:spLocks/>
            </p:cNvSpPr>
            <p:nvPr/>
          </p:nvSpPr>
          <p:spPr bwMode="gray">
            <a:xfrm>
              <a:off x="865120" y="3307761"/>
              <a:ext cx="39680" cy="20638"/>
            </a:xfrm>
            <a:custGeom>
              <a:avLst/>
              <a:gdLst>
                <a:gd name="T0" fmla="*/ 4 w 41"/>
                <a:gd name="T1" fmla="*/ 12 h 21"/>
                <a:gd name="T2" fmla="*/ 1 w 41"/>
                <a:gd name="T3" fmla="*/ 15 h 21"/>
                <a:gd name="T4" fmla="*/ 1 w 41"/>
                <a:gd name="T5" fmla="*/ 18 h 21"/>
                <a:gd name="T6" fmla="*/ 7 w 41"/>
                <a:gd name="T7" fmla="*/ 20 h 21"/>
                <a:gd name="T8" fmla="*/ 10 w 41"/>
                <a:gd name="T9" fmla="*/ 16 h 21"/>
                <a:gd name="T10" fmla="*/ 11 w 41"/>
                <a:gd name="T11" fmla="*/ 16 h 21"/>
                <a:gd name="T12" fmla="*/ 14 w 41"/>
                <a:gd name="T13" fmla="*/ 20 h 21"/>
                <a:gd name="T14" fmla="*/ 19 w 41"/>
                <a:gd name="T15" fmla="*/ 19 h 21"/>
                <a:gd name="T16" fmla="*/ 19 w 41"/>
                <a:gd name="T17" fmla="*/ 16 h 21"/>
                <a:gd name="T18" fmla="*/ 22 w 41"/>
                <a:gd name="T19" fmla="*/ 19 h 21"/>
                <a:gd name="T20" fmla="*/ 27 w 41"/>
                <a:gd name="T21" fmla="*/ 15 h 21"/>
                <a:gd name="T22" fmla="*/ 27 w 41"/>
                <a:gd name="T23" fmla="*/ 13 h 21"/>
                <a:gd name="T24" fmla="*/ 28 w 41"/>
                <a:gd name="T25" fmla="*/ 14 h 21"/>
                <a:gd name="T26" fmla="*/ 31 w 41"/>
                <a:gd name="T27" fmla="*/ 17 h 21"/>
                <a:gd name="T28" fmla="*/ 35 w 41"/>
                <a:gd name="T29" fmla="*/ 13 h 21"/>
                <a:gd name="T30" fmla="*/ 34 w 41"/>
                <a:gd name="T31" fmla="*/ 7 h 21"/>
                <a:gd name="T32" fmla="*/ 41 w 41"/>
                <a:gd name="T33" fmla="*/ 3 h 21"/>
                <a:gd name="T34" fmla="*/ 32 w 41"/>
                <a:gd name="T35" fmla="*/ 6 h 21"/>
                <a:gd name="T36" fmla="*/ 26 w 41"/>
                <a:gd name="T37" fmla="*/ 3 h 21"/>
                <a:gd name="T38" fmla="*/ 25 w 41"/>
                <a:gd name="T39" fmla="*/ 9 h 21"/>
                <a:gd name="T40" fmla="*/ 24 w 41"/>
                <a:gd name="T41" fmla="*/ 9 h 21"/>
                <a:gd name="T42" fmla="*/ 22 w 41"/>
                <a:gd name="T43" fmla="*/ 5 h 21"/>
                <a:gd name="T44" fmla="*/ 19 w 41"/>
                <a:gd name="T45" fmla="*/ 1 h 21"/>
                <a:gd name="T46" fmla="*/ 17 w 41"/>
                <a:gd name="T47" fmla="*/ 1 h 21"/>
                <a:gd name="T48" fmla="*/ 16 w 41"/>
                <a:gd name="T49" fmla="*/ 4 h 21"/>
                <a:gd name="T50" fmla="*/ 16 w 41"/>
                <a:gd name="T51" fmla="*/ 5 h 21"/>
                <a:gd name="T52" fmla="*/ 14 w 41"/>
                <a:gd name="T53" fmla="*/ 4 h 21"/>
                <a:gd name="T54" fmla="*/ 12 w 41"/>
                <a:gd name="T55" fmla="*/ 3 h 21"/>
                <a:gd name="T56" fmla="*/ 10 w 41"/>
                <a:gd name="T57" fmla="*/ 5 h 21"/>
                <a:gd name="T58" fmla="*/ 11 w 41"/>
                <a:gd name="T59" fmla="*/ 13 h 21"/>
                <a:gd name="T60" fmla="*/ 7 w 41"/>
                <a:gd name="T61" fmla="*/ 15 h 21"/>
                <a:gd name="T62" fmla="*/ 4 w 41"/>
                <a:gd name="T63" fmla="*/ 1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1" h="21">
                  <a:moveTo>
                    <a:pt x="4" y="12"/>
                  </a:moveTo>
                  <a:cubicBezTo>
                    <a:pt x="4" y="12"/>
                    <a:pt x="2" y="12"/>
                    <a:pt x="1" y="15"/>
                  </a:cubicBezTo>
                  <a:cubicBezTo>
                    <a:pt x="1" y="15"/>
                    <a:pt x="0" y="17"/>
                    <a:pt x="1" y="18"/>
                  </a:cubicBezTo>
                  <a:cubicBezTo>
                    <a:pt x="2" y="18"/>
                    <a:pt x="5" y="21"/>
                    <a:pt x="7" y="20"/>
                  </a:cubicBezTo>
                  <a:cubicBezTo>
                    <a:pt x="9" y="19"/>
                    <a:pt x="10" y="16"/>
                    <a:pt x="10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3" y="19"/>
                    <a:pt x="14" y="20"/>
                  </a:cubicBezTo>
                  <a:cubicBezTo>
                    <a:pt x="16" y="21"/>
                    <a:pt x="19" y="20"/>
                    <a:pt x="19" y="19"/>
                  </a:cubicBezTo>
                  <a:cubicBezTo>
                    <a:pt x="19" y="17"/>
                    <a:pt x="19" y="16"/>
                    <a:pt x="19" y="16"/>
                  </a:cubicBezTo>
                  <a:cubicBezTo>
                    <a:pt x="19" y="16"/>
                    <a:pt x="20" y="18"/>
                    <a:pt x="22" y="19"/>
                  </a:cubicBezTo>
                  <a:cubicBezTo>
                    <a:pt x="23" y="19"/>
                    <a:pt x="26" y="19"/>
                    <a:pt x="27" y="15"/>
                  </a:cubicBezTo>
                  <a:cubicBezTo>
                    <a:pt x="27" y="15"/>
                    <a:pt x="26" y="13"/>
                    <a:pt x="27" y="13"/>
                  </a:cubicBezTo>
                  <a:cubicBezTo>
                    <a:pt x="27" y="13"/>
                    <a:pt x="27" y="13"/>
                    <a:pt x="28" y="14"/>
                  </a:cubicBezTo>
                  <a:cubicBezTo>
                    <a:pt x="28" y="14"/>
                    <a:pt x="30" y="17"/>
                    <a:pt x="31" y="17"/>
                  </a:cubicBezTo>
                  <a:cubicBezTo>
                    <a:pt x="33" y="17"/>
                    <a:pt x="36" y="15"/>
                    <a:pt x="35" y="13"/>
                  </a:cubicBezTo>
                  <a:cubicBezTo>
                    <a:pt x="34" y="10"/>
                    <a:pt x="34" y="7"/>
                    <a:pt x="34" y="7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32" y="6"/>
                    <a:pt x="32" y="6"/>
                    <a:pt x="32" y="6"/>
                  </a:cubicBezTo>
                  <a:cubicBezTo>
                    <a:pt x="32" y="6"/>
                    <a:pt x="30" y="2"/>
                    <a:pt x="26" y="3"/>
                  </a:cubicBezTo>
                  <a:cubicBezTo>
                    <a:pt x="24" y="4"/>
                    <a:pt x="25" y="9"/>
                    <a:pt x="25" y="9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9"/>
                    <a:pt x="23" y="7"/>
                    <a:pt x="22" y="5"/>
                  </a:cubicBezTo>
                  <a:cubicBezTo>
                    <a:pt x="22" y="3"/>
                    <a:pt x="20" y="1"/>
                    <a:pt x="19" y="1"/>
                  </a:cubicBezTo>
                  <a:cubicBezTo>
                    <a:pt x="19" y="1"/>
                    <a:pt x="18" y="0"/>
                    <a:pt x="17" y="1"/>
                  </a:cubicBezTo>
                  <a:cubicBezTo>
                    <a:pt x="17" y="1"/>
                    <a:pt x="15" y="2"/>
                    <a:pt x="16" y="4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5"/>
                    <a:pt x="14" y="3"/>
                    <a:pt x="14" y="4"/>
                  </a:cubicBezTo>
                  <a:cubicBezTo>
                    <a:pt x="14" y="4"/>
                    <a:pt x="13" y="3"/>
                    <a:pt x="12" y="3"/>
                  </a:cubicBezTo>
                  <a:cubicBezTo>
                    <a:pt x="11" y="3"/>
                    <a:pt x="11" y="4"/>
                    <a:pt x="10" y="5"/>
                  </a:cubicBezTo>
                  <a:cubicBezTo>
                    <a:pt x="10" y="6"/>
                    <a:pt x="11" y="13"/>
                    <a:pt x="11" y="13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5" y="12"/>
                    <a:pt x="4" y="12"/>
                  </a:cubicBez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6" name="Freeform 162">
              <a:extLst>
                <a:ext uri="{FF2B5EF4-FFF2-40B4-BE49-F238E27FC236}">
                  <a16:creationId xmlns:a16="http://schemas.microsoft.com/office/drawing/2014/main" id="{9CF93B2D-5317-4C67-A523-4C0F69EC6F32}"/>
                </a:ext>
              </a:extLst>
            </p:cNvPr>
            <p:cNvSpPr>
              <a:spLocks/>
            </p:cNvSpPr>
            <p:nvPr/>
          </p:nvSpPr>
          <p:spPr bwMode="gray">
            <a:xfrm>
              <a:off x="1111142" y="3177586"/>
              <a:ext cx="46029" cy="33338"/>
            </a:xfrm>
            <a:custGeom>
              <a:avLst/>
              <a:gdLst>
                <a:gd name="T0" fmla="*/ 11 w 48"/>
                <a:gd name="T1" fmla="*/ 7 h 35"/>
                <a:gd name="T2" fmla="*/ 18 w 48"/>
                <a:gd name="T3" fmla="*/ 5 h 35"/>
                <a:gd name="T4" fmla="*/ 29 w 48"/>
                <a:gd name="T5" fmla="*/ 7 h 35"/>
                <a:gd name="T6" fmla="*/ 35 w 48"/>
                <a:gd name="T7" fmla="*/ 11 h 35"/>
                <a:gd name="T8" fmla="*/ 36 w 48"/>
                <a:gd name="T9" fmla="*/ 16 h 35"/>
                <a:gd name="T10" fmla="*/ 38 w 48"/>
                <a:gd name="T11" fmla="*/ 11 h 35"/>
                <a:gd name="T12" fmla="*/ 30 w 48"/>
                <a:gd name="T13" fmla="*/ 5 h 35"/>
                <a:gd name="T14" fmla="*/ 31 w 48"/>
                <a:gd name="T15" fmla="*/ 0 h 35"/>
                <a:gd name="T16" fmla="*/ 42 w 48"/>
                <a:gd name="T17" fmla="*/ 5 h 35"/>
                <a:gd name="T18" fmla="*/ 47 w 48"/>
                <a:gd name="T19" fmla="*/ 11 h 35"/>
                <a:gd name="T20" fmla="*/ 41 w 48"/>
                <a:gd name="T21" fmla="*/ 21 h 35"/>
                <a:gd name="T22" fmla="*/ 36 w 48"/>
                <a:gd name="T23" fmla="*/ 25 h 35"/>
                <a:gd name="T24" fmla="*/ 33 w 48"/>
                <a:gd name="T25" fmla="*/ 30 h 35"/>
                <a:gd name="T26" fmla="*/ 26 w 48"/>
                <a:gd name="T27" fmla="*/ 32 h 35"/>
                <a:gd name="T28" fmla="*/ 20 w 48"/>
                <a:gd name="T29" fmla="*/ 33 h 35"/>
                <a:gd name="T30" fmla="*/ 13 w 48"/>
                <a:gd name="T31" fmla="*/ 25 h 35"/>
                <a:gd name="T32" fmla="*/ 2 w 48"/>
                <a:gd name="T33" fmla="*/ 19 h 35"/>
                <a:gd name="T34" fmla="*/ 2 w 48"/>
                <a:gd name="T35" fmla="*/ 14 h 35"/>
                <a:gd name="T36" fmla="*/ 4 w 48"/>
                <a:gd name="T37" fmla="*/ 14 h 35"/>
                <a:gd name="T38" fmla="*/ 4 w 48"/>
                <a:gd name="T39" fmla="*/ 10 h 35"/>
                <a:gd name="T40" fmla="*/ 19 w 48"/>
                <a:gd name="T41" fmla="*/ 12 h 35"/>
                <a:gd name="T42" fmla="*/ 11 w 48"/>
                <a:gd name="T43" fmla="*/ 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8" h="35">
                  <a:moveTo>
                    <a:pt x="11" y="7"/>
                  </a:moveTo>
                  <a:cubicBezTo>
                    <a:pt x="11" y="5"/>
                    <a:pt x="14" y="4"/>
                    <a:pt x="18" y="5"/>
                  </a:cubicBezTo>
                  <a:cubicBezTo>
                    <a:pt x="22" y="6"/>
                    <a:pt x="27" y="7"/>
                    <a:pt x="29" y="7"/>
                  </a:cubicBezTo>
                  <a:cubicBezTo>
                    <a:pt x="32" y="7"/>
                    <a:pt x="34" y="9"/>
                    <a:pt x="35" y="11"/>
                  </a:cubicBezTo>
                  <a:cubicBezTo>
                    <a:pt x="36" y="14"/>
                    <a:pt x="35" y="16"/>
                    <a:pt x="36" y="16"/>
                  </a:cubicBezTo>
                  <a:cubicBezTo>
                    <a:pt x="36" y="15"/>
                    <a:pt x="38" y="11"/>
                    <a:pt x="38" y="11"/>
                  </a:cubicBezTo>
                  <a:cubicBezTo>
                    <a:pt x="38" y="11"/>
                    <a:pt x="33" y="6"/>
                    <a:pt x="30" y="5"/>
                  </a:cubicBezTo>
                  <a:cubicBezTo>
                    <a:pt x="28" y="4"/>
                    <a:pt x="27" y="0"/>
                    <a:pt x="31" y="0"/>
                  </a:cubicBezTo>
                  <a:cubicBezTo>
                    <a:pt x="35" y="0"/>
                    <a:pt x="39" y="2"/>
                    <a:pt x="42" y="5"/>
                  </a:cubicBezTo>
                  <a:cubicBezTo>
                    <a:pt x="45" y="7"/>
                    <a:pt x="48" y="8"/>
                    <a:pt x="47" y="11"/>
                  </a:cubicBezTo>
                  <a:cubicBezTo>
                    <a:pt x="45" y="15"/>
                    <a:pt x="42" y="19"/>
                    <a:pt x="41" y="21"/>
                  </a:cubicBezTo>
                  <a:cubicBezTo>
                    <a:pt x="39" y="22"/>
                    <a:pt x="37" y="24"/>
                    <a:pt x="36" y="25"/>
                  </a:cubicBezTo>
                  <a:cubicBezTo>
                    <a:pt x="36" y="25"/>
                    <a:pt x="35" y="28"/>
                    <a:pt x="33" y="30"/>
                  </a:cubicBezTo>
                  <a:cubicBezTo>
                    <a:pt x="32" y="31"/>
                    <a:pt x="28" y="33"/>
                    <a:pt x="26" y="32"/>
                  </a:cubicBezTo>
                  <a:cubicBezTo>
                    <a:pt x="25" y="32"/>
                    <a:pt x="21" y="35"/>
                    <a:pt x="20" y="33"/>
                  </a:cubicBezTo>
                  <a:cubicBezTo>
                    <a:pt x="19" y="31"/>
                    <a:pt x="15" y="26"/>
                    <a:pt x="13" y="25"/>
                  </a:cubicBezTo>
                  <a:cubicBezTo>
                    <a:pt x="11" y="24"/>
                    <a:pt x="3" y="20"/>
                    <a:pt x="2" y="19"/>
                  </a:cubicBezTo>
                  <a:cubicBezTo>
                    <a:pt x="0" y="17"/>
                    <a:pt x="0" y="15"/>
                    <a:pt x="2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3" y="11"/>
                    <a:pt x="4" y="10"/>
                  </a:cubicBezTo>
                  <a:cubicBezTo>
                    <a:pt x="6" y="9"/>
                    <a:pt x="15" y="12"/>
                    <a:pt x="19" y="12"/>
                  </a:cubicBezTo>
                  <a:cubicBezTo>
                    <a:pt x="19" y="12"/>
                    <a:pt x="11" y="10"/>
                    <a:pt x="11" y="7"/>
                  </a:cubicBez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7" name="Freeform 163">
              <a:extLst>
                <a:ext uri="{FF2B5EF4-FFF2-40B4-BE49-F238E27FC236}">
                  <a16:creationId xmlns:a16="http://schemas.microsoft.com/office/drawing/2014/main" id="{E95F8B50-5D64-4464-B03B-EEACFAB003AD}"/>
                </a:ext>
              </a:extLst>
            </p:cNvPr>
            <p:cNvSpPr>
              <a:spLocks/>
            </p:cNvSpPr>
            <p:nvPr/>
          </p:nvSpPr>
          <p:spPr bwMode="gray">
            <a:xfrm>
              <a:off x="1182567" y="3142662"/>
              <a:ext cx="17459" cy="36513"/>
            </a:xfrm>
            <a:custGeom>
              <a:avLst/>
              <a:gdLst>
                <a:gd name="T0" fmla="*/ 2 w 19"/>
                <a:gd name="T1" fmla="*/ 3 h 38"/>
                <a:gd name="T2" fmla="*/ 3 w 19"/>
                <a:gd name="T3" fmla="*/ 10 h 38"/>
                <a:gd name="T4" fmla="*/ 7 w 19"/>
                <a:gd name="T5" fmla="*/ 15 h 38"/>
                <a:gd name="T6" fmla="*/ 8 w 19"/>
                <a:gd name="T7" fmla="*/ 17 h 38"/>
                <a:gd name="T8" fmla="*/ 3 w 19"/>
                <a:gd name="T9" fmla="*/ 22 h 38"/>
                <a:gd name="T10" fmla="*/ 1 w 19"/>
                <a:gd name="T11" fmla="*/ 27 h 38"/>
                <a:gd name="T12" fmla="*/ 4 w 19"/>
                <a:gd name="T13" fmla="*/ 37 h 38"/>
                <a:gd name="T14" fmla="*/ 14 w 19"/>
                <a:gd name="T15" fmla="*/ 28 h 38"/>
                <a:gd name="T16" fmla="*/ 16 w 19"/>
                <a:gd name="T17" fmla="*/ 14 h 38"/>
                <a:gd name="T18" fmla="*/ 13 w 19"/>
                <a:gd name="T19" fmla="*/ 8 h 38"/>
                <a:gd name="T20" fmla="*/ 2 w 19"/>
                <a:gd name="T21" fmla="*/ 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38">
                  <a:moveTo>
                    <a:pt x="2" y="3"/>
                  </a:moveTo>
                  <a:cubicBezTo>
                    <a:pt x="0" y="5"/>
                    <a:pt x="1" y="9"/>
                    <a:pt x="3" y="10"/>
                  </a:cubicBezTo>
                  <a:cubicBezTo>
                    <a:pt x="4" y="12"/>
                    <a:pt x="7" y="15"/>
                    <a:pt x="7" y="15"/>
                  </a:cubicBezTo>
                  <a:cubicBezTo>
                    <a:pt x="7" y="15"/>
                    <a:pt x="9" y="16"/>
                    <a:pt x="8" y="17"/>
                  </a:cubicBezTo>
                  <a:cubicBezTo>
                    <a:pt x="7" y="17"/>
                    <a:pt x="4" y="20"/>
                    <a:pt x="3" y="22"/>
                  </a:cubicBezTo>
                  <a:cubicBezTo>
                    <a:pt x="2" y="25"/>
                    <a:pt x="1" y="27"/>
                    <a:pt x="1" y="27"/>
                  </a:cubicBezTo>
                  <a:cubicBezTo>
                    <a:pt x="1" y="27"/>
                    <a:pt x="1" y="35"/>
                    <a:pt x="4" y="37"/>
                  </a:cubicBezTo>
                  <a:cubicBezTo>
                    <a:pt x="6" y="38"/>
                    <a:pt x="10" y="36"/>
                    <a:pt x="14" y="28"/>
                  </a:cubicBezTo>
                  <a:cubicBezTo>
                    <a:pt x="19" y="21"/>
                    <a:pt x="17" y="15"/>
                    <a:pt x="16" y="14"/>
                  </a:cubicBezTo>
                  <a:cubicBezTo>
                    <a:pt x="16" y="14"/>
                    <a:pt x="15" y="9"/>
                    <a:pt x="13" y="8"/>
                  </a:cubicBezTo>
                  <a:cubicBezTo>
                    <a:pt x="11" y="6"/>
                    <a:pt x="6" y="0"/>
                    <a:pt x="2" y="3"/>
                  </a:cubicBez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8" name="Freeform 164">
              <a:extLst>
                <a:ext uri="{FF2B5EF4-FFF2-40B4-BE49-F238E27FC236}">
                  <a16:creationId xmlns:a16="http://schemas.microsoft.com/office/drawing/2014/main" id="{9FE5FCDC-6258-4783-AFF0-02096646DE47}"/>
                </a:ext>
              </a:extLst>
            </p:cNvPr>
            <p:cNvSpPr>
              <a:spLocks/>
            </p:cNvSpPr>
            <p:nvPr/>
          </p:nvSpPr>
          <p:spPr bwMode="gray">
            <a:xfrm>
              <a:off x="1361925" y="3018837"/>
              <a:ext cx="19047" cy="30163"/>
            </a:xfrm>
            <a:custGeom>
              <a:avLst/>
              <a:gdLst>
                <a:gd name="T0" fmla="*/ 8 w 20"/>
                <a:gd name="T1" fmla="*/ 3 h 32"/>
                <a:gd name="T2" fmla="*/ 8 w 20"/>
                <a:gd name="T3" fmla="*/ 11 h 32"/>
                <a:gd name="T4" fmla="*/ 10 w 20"/>
                <a:gd name="T5" fmla="*/ 16 h 32"/>
                <a:gd name="T6" fmla="*/ 5 w 20"/>
                <a:gd name="T7" fmla="*/ 20 h 32"/>
                <a:gd name="T8" fmla="*/ 1 w 20"/>
                <a:gd name="T9" fmla="*/ 30 h 32"/>
                <a:gd name="T10" fmla="*/ 10 w 20"/>
                <a:gd name="T11" fmla="*/ 31 h 32"/>
                <a:gd name="T12" fmla="*/ 18 w 20"/>
                <a:gd name="T13" fmla="*/ 25 h 32"/>
                <a:gd name="T14" fmla="*/ 20 w 20"/>
                <a:gd name="T15" fmla="*/ 21 h 32"/>
                <a:gd name="T16" fmla="*/ 20 w 20"/>
                <a:gd name="T17" fmla="*/ 17 h 32"/>
                <a:gd name="T18" fmla="*/ 18 w 20"/>
                <a:gd name="T19" fmla="*/ 11 h 32"/>
                <a:gd name="T20" fmla="*/ 15 w 20"/>
                <a:gd name="T21" fmla="*/ 6 h 32"/>
                <a:gd name="T22" fmla="*/ 8 w 20"/>
                <a:gd name="T23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" h="32">
                  <a:moveTo>
                    <a:pt x="8" y="3"/>
                  </a:moveTo>
                  <a:cubicBezTo>
                    <a:pt x="6" y="5"/>
                    <a:pt x="6" y="8"/>
                    <a:pt x="8" y="11"/>
                  </a:cubicBezTo>
                  <a:cubicBezTo>
                    <a:pt x="9" y="13"/>
                    <a:pt x="10" y="15"/>
                    <a:pt x="10" y="16"/>
                  </a:cubicBezTo>
                  <a:cubicBezTo>
                    <a:pt x="10" y="17"/>
                    <a:pt x="7" y="17"/>
                    <a:pt x="5" y="20"/>
                  </a:cubicBezTo>
                  <a:cubicBezTo>
                    <a:pt x="3" y="23"/>
                    <a:pt x="0" y="28"/>
                    <a:pt x="1" y="30"/>
                  </a:cubicBezTo>
                  <a:cubicBezTo>
                    <a:pt x="2" y="32"/>
                    <a:pt x="8" y="32"/>
                    <a:pt x="10" y="31"/>
                  </a:cubicBezTo>
                  <a:cubicBezTo>
                    <a:pt x="12" y="31"/>
                    <a:pt x="17" y="26"/>
                    <a:pt x="18" y="25"/>
                  </a:cubicBezTo>
                  <a:cubicBezTo>
                    <a:pt x="19" y="23"/>
                    <a:pt x="20" y="22"/>
                    <a:pt x="20" y="21"/>
                  </a:cubicBezTo>
                  <a:cubicBezTo>
                    <a:pt x="20" y="20"/>
                    <a:pt x="20" y="19"/>
                    <a:pt x="20" y="17"/>
                  </a:cubicBezTo>
                  <a:cubicBezTo>
                    <a:pt x="19" y="15"/>
                    <a:pt x="19" y="13"/>
                    <a:pt x="18" y="11"/>
                  </a:cubicBezTo>
                  <a:cubicBezTo>
                    <a:pt x="17" y="10"/>
                    <a:pt x="15" y="7"/>
                    <a:pt x="15" y="6"/>
                  </a:cubicBezTo>
                  <a:cubicBezTo>
                    <a:pt x="14" y="5"/>
                    <a:pt x="11" y="0"/>
                    <a:pt x="8" y="3"/>
                  </a:cubicBez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D0145AA-A7E0-400B-BDB5-6CB90C32267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70029" y="3546382"/>
            <a:ext cx="800195" cy="407426"/>
            <a:chOff x="468310" y="1742198"/>
            <a:chExt cx="1749135" cy="890587"/>
          </a:xfrm>
          <a:solidFill>
            <a:schemeClr val="accent1"/>
          </a:solidFill>
        </p:grpSpPr>
        <p:sp>
          <p:nvSpPr>
            <p:cNvPr id="20" name="Freeform 183">
              <a:extLst>
                <a:ext uri="{FF2B5EF4-FFF2-40B4-BE49-F238E27FC236}">
                  <a16:creationId xmlns:a16="http://schemas.microsoft.com/office/drawing/2014/main" id="{0467D235-75E1-4AB0-97AB-F729622AA75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00026" y="1742198"/>
              <a:ext cx="504742" cy="503238"/>
            </a:xfrm>
            <a:custGeom>
              <a:avLst/>
              <a:gdLst>
                <a:gd name="T0" fmla="*/ 386 w 426"/>
                <a:gd name="T1" fmla="*/ 251 h 424"/>
                <a:gd name="T2" fmla="*/ 423 w 426"/>
                <a:gd name="T3" fmla="*/ 242 h 424"/>
                <a:gd name="T4" fmla="*/ 424 w 426"/>
                <a:gd name="T5" fmla="*/ 191 h 424"/>
                <a:gd name="T6" fmla="*/ 387 w 426"/>
                <a:gd name="T7" fmla="*/ 181 h 424"/>
                <a:gd name="T8" fmla="*/ 382 w 426"/>
                <a:gd name="T9" fmla="*/ 159 h 424"/>
                <a:gd name="T10" fmla="*/ 410 w 426"/>
                <a:gd name="T11" fmla="*/ 133 h 424"/>
                <a:gd name="T12" fmla="*/ 385 w 426"/>
                <a:gd name="T13" fmla="*/ 89 h 424"/>
                <a:gd name="T14" fmla="*/ 348 w 426"/>
                <a:gd name="T15" fmla="*/ 98 h 424"/>
                <a:gd name="T16" fmla="*/ 333 w 426"/>
                <a:gd name="T17" fmla="*/ 82 h 424"/>
                <a:gd name="T18" fmla="*/ 344 w 426"/>
                <a:gd name="T19" fmla="*/ 45 h 424"/>
                <a:gd name="T20" fmla="*/ 300 w 426"/>
                <a:gd name="T21" fmla="*/ 19 h 424"/>
                <a:gd name="T22" fmla="*/ 273 w 426"/>
                <a:gd name="T23" fmla="*/ 46 h 424"/>
                <a:gd name="T24" fmla="*/ 257 w 426"/>
                <a:gd name="T25" fmla="*/ 41 h 424"/>
                <a:gd name="T26" fmla="*/ 252 w 426"/>
                <a:gd name="T27" fmla="*/ 40 h 424"/>
                <a:gd name="T28" fmla="*/ 243 w 426"/>
                <a:gd name="T29" fmla="*/ 2 h 424"/>
                <a:gd name="T30" fmla="*/ 192 w 426"/>
                <a:gd name="T31" fmla="*/ 1 h 424"/>
                <a:gd name="T32" fmla="*/ 182 w 426"/>
                <a:gd name="T33" fmla="*/ 38 h 424"/>
                <a:gd name="T34" fmla="*/ 160 w 426"/>
                <a:gd name="T35" fmla="*/ 43 h 424"/>
                <a:gd name="T36" fmla="*/ 134 w 426"/>
                <a:gd name="T37" fmla="*/ 15 h 424"/>
                <a:gd name="T38" fmla="*/ 89 w 426"/>
                <a:gd name="T39" fmla="*/ 40 h 424"/>
                <a:gd name="T40" fmla="*/ 99 w 426"/>
                <a:gd name="T41" fmla="*/ 77 h 424"/>
                <a:gd name="T42" fmla="*/ 83 w 426"/>
                <a:gd name="T43" fmla="*/ 92 h 424"/>
                <a:gd name="T44" fmla="*/ 46 w 426"/>
                <a:gd name="T45" fmla="*/ 81 h 424"/>
                <a:gd name="T46" fmla="*/ 20 w 426"/>
                <a:gd name="T47" fmla="*/ 125 h 424"/>
                <a:gd name="T48" fmla="*/ 47 w 426"/>
                <a:gd name="T49" fmla="*/ 152 h 424"/>
                <a:gd name="T50" fmla="*/ 42 w 426"/>
                <a:gd name="T51" fmla="*/ 168 h 424"/>
                <a:gd name="T52" fmla="*/ 40 w 426"/>
                <a:gd name="T53" fmla="*/ 174 h 424"/>
                <a:gd name="T54" fmla="*/ 3 w 426"/>
                <a:gd name="T55" fmla="*/ 182 h 424"/>
                <a:gd name="T56" fmla="*/ 2 w 426"/>
                <a:gd name="T57" fmla="*/ 233 h 424"/>
                <a:gd name="T58" fmla="*/ 39 w 426"/>
                <a:gd name="T59" fmla="*/ 243 h 424"/>
                <a:gd name="T60" fmla="*/ 44 w 426"/>
                <a:gd name="T61" fmla="*/ 265 h 424"/>
                <a:gd name="T62" fmla="*/ 16 w 426"/>
                <a:gd name="T63" fmla="*/ 291 h 424"/>
                <a:gd name="T64" fmla="*/ 41 w 426"/>
                <a:gd name="T65" fmla="*/ 335 h 424"/>
                <a:gd name="T66" fmla="*/ 78 w 426"/>
                <a:gd name="T67" fmla="*/ 326 h 424"/>
                <a:gd name="T68" fmla="*/ 93 w 426"/>
                <a:gd name="T69" fmla="*/ 342 h 424"/>
                <a:gd name="T70" fmla="*/ 82 w 426"/>
                <a:gd name="T71" fmla="*/ 379 h 424"/>
                <a:gd name="T72" fmla="*/ 125 w 426"/>
                <a:gd name="T73" fmla="*/ 405 h 424"/>
                <a:gd name="T74" fmla="*/ 153 w 426"/>
                <a:gd name="T75" fmla="*/ 378 h 424"/>
                <a:gd name="T76" fmla="*/ 169 w 426"/>
                <a:gd name="T77" fmla="*/ 383 h 424"/>
                <a:gd name="T78" fmla="*/ 174 w 426"/>
                <a:gd name="T79" fmla="*/ 384 h 424"/>
                <a:gd name="T80" fmla="*/ 183 w 426"/>
                <a:gd name="T81" fmla="*/ 422 h 424"/>
                <a:gd name="T82" fmla="*/ 234 w 426"/>
                <a:gd name="T83" fmla="*/ 423 h 424"/>
                <a:gd name="T84" fmla="*/ 244 w 426"/>
                <a:gd name="T85" fmla="*/ 386 h 424"/>
                <a:gd name="T86" fmla="*/ 266 w 426"/>
                <a:gd name="T87" fmla="*/ 381 h 424"/>
                <a:gd name="T88" fmla="*/ 292 w 426"/>
                <a:gd name="T89" fmla="*/ 409 h 424"/>
                <a:gd name="T90" fmla="*/ 337 w 426"/>
                <a:gd name="T91" fmla="*/ 384 h 424"/>
                <a:gd name="T92" fmla="*/ 327 w 426"/>
                <a:gd name="T93" fmla="*/ 347 h 424"/>
                <a:gd name="T94" fmla="*/ 343 w 426"/>
                <a:gd name="T95" fmla="*/ 332 h 424"/>
                <a:gd name="T96" fmla="*/ 380 w 426"/>
                <a:gd name="T97" fmla="*/ 343 h 424"/>
                <a:gd name="T98" fmla="*/ 406 w 426"/>
                <a:gd name="T99" fmla="*/ 299 h 424"/>
                <a:gd name="T100" fmla="*/ 379 w 426"/>
                <a:gd name="T101" fmla="*/ 272 h 424"/>
                <a:gd name="T102" fmla="*/ 384 w 426"/>
                <a:gd name="T103" fmla="*/ 256 h 424"/>
                <a:gd name="T104" fmla="*/ 386 w 426"/>
                <a:gd name="T105" fmla="*/ 251 h 424"/>
                <a:gd name="T106" fmla="*/ 352 w 426"/>
                <a:gd name="T107" fmla="*/ 248 h 424"/>
                <a:gd name="T108" fmla="*/ 177 w 426"/>
                <a:gd name="T109" fmla="*/ 351 h 424"/>
                <a:gd name="T110" fmla="*/ 74 w 426"/>
                <a:gd name="T111" fmla="*/ 176 h 424"/>
                <a:gd name="T112" fmla="*/ 249 w 426"/>
                <a:gd name="T113" fmla="*/ 73 h 424"/>
                <a:gd name="T114" fmla="*/ 352 w 426"/>
                <a:gd name="T115" fmla="*/ 248 h 4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26" h="424">
                  <a:moveTo>
                    <a:pt x="386" y="251"/>
                  </a:moveTo>
                  <a:cubicBezTo>
                    <a:pt x="423" y="242"/>
                    <a:pt x="423" y="242"/>
                    <a:pt x="423" y="242"/>
                  </a:cubicBezTo>
                  <a:cubicBezTo>
                    <a:pt x="425" y="225"/>
                    <a:pt x="426" y="208"/>
                    <a:pt x="424" y="191"/>
                  </a:cubicBezTo>
                  <a:cubicBezTo>
                    <a:pt x="387" y="181"/>
                    <a:pt x="387" y="181"/>
                    <a:pt x="387" y="181"/>
                  </a:cubicBezTo>
                  <a:cubicBezTo>
                    <a:pt x="386" y="174"/>
                    <a:pt x="384" y="166"/>
                    <a:pt x="382" y="159"/>
                  </a:cubicBezTo>
                  <a:cubicBezTo>
                    <a:pt x="410" y="133"/>
                    <a:pt x="410" y="133"/>
                    <a:pt x="410" y="133"/>
                  </a:cubicBezTo>
                  <a:cubicBezTo>
                    <a:pt x="404" y="117"/>
                    <a:pt x="395" y="102"/>
                    <a:pt x="385" y="89"/>
                  </a:cubicBezTo>
                  <a:cubicBezTo>
                    <a:pt x="348" y="98"/>
                    <a:pt x="348" y="98"/>
                    <a:pt x="348" y="98"/>
                  </a:cubicBezTo>
                  <a:cubicBezTo>
                    <a:pt x="344" y="93"/>
                    <a:pt x="338" y="87"/>
                    <a:pt x="333" y="82"/>
                  </a:cubicBezTo>
                  <a:cubicBezTo>
                    <a:pt x="344" y="45"/>
                    <a:pt x="344" y="45"/>
                    <a:pt x="344" y="45"/>
                  </a:cubicBezTo>
                  <a:cubicBezTo>
                    <a:pt x="331" y="35"/>
                    <a:pt x="316" y="26"/>
                    <a:pt x="300" y="19"/>
                  </a:cubicBezTo>
                  <a:cubicBezTo>
                    <a:pt x="273" y="46"/>
                    <a:pt x="273" y="46"/>
                    <a:pt x="273" y="46"/>
                  </a:cubicBezTo>
                  <a:cubicBezTo>
                    <a:pt x="268" y="44"/>
                    <a:pt x="263" y="42"/>
                    <a:pt x="257" y="41"/>
                  </a:cubicBezTo>
                  <a:cubicBezTo>
                    <a:pt x="255" y="40"/>
                    <a:pt x="253" y="40"/>
                    <a:pt x="252" y="40"/>
                  </a:cubicBezTo>
                  <a:cubicBezTo>
                    <a:pt x="243" y="2"/>
                    <a:pt x="243" y="2"/>
                    <a:pt x="243" y="2"/>
                  </a:cubicBezTo>
                  <a:cubicBezTo>
                    <a:pt x="226" y="0"/>
                    <a:pt x="209" y="0"/>
                    <a:pt x="192" y="1"/>
                  </a:cubicBezTo>
                  <a:cubicBezTo>
                    <a:pt x="182" y="38"/>
                    <a:pt x="182" y="38"/>
                    <a:pt x="182" y="38"/>
                  </a:cubicBezTo>
                  <a:cubicBezTo>
                    <a:pt x="175" y="39"/>
                    <a:pt x="167" y="41"/>
                    <a:pt x="160" y="43"/>
                  </a:cubicBezTo>
                  <a:cubicBezTo>
                    <a:pt x="134" y="15"/>
                    <a:pt x="134" y="15"/>
                    <a:pt x="134" y="15"/>
                  </a:cubicBezTo>
                  <a:cubicBezTo>
                    <a:pt x="118" y="22"/>
                    <a:pt x="103" y="30"/>
                    <a:pt x="89" y="40"/>
                  </a:cubicBezTo>
                  <a:cubicBezTo>
                    <a:pt x="99" y="77"/>
                    <a:pt x="99" y="77"/>
                    <a:pt x="99" y="77"/>
                  </a:cubicBezTo>
                  <a:cubicBezTo>
                    <a:pt x="93" y="82"/>
                    <a:pt x="88" y="87"/>
                    <a:pt x="83" y="92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36" y="94"/>
                    <a:pt x="27" y="109"/>
                    <a:pt x="20" y="125"/>
                  </a:cubicBezTo>
                  <a:cubicBezTo>
                    <a:pt x="47" y="152"/>
                    <a:pt x="47" y="152"/>
                    <a:pt x="47" y="152"/>
                  </a:cubicBezTo>
                  <a:cubicBezTo>
                    <a:pt x="45" y="157"/>
                    <a:pt x="43" y="162"/>
                    <a:pt x="42" y="168"/>
                  </a:cubicBezTo>
                  <a:cubicBezTo>
                    <a:pt x="41" y="170"/>
                    <a:pt x="41" y="172"/>
                    <a:pt x="40" y="174"/>
                  </a:cubicBezTo>
                  <a:cubicBezTo>
                    <a:pt x="3" y="182"/>
                    <a:pt x="3" y="182"/>
                    <a:pt x="3" y="182"/>
                  </a:cubicBezTo>
                  <a:cubicBezTo>
                    <a:pt x="1" y="199"/>
                    <a:pt x="0" y="216"/>
                    <a:pt x="2" y="233"/>
                  </a:cubicBezTo>
                  <a:cubicBezTo>
                    <a:pt x="39" y="243"/>
                    <a:pt x="39" y="243"/>
                    <a:pt x="39" y="243"/>
                  </a:cubicBezTo>
                  <a:cubicBezTo>
                    <a:pt x="40" y="250"/>
                    <a:pt x="42" y="258"/>
                    <a:pt x="44" y="265"/>
                  </a:cubicBezTo>
                  <a:cubicBezTo>
                    <a:pt x="16" y="291"/>
                    <a:pt x="16" y="291"/>
                    <a:pt x="16" y="291"/>
                  </a:cubicBezTo>
                  <a:cubicBezTo>
                    <a:pt x="22" y="307"/>
                    <a:pt x="31" y="322"/>
                    <a:pt x="41" y="335"/>
                  </a:cubicBezTo>
                  <a:cubicBezTo>
                    <a:pt x="78" y="326"/>
                    <a:pt x="78" y="326"/>
                    <a:pt x="78" y="326"/>
                  </a:cubicBezTo>
                  <a:cubicBezTo>
                    <a:pt x="82" y="331"/>
                    <a:pt x="88" y="337"/>
                    <a:pt x="93" y="342"/>
                  </a:cubicBezTo>
                  <a:cubicBezTo>
                    <a:pt x="82" y="379"/>
                    <a:pt x="82" y="379"/>
                    <a:pt x="82" y="379"/>
                  </a:cubicBezTo>
                  <a:cubicBezTo>
                    <a:pt x="95" y="389"/>
                    <a:pt x="110" y="398"/>
                    <a:pt x="125" y="405"/>
                  </a:cubicBezTo>
                  <a:cubicBezTo>
                    <a:pt x="153" y="378"/>
                    <a:pt x="153" y="378"/>
                    <a:pt x="153" y="378"/>
                  </a:cubicBezTo>
                  <a:cubicBezTo>
                    <a:pt x="158" y="380"/>
                    <a:pt x="163" y="382"/>
                    <a:pt x="169" y="383"/>
                  </a:cubicBezTo>
                  <a:cubicBezTo>
                    <a:pt x="171" y="384"/>
                    <a:pt x="173" y="384"/>
                    <a:pt x="174" y="384"/>
                  </a:cubicBezTo>
                  <a:cubicBezTo>
                    <a:pt x="183" y="422"/>
                    <a:pt x="183" y="422"/>
                    <a:pt x="183" y="422"/>
                  </a:cubicBezTo>
                  <a:cubicBezTo>
                    <a:pt x="200" y="424"/>
                    <a:pt x="217" y="424"/>
                    <a:pt x="234" y="423"/>
                  </a:cubicBezTo>
                  <a:cubicBezTo>
                    <a:pt x="244" y="386"/>
                    <a:pt x="244" y="386"/>
                    <a:pt x="244" y="386"/>
                  </a:cubicBezTo>
                  <a:cubicBezTo>
                    <a:pt x="251" y="385"/>
                    <a:pt x="259" y="383"/>
                    <a:pt x="266" y="381"/>
                  </a:cubicBezTo>
                  <a:cubicBezTo>
                    <a:pt x="292" y="409"/>
                    <a:pt x="292" y="409"/>
                    <a:pt x="292" y="409"/>
                  </a:cubicBezTo>
                  <a:cubicBezTo>
                    <a:pt x="308" y="402"/>
                    <a:pt x="323" y="394"/>
                    <a:pt x="337" y="384"/>
                  </a:cubicBezTo>
                  <a:cubicBezTo>
                    <a:pt x="327" y="347"/>
                    <a:pt x="327" y="347"/>
                    <a:pt x="327" y="347"/>
                  </a:cubicBezTo>
                  <a:cubicBezTo>
                    <a:pt x="333" y="342"/>
                    <a:pt x="338" y="337"/>
                    <a:pt x="343" y="332"/>
                  </a:cubicBezTo>
                  <a:cubicBezTo>
                    <a:pt x="380" y="343"/>
                    <a:pt x="380" y="343"/>
                    <a:pt x="380" y="343"/>
                  </a:cubicBezTo>
                  <a:cubicBezTo>
                    <a:pt x="390" y="330"/>
                    <a:pt x="399" y="315"/>
                    <a:pt x="406" y="299"/>
                  </a:cubicBezTo>
                  <a:cubicBezTo>
                    <a:pt x="379" y="272"/>
                    <a:pt x="379" y="272"/>
                    <a:pt x="379" y="272"/>
                  </a:cubicBezTo>
                  <a:cubicBezTo>
                    <a:pt x="381" y="267"/>
                    <a:pt x="383" y="262"/>
                    <a:pt x="384" y="256"/>
                  </a:cubicBezTo>
                  <a:cubicBezTo>
                    <a:pt x="385" y="254"/>
                    <a:pt x="385" y="252"/>
                    <a:pt x="386" y="251"/>
                  </a:cubicBezTo>
                  <a:close/>
                  <a:moveTo>
                    <a:pt x="352" y="248"/>
                  </a:moveTo>
                  <a:cubicBezTo>
                    <a:pt x="332" y="324"/>
                    <a:pt x="254" y="371"/>
                    <a:pt x="177" y="351"/>
                  </a:cubicBezTo>
                  <a:cubicBezTo>
                    <a:pt x="100" y="331"/>
                    <a:pt x="54" y="253"/>
                    <a:pt x="74" y="176"/>
                  </a:cubicBezTo>
                  <a:cubicBezTo>
                    <a:pt x="94" y="100"/>
                    <a:pt x="172" y="53"/>
                    <a:pt x="249" y="73"/>
                  </a:cubicBezTo>
                  <a:cubicBezTo>
                    <a:pt x="326" y="93"/>
                    <a:pt x="372" y="171"/>
                    <a:pt x="352" y="2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2" name="Freeform 184">
              <a:extLst>
                <a:ext uri="{FF2B5EF4-FFF2-40B4-BE49-F238E27FC236}">
                  <a16:creationId xmlns:a16="http://schemas.microsoft.com/office/drawing/2014/main" id="{F65A7EE7-2E38-4494-BDBC-B3198953AE7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68310" y="2175585"/>
              <a:ext cx="171422" cy="171450"/>
            </a:xfrm>
            <a:custGeom>
              <a:avLst/>
              <a:gdLst>
                <a:gd name="T0" fmla="*/ 133 w 145"/>
                <a:gd name="T1" fmla="*/ 77 h 145"/>
                <a:gd name="T2" fmla="*/ 145 w 145"/>
                <a:gd name="T3" fmla="*/ 72 h 145"/>
                <a:gd name="T4" fmla="*/ 143 w 145"/>
                <a:gd name="T5" fmla="*/ 55 h 145"/>
                <a:gd name="T6" fmla="*/ 130 w 145"/>
                <a:gd name="T7" fmla="*/ 54 h 145"/>
                <a:gd name="T8" fmla="*/ 127 w 145"/>
                <a:gd name="T9" fmla="*/ 46 h 145"/>
                <a:gd name="T10" fmla="*/ 135 w 145"/>
                <a:gd name="T11" fmla="*/ 36 h 145"/>
                <a:gd name="T12" fmla="*/ 125 w 145"/>
                <a:gd name="T13" fmla="*/ 22 h 145"/>
                <a:gd name="T14" fmla="*/ 113 w 145"/>
                <a:gd name="T15" fmla="*/ 28 h 145"/>
                <a:gd name="T16" fmla="*/ 107 w 145"/>
                <a:gd name="T17" fmla="*/ 23 h 145"/>
                <a:gd name="T18" fmla="*/ 109 w 145"/>
                <a:gd name="T19" fmla="*/ 10 h 145"/>
                <a:gd name="T20" fmla="*/ 93 w 145"/>
                <a:gd name="T21" fmla="*/ 3 h 145"/>
                <a:gd name="T22" fmla="*/ 85 w 145"/>
                <a:gd name="T23" fmla="*/ 14 h 145"/>
                <a:gd name="T24" fmla="*/ 79 w 145"/>
                <a:gd name="T25" fmla="*/ 13 h 145"/>
                <a:gd name="T26" fmla="*/ 77 w 145"/>
                <a:gd name="T27" fmla="*/ 13 h 145"/>
                <a:gd name="T28" fmla="*/ 72 w 145"/>
                <a:gd name="T29" fmla="*/ 0 h 145"/>
                <a:gd name="T30" fmla="*/ 55 w 145"/>
                <a:gd name="T31" fmla="*/ 3 h 145"/>
                <a:gd name="T32" fmla="*/ 54 w 145"/>
                <a:gd name="T33" fmla="*/ 15 h 145"/>
                <a:gd name="T34" fmla="*/ 46 w 145"/>
                <a:gd name="T35" fmla="*/ 18 h 145"/>
                <a:gd name="T36" fmla="*/ 36 w 145"/>
                <a:gd name="T37" fmla="*/ 10 h 145"/>
                <a:gd name="T38" fmla="*/ 22 w 145"/>
                <a:gd name="T39" fmla="*/ 21 h 145"/>
                <a:gd name="T40" fmla="*/ 28 w 145"/>
                <a:gd name="T41" fmla="*/ 33 h 145"/>
                <a:gd name="T42" fmla="*/ 23 w 145"/>
                <a:gd name="T43" fmla="*/ 39 h 145"/>
                <a:gd name="T44" fmla="*/ 10 w 145"/>
                <a:gd name="T45" fmla="*/ 37 h 145"/>
                <a:gd name="T46" fmla="*/ 3 w 145"/>
                <a:gd name="T47" fmla="*/ 53 h 145"/>
                <a:gd name="T48" fmla="*/ 14 w 145"/>
                <a:gd name="T49" fmla="*/ 60 h 145"/>
                <a:gd name="T50" fmla="*/ 13 w 145"/>
                <a:gd name="T51" fmla="*/ 66 h 145"/>
                <a:gd name="T52" fmla="*/ 12 w 145"/>
                <a:gd name="T53" fmla="*/ 68 h 145"/>
                <a:gd name="T54" fmla="*/ 0 w 145"/>
                <a:gd name="T55" fmla="*/ 73 h 145"/>
                <a:gd name="T56" fmla="*/ 2 w 145"/>
                <a:gd name="T57" fmla="*/ 90 h 145"/>
                <a:gd name="T58" fmla="*/ 15 w 145"/>
                <a:gd name="T59" fmla="*/ 92 h 145"/>
                <a:gd name="T60" fmla="*/ 18 w 145"/>
                <a:gd name="T61" fmla="*/ 99 h 145"/>
                <a:gd name="T62" fmla="*/ 10 w 145"/>
                <a:gd name="T63" fmla="*/ 109 h 145"/>
                <a:gd name="T64" fmla="*/ 21 w 145"/>
                <a:gd name="T65" fmla="*/ 123 h 145"/>
                <a:gd name="T66" fmla="*/ 33 w 145"/>
                <a:gd name="T67" fmla="*/ 118 h 145"/>
                <a:gd name="T68" fmla="*/ 39 w 145"/>
                <a:gd name="T69" fmla="*/ 122 h 145"/>
                <a:gd name="T70" fmla="*/ 37 w 145"/>
                <a:gd name="T71" fmla="*/ 135 h 145"/>
                <a:gd name="T72" fmla="*/ 53 w 145"/>
                <a:gd name="T73" fmla="*/ 142 h 145"/>
                <a:gd name="T74" fmla="*/ 61 w 145"/>
                <a:gd name="T75" fmla="*/ 132 h 145"/>
                <a:gd name="T76" fmla="*/ 66 w 145"/>
                <a:gd name="T77" fmla="*/ 133 h 145"/>
                <a:gd name="T78" fmla="*/ 68 w 145"/>
                <a:gd name="T79" fmla="*/ 133 h 145"/>
                <a:gd name="T80" fmla="*/ 73 w 145"/>
                <a:gd name="T81" fmla="*/ 145 h 145"/>
                <a:gd name="T82" fmla="*/ 90 w 145"/>
                <a:gd name="T83" fmla="*/ 143 h 145"/>
                <a:gd name="T84" fmla="*/ 92 w 145"/>
                <a:gd name="T85" fmla="*/ 130 h 145"/>
                <a:gd name="T86" fmla="*/ 99 w 145"/>
                <a:gd name="T87" fmla="*/ 127 h 145"/>
                <a:gd name="T88" fmla="*/ 109 w 145"/>
                <a:gd name="T89" fmla="*/ 135 h 145"/>
                <a:gd name="T90" fmla="*/ 123 w 145"/>
                <a:gd name="T91" fmla="*/ 125 h 145"/>
                <a:gd name="T92" fmla="*/ 118 w 145"/>
                <a:gd name="T93" fmla="*/ 113 h 145"/>
                <a:gd name="T94" fmla="*/ 123 w 145"/>
                <a:gd name="T95" fmla="*/ 107 h 145"/>
                <a:gd name="T96" fmla="*/ 135 w 145"/>
                <a:gd name="T97" fmla="*/ 109 h 145"/>
                <a:gd name="T98" fmla="*/ 142 w 145"/>
                <a:gd name="T99" fmla="*/ 93 h 145"/>
                <a:gd name="T100" fmla="*/ 132 w 145"/>
                <a:gd name="T101" fmla="*/ 85 h 145"/>
                <a:gd name="T102" fmla="*/ 133 w 145"/>
                <a:gd name="T103" fmla="*/ 79 h 145"/>
                <a:gd name="T104" fmla="*/ 133 w 145"/>
                <a:gd name="T105" fmla="*/ 77 h 145"/>
                <a:gd name="T106" fmla="*/ 104 w 145"/>
                <a:gd name="T107" fmla="*/ 76 h 145"/>
                <a:gd name="T108" fmla="*/ 69 w 145"/>
                <a:gd name="T109" fmla="*/ 104 h 145"/>
                <a:gd name="T110" fmla="*/ 41 w 145"/>
                <a:gd name="T111" fmla="*/ 69 h 145"/>
                <a:gd name="T112" fmla="*/ 76 w 145"/>
                <a:gd name="T113" fmla="*/ 41 h 145"/>
                <a:gd name="T114" fmla="*/ 104 w 145"/>
                <a:gd name="T115" fmla="*/ 76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5" h="145">
                  <a:moveTo>
                    <a:pt x="133" y="77"/>
                  </a:moveTo>
                  <a:cubicBezTo>
                    <a:pt x="145" y="72"/>
                    <a:pt x="145" y="72"/>
                    <a:pt x="145" y="72"/>
                  </a:cubicBezTo>
                  <a:cubicBezTo>
                    <a:pt x="145" y="67"/>
                    <a:pt x="144" y="61"/>
                    <a:pt x="143" y="55"/>
                  </a:cubicBezTo>
                  <a:cubicBezTo>
                    <a:pt x="130" y="54"/>
                    <a:pt x="130" y="54"/>
                    <a:pt x="130" y="54"/>
                  </a:cubicBezTo>
                  <a:cubicBezTo>
                    <a:pt x="129" y="51"/>
                    <a:pt x="128" y="49"/>
                    <a:pt x="127" y="46"/>
                  </a:cubicBezTo>
                  <a:cubicBezTo>
                    <a:pt x="135" y="36"/>
                    <a:pt x="135" y="36"/>
                    <a:pt x="135" y="36"/>
                  </a:cubicBezTo>
                  <a:cubicBezTo>
                    <a:pt x="132" y="31"/>
                    <a:pt x="129" y="27"/>
                    <a:pt x="125" y="22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11" y="26"/>
                    <a:pt x="109" y="24"/>
                    <a:pt x="107" y="23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04" y="7"/>
                    <a:pt x="98" y="5"/>
                    <a:pt x="93" y="3"/>
                  </a:cubicBezTo>
                  <a:cubicBezTo>
                    <a:pt x="85" y="14"/>
                    <a:pt x="85" y="14"/>
                    <a:pt x="85" y="14"/>
                  </a:cubicBezTo>
                  <a:cubicBezTo>
                    <a:pt x="83" y="13"/>
                    <a:pt x="81" y="13"/>
                    <a:pt x="79" y="13"/>
                  </a:cubicBezTo>
                  <a:cubicBezTo>
                    <a:pt x="78" y="13"/>
                    <a:pt x="78" y="13"/>
                    <a:pt x="77" y="13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67" y="0"/>
                    <a:pt x="61" y="1"/>
                    <a:pt x="55" y="3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51" y="16"/>
                    <a:pt x="49" y="17"/>
                    <a:pt x="46" y="18"/>
                  </a:cubicBezTo>
                  <a:cubicBezTo>
                    <a:pt x="36" y="10"/>
                    <a:pt x="36" y="10"/>
                    <a:pt x="36" y="10"/>
                  </a:cubicBezTo>
                  <a:cubicBezTo>
                    <a:pt x="31" y="13"/>
                    <a:pt x="27" y="17"/>
                    <a:pt x="22" y="21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6" y="35"/>
                    <a:pt x="24" y="37"/>
                    <a:pt x="23" y="39"/>
                  </a:cubicBezTo>
                  <a:cubicBezTo>
                    <a:pt x="10" y="37"/>
                    <a:pt x="10" y="37"/>
                    <a:pt x="10" y="37"/>
                  </a:cubicBezTo>
                  <a:cubicBezTo>
                    <a:pt x="7" y="42"/>
                    <a:pt x="5" y="47"/>
                    <a:pt x="3" y="53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3" y="62"/>
                    <a:pt x="13" y="64"/>
                    <a:pt x="13" y="66"/>
                  </a:cubicBezTo>
                  <a:cubicBezTo>
                    <a:pt x="13" y="67"/>
                    <a:pt x="13" y="67"/>
                    <a:pt x="12" y="68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9"/>
                    <a:pt x="1" y="84"/>
                    <a:pt x="2" y="90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6" y="94"/>
                    <a:pt x="17" y="96"/>
                    <a:pt x="18" y="9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13" y="114"/>
                    <a:pt x="17" y="119"/>
                    <a:pt x="21" y="123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35" y="119"/>
                    <a:pt x="37" y="121"/>
                    <a:pt x="39" y="122"/>
                  </a:cubicBezTo>
                  <a:cubicBezTo>
                    <a:pt x="37" y="135"/>
                    <a:pt x="37" y="135"/>
                    <a:pt x="37" y="135"/>
                  </a:cubicBezTo>
                  <a:cubicBezTo>
                    <a:pt x="42" y="138"/>
                    <a:pt x="47" y="140"/>
                    <a:pt x="53" y="142"/>
                  </a:cubicBezTo>
                  <a:cubicBezTo>
                    <a:pt x="61" y="132"/>
                    <a:pt x="61" y="132"/>
                    <a:pt x="61" y="132"/>
                  </a:cubicBezTo>
                  <a:cubicBezTo>
                    <a:pt x="62" y="132"/>
                    <a:pt x="64" y="132"/>
                    <a:pt x="66" y="133"/>
                  </a:cubicBezTo>
                  <a:cubicBezTo>
                    <a:pt x="67" y="133"/>
                    <a:pt x="68" y="133"/>
                    <a:pt x="68" y="133"/>
                  </a:cubicBezTo>
                  <a:cubicBezTo>
                    <a:pt x="73" y="145"/>
                    <a:pt x="73" y="145"/>
                    <a:pt x="73" y="145"/>
                  </a:cubicBezTo>
                  <a:cubicBezTo>
                    <a:pt x="79" y="145"/>
                    <a:pt x="85" y="144"/>
                    <a:pt x="90" y="143"/>
                  </a:cubicBezTo>
                  <a:cubicBezTo>
                    <a:pt x="92" y="130"/>
                    <a:pt x="92" y="130"/>
                    <a:pt x="92" y="130"/>
                  </a:cubicBezTo>
                  <a:cubicBezTo>
                    <a:pt x="94" y="129"/>
                    <a:pt x="97" y="128"/>
                    <a:pt x="99" y="127"/>
                  </a:cubicBezTo>
                  <a:cubicBezTo>
                    <a:pt x="109" y="135"/>
                    <a:pt x="109" y="135"/>
                    <a:pt x="109" y="135"/>
                  </a:cubicBezTo>
                  <a:cubicBezTo>
                    <a:pt x="114" y="132"/>
                    <a:pt x="119" y="129"/>
                    <a:pt x="123" y="125"/>
                  </a:cubicBezTo>
                  <a:cubicBezTo>
                    <a:pt x="118" y="113"/>
                    <a:pt x="118" y="113"/>
                    <a:pt x="118" y="113"/>
                  </a:cubicBezTo>
                  <a:cubicBezTo>
                    <a:pt x="119" y="111"/>
                    <a:pt x="121" y="109"/>
                    <a:pt x="123" y="107"/>
                  </a:cubicBezTo>
                  <a:cubicBezTo>
                    <a:pt x="135" y="109"/>
                    <a:pt x="135" y="109"/>
                    <a:pt x="135" y="109"/>
                  </a:cubicBezTo>
                  <a:cubicBezTo>
                    <a:pt x="138" y="104"/>
                    <a:pt x="141" y="98"/>
                    <a:pt x="142" y="93"/>
                  </a:cubicBezTo>
                  <a:cubicBezTo>
                    <a:pt x="132" y="85"/>
                    <a:pt x="132" y="85"/>
                    <a:pt x="132" y="85"/>
                  </a:cubicBezTo>
                  <a:cubicBezTo>
                    <a:pt x="132" y="83"/>
                    <a:pt x="132" y="81"/>
                    <a:pt x="133" y="79"/>
                  </a:cubicBezTo>
                  <a:cubicBezTo>
                    <a:pt x="133" y="78"/>
                    <a:pt x="133" y="78"/>
                    <a:pt x="133" y="77"/>
                  </a:cubicBezTo>
                  <a:close/>
                  <a:moveTo>
                    <a:pt x="104" y="76"/>
                  </a:moveTo>
                  <a:cubicBezTo>
                    <a:pt x="102" y="93"/>
                    <a:pt x="87" y="106"/>
                    <a:pt x="69" y="104"/>
                  </a:cubicBezTo>
                  <a:cubicBezTo>
                    <a:pt x="52" y="102"/>
                    <a:pt x="40" y="86"/>
                    <a:pt x="41" y="69"/>
                  </a:cubicBezTo>
                  <a:cubicBezTo>
                    <a:pt x="43" y="52"/>
                    <a:pt x="59" y="40"/>
                    <a:pt x="76" y="41"/>
                  </a:cubicBezTo>
                  <a:cubicBezTo>
                    <a:pt x="93" y="43"/>
                    <a:pt x="106" y="59"/>
                    <a:pt x="104" y="7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185">
              <a:extLst>
                <a:ext uri="{FF2B5EF4-FFF2-40B4-BE49-F238E27FC236}">
                  <a16:creationId xmlns:a16="http://schemas.microsoft.com/office/drawing/2014/main" id="{0D91BBCA-D9AB-4F2A-BE78-00EBC4689D3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53976" y="2140660"/>
              <a:ext cx="122217" cy="120650"/>
            </a:xfrm>
            <a:custGeom>
              <a:avLst/>
              <a:gdLst>
                <a:gd name="T0" fmla="*/ 79 w 103"/>
                <a:gd name="T1" fmla="*/ 74 h 102"/>
                <a:gd name="T2" fmla="*/ 80 w 103"/>
                <a:gd name="T3" fmla="*/ 73 h 102"/>
                <a:gd name="T4" fmla="*/ 96 w 103"/>
                <a:gd name="T5" fmla="*/ 77 h 102"/>
                <a:gd name="T6" fmla="*/ 99 w 103"/>
                <a:gd name="T7" fmla="*/ 71 h 102"/>
                <a:gd name="T8" fmla="*/ 87 w 103"/>
                <a:gd name="T9" fmla="*/ 61 h 102"/>
                <a:gd name="T10" fmla="*/ 88 w 103"/>
                <a:gd name="T11" fmla="*/ 56 h 102"/>
                <a:gd name="T12" fmla="*/ 103 w 103"/>
                <a:gd name="T13" fmla="*/ 51 h 102"/>
                <a:gd name="T14" fmla="*/ 103 w 103"/>
                <a:gd name="T15" fmla="*/ 45 h 102"/>
                <a:gd name="T16" fmla="*/ 87 w 103"/>
                <a:gd name="T17" fmla="*/ 42 h 102"/>
                <a:gd name="T18" fmla="*/ 85 w 103"/>
                <a:gd name="T19" fmla="*/ 38 h 102"/>
                <a:gd name="T20" fmla="*/ 96 w 103"/>
                <a:gd name="T21" fmla="*/ 26 h 102"/>
                <a:gd name="T22" fmla="*/ 93 w 103"/>
                <a:gd name="T23" fmla="*/ 21 h 102"/>
                <a:gd name="T24" fmla="*/ 78 w 103"/>
                <a:gd name="T25" fmla="*/ 26 h 102"/>
                <a:gd name="T26" fmla="*/ 75 w 103"/>
                <a:gd name="T27" fmla="*/ 24 h 102"/>
                <a:gd name="T28" fmla="*/ 74 w 103"/>
                <a:gd name="T29" fmla="*/ 23 h 102"/>
                <a:gd name="T30" fmla="*/ 78 w 103"/>
                <a:gd name="T31" fmla="*/ 7 h 102"/>
                <a:gd name="T32" fmla="*/ 72 w 103"/>
                <a:gd name="T33" fmla="*/ 4 h 102"/>
                <a:gd name="T34" fmla="*/ 61 w 103"/>
                <a:gd name="T35" fmla="*/ 16 h 102"/>
                <a:gd name="T36" fmla="*/ 57 w 103"/>
                <a:gd name="T37" fmla="*/ 15 h 102"/>
                <a:gd name="T38" fmla="*/ 52 w 103"/>
                <a:gd name="T39" fmla="*/ 0 h 102"/>
                <a:gd name="T40" fmla="*/ 46 w 103"/>
                <a:gd name="T41" fmla="*/ 0 h 102"/>
                <a:gd name="T42" fmla="*/ 43 w 103"/>
                <a:gd name="T43" fmla="*/ 16 h 102"/>
                <a:gd name="T44" fmla="*/ 38 w 103"/>
                <a:gd name="T45" fmla="*/ 18 h 102"/>
                <a:gd name="T46" fmla="*/ 26 w 103"/>
                <a:gd name="T47" fmla="*/ 7 h 102"/>
                <a:gd name="T48" fmla="*/ 21 w 103"/>
                <a:gd name="T49" fmla="*/ 10 h 102"/>
                <a:gd name="T50" fmla="*/ 27 w 103"/>
                <a:gd name="T51" fmla="*/ 25 h 102"/>
                <a:gd name="T52" fmla="*/ 24 w 103"/>
                <a:gd name="T53" fmla="*/ 28 h 102"/>
                <a:gd name="T54" fmla="*/ 24 w 103"/>
                <a:gd name="T55" fmla="*/ 29 h 102"/>
                <a:gd name="T56" fmla="*/ 8 w 103"/>
                <a:gd name="T57" fmla="*/ 25 h 102"/>
                <a:gd name="T58" fmla="*/ 5 w 103"/>
                <a:gd name="T59" fmla="*/ 31 h 102"/>
                <a:gd name="T60" fmla="*/ 17 w 103"/>
                <a:gd name="T61" fmla="*/ 41 h 102"/>
                <a:gd name="T62" fmla="*/ 16 w 103"/>
                <a:gd name="T63" fmla="*/ 46 h 102"/>
                <a:gd name="T64" fmla="*/ 0 w 103"/>
                <a:gd name="T65" fmla="*/ 51 h 102"/>
                <a:gd name="T66" fmla="*/ 1 w 103"/>
                <a:gd name="T67" fmla="*/ 57 h 102"/>
                <a:gd name="T68" fmla="*/ 17 w 103"/>
                <a:gd name="T69" fmla="*/ 60 h 102"/>
                <a:gd name="T70" fmla="*/ 18 w 103"/>
                <a:gd name="T71" fmla="*/ 64 h 102"/>
                <a:gd name="T72" fmla="*/ 7 w 103"/>
                <a:gd name="T73" fmla="*/ 76 h 102"/>
                <a:gd name="T74" fmla="*/ 11 w 103"/>
                <a:gd name="T75" fmla="*/ 82 h 102"/>
                <a:gd name="T76" fmla="*/ 26 w 103"/>
                <a:gd name="T77" fmla="*/ 76 h 102"/>
                <a:gd name="T78" fmla="*/ 29 w 103"/>
                <a:gd name="T79" fmla="*/ 79 h 102"/>
                <a:gd name="T80" fmla="*/ 30 w 103"/>
                <a:gd name="T81" fmla="*/ 79 h 102"/>
                <a:gd name="T82" fmla="*/ 26 w 103"/>
                <a:gd name="T83" fmla="*/ 95 h 102"/>
                <a:gd name="T84" fmla="*/ 31 w 103"/>
                <a:gd name="T85" fmla="*/ 98 h 102"/>
                <a:gd name="T86" fmla="*/ 42 w 103"/>
                <a:gd name="T87" fmla="*/ 86 h 102"/>
                <a:gd name="T88" fmla="*/ 47 w 103"/>
                <a:gd name="T89" fmla="*/ 87 h 102"/>
                <a:gd name="T90" fmla="*/ 52 w 103"/>
                <a:gd name="T91" fmla="*/ 102 h 102"/>
                <a:gd name="T92" fmla="*/ 58 w 103"/>
                <a:gd name="T93" fmla="*/ 102 h 102"/>
                <a:gd name="T94" fmla="*/ 61 w 103"/>
                <a:gd name="T95" fmla="*/ 86 h 102"/>
                <a:gd name="T96" fmla="*/ 65 w 103"/>
                <a:gd name="T97" fmla="*/ 85 h 102"/>
                <a:gd name="T98" fmla="*/ 77 w 103"/>
                <a:gd name="T99" fmla="*/ 96 h 102"/>
                <a:gd name="T100" fmla="*/ 82 w 103"/>
                <a:gd name="T101" fmla="*/ 92 h 102"/>
                <a:gd name="T102" fmla="*/ 77 w 103"/>
                <a:gd name="T103" fmla="*/ 77 h 102"/>
                <a:gd name="T104" fmla="*/ 79 w 103"/>
                <a:gd name="T105" fmla="*/ 74 h 102"/>
                <a:gd name="T106" fmla="*/ 71 w 103"/>
                <a:gd name="T107" fmla="*/ 67 h 102"/>
                <a:gd name="T108" fmla="*/ 36 w 103"/>
                <a:gd name="T109" fmla="*/ 70 h 102"/>
                <a:gd name="T110" fmla="*/ 33 w 103"/>
                <a:gd name="T111" fmla="*/ 35 h 102"/>
                <a:gd name="T112" fmla="*/ 68 w 103"/>
                <a:gd name="T113" fmla="*/ 32 h 102"/>
                <a:gd name="T114" fmla="*/ 71 w 103"/>
                <a:gd name="T115" fmla="*/ 67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3" h="102">
                  <a:moveTo>
                    <a:pt x="79" y="74"/>
                  </a:moveTo>
                  <a:cubicBezTo>
                    <a:pt x="80" y="74"/>
                    <a:pt x="80" y="74"/>
                    <a:pt x="80" y="73"/>
                  </a:cubicBezTo>
                  <a:cubicBezTo>
                    <a:pt x="96" y="77"/>
                    <a:pt x="96" y="77"/>
                    <a:pt x="96" y="77"/>
                  </a:cubicBezTo>
                  <a:cubicBezTo>
                    <a:pt x="97" y="75"/>
                    <a:pt x="98" y="73"/>
                    <a:pt x="99" y="71"/>
                  </a:cubicBezTo>
                  <a:cubicBezTo>
                    <a:pt x="87" y="61"/>
                    <a:pt x="87" y="61"/>
                    <a:pt x="87" y="61"/>
                  </a:cubicBezTo>
                  <a:cubicBezTo>
                    <a:pt x="87" y="59"/>
                    <a:pt x="87" y="58"/>
                    <a:pt x="88" y="56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49"/>
                    <a:pt x="103" y="47"/>
                    <a:pt x="103" y="45"/>
                  </a:cubicBezTo>
                  <a:cubicBezTo>
                    <a:pt x="87" y="42"/>
                    <a:pt x="87" y="42"/>
                    <a:pt x="87" y="42"/>
                  </a:cubicBezTo>
                  <a:cubicBezTo>
                    <a:pt x="86" y="41"/>
                    <a:pt x="86" y="39"/>
                    <a:pt x="85" y="38"/>
                  </a:cubicBezTo>
                  <a:cubicBezTo>
                    <a:pt x="96" y="26"/>
                    <a:pt x="96" y="26"/>
                    <a:pt x="96" y="26"/>
                  </a:cubicBezTo>
                  <a:cubicBezTo>
                    <a:pt x="95" y="24"/>
                    <a:pt x="94" y="22"/>
                    <a:pt x="93" y="21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7" y="25"/>
                    <a:pt x="76" y="24"/>
                    <a:pt x="75" y="24"/>
                  </a:cubicBezTo>
                  <a:cubicBezTo>
                    <a:pt x="75" y="23"/>
                    <a:pt x="74" y="23"/>
                    <a:pt x="74" y="23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76" y="6"/>
                    <a:pt x="74" y="5"/>
                    <a:pt x="72" y="4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0" y="16"/>
                    <a:pt x="59" y="16"/>
                    <a:pt x="57" y="15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0" y="0"/>
                    <a:pt x="48" y="0"/>
                    <a:pt x="46" y="0"/>
                  </a:cubicBezTo>
                  <a:cubicBezTo>
                    <a:pt x="43" y="16"/>
                    <a:pt x="43" y="16"/>
                    <a:pt x="43" y="16"/>
                  </a:cubicBezTo>
                  <a:cubicBezTo>
                    <a:pt x="41" y="17"/>
                    <a:pt x="40" y="17"/>
                    <a:pt x="38" y="18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5" y="8"/>
                    <a:pt x="23" y="9"/>
                    <a:pt x="21" y="10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6" y="26"/>
                    <a:pt x="25" y="27"/>
                    <a:pt x="24" y="28"/>
                  </a:cubicBezTo>
                  <a:cubicBezTo>
                    <a:pt x="24" y="28"/>
                    <a:pt x="24" y="29"/>
                    <a:pt x="24" y="29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6" y="27"/>
                    <a:pt x="6" y="29"/>
                    <a:pt x="5" y="31"/>
                  </a:cubicBezTo>
                  <a:cubicBezTo>
                    <a:pt x="17" y="41"/>
                    <a:pt x="17" y="41"/>
                    <a:pt x="17" y="41"/>
                  </a:cubicBezTo>
                  <a:cubicBezTo>
                    <a:pt x="17" y="43"/>
                    <a:pt x="16" y="44"/>
                    <a:pt x="16" y="46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53"/>
                    <a:pt x="1" y="55"/>
                    <a:pt x="1" y="57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62"/>
                    <a:pt x="18" y="63"/>
                    <a:pt x="18" y="64"/>
                  </a:cubicBezTo>
                  <a:cubicBezTo>
                    <a:pt x="7" y="76"/>
                    <a:pt x="7" y="76"/>
                    <a:pt x="7" y="76"/>
                  </a:cubicBezTo>
                  <a:cubicBezTo>
                    <a:pt x="8" y="78"/>
                    <a:pt x="9" y="80"/>
                    <a:pt x="11" y="82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7" y="77"/>
                    <a:pt x="28" y="78"/>
                    <a:pt x="29" y="79"/>
                  </a:cubicBezTo>
                  <a:cubicBezTo>
                    <a:pt x="29" y="79"/>
                    <a:pt x="29" y="79"/>
                    <a:pt x="30" y="79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28" y="96"/>
                    <a:pt x="30" y="97"/>
                    <a:pt x="31" y="98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4" y="86"/>
                    <a:pt x="45" y="87"/>
                    <a:pt x="47" y="87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4" y="102"/>
                    <a:pt x="56" y="102"/>
                    <a:pt x="58" y="102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2" y="86"/>
                    <a:pt x="64" y="85"/>
                    <a:pt x="65" y="85"/>
                  </a:cubicBezTo>
                  <a:cubicBezTo>
                    <a:pt x="77" y="96"/>
                    <a:pt x="77" y="96"/>
                    <a:pt x="77" y="96"/>
                  </a:cubicBezTo>
                  <a:cubicBezTo>
                    <a:pt x="79" y="95"/>
                    <a:pt x="81" y="93"/>
                    <a:pt x="82" y="92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78" y="76"/>
                    <a:pt x="79" y="75"/>
                    <a:pt x="79" y="74"/>
                  </a:cubicBezTo>
                  <a:close/>
                  <a:moveTo>
                    <a:pt x="71" y="67"/>
                  </a:moveTo>
                  <a:cubicBezTo>
                    <a:pt x="62" y="78"/>
                    <a:pt x="46" y="79"/>
                    <a:pt x="36" y="70"/>
                  </a:cubicBezTo>
                  <a:cubicBezTo>
                    <a:pt x="25" y="61"/>
                    <a:pt x="24" y="46"/>
                    <a:pt x="33" y="35"/>
                  </a:cubicBezTo>
                  <a:cubicBezTo>
                    <a:pt x="42" y="25"/>
                    <a:pt x="57" y="23"/>
                    <a:pt x="68" y="32"/>
                  </a:cubicBezTo>
                  <a:cubicBezTo>
                    <a:pt x="78" y="41"/>
                    <a:pt x="80" y="57"/>
                    <a:pt x="71" y="6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186">
              <a:extLst>
                <a:ext uri="{FF2B5EF4-FFF2-40B4-BE49-F238E27FC236}">
                  <a16:creationId xmlns:a16="http://schemas.microsoft.com/office/drawing/2014/main" id="{7E76D734-BDE6-4941-9089-6DC5318A90E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4493" y="1878724"/>
              <a:ext cx="368239" cy="366713"/>
            </a:xfrm>
            <a:custGeom>
              <a:avLst/>
              <a:gdLst>
                <a:gd name="T0" fmla="*/ 280 w 311"/>
                <a:gd name="T1" fmla="*/ 252 h 310"/>
                <a:gd name="T2" fmla="*/ 253 w 311"/>
                <a:gd name="T3" fmla="*/ 211 h 310"/>
                <a:gd name="T4" fmla="*/ 257 w 311"/>
                <a:gd name="T5" fmla="*/ 203 h 310"/>
                <a:gd name="T6" fmla="*/ 306 w 311"/>
                <a:gd name="T7" fmla="*/ 202 h 310"/>
                <a:gd name="T8" fmla="*/ 311 w 311"/>
                <a:gd name="T9" fmla="*/ 177 h 310"/>
                <a:gd name="T10" fmla="*/ 268 w 311"/>
                <a:gd name="T11" fmla="*/ 155 h 310"/>
                <a:gd name="T12" fmla="*/ 268 w 311"/>
                <a:gd name="T13" fmla="*/ 146 h 310"/>
                <a:gd name="T14" fmla="*/ 309 w 311"/>
                <a:gd name="T15" fmla="*/ 121 h 310"/>
                <a:gd name="T16" fmla="*/ 302 w 311"/>
                <a:gd name="T17" fmla="*/ 96 h 310"/>
                <a:gd name="T18" fmla="*/ 253 w 311"/>
                <a:gd name="T19" fmla="*/ 99 h 310"/>
                <a:gd name="T20" fmla="*/ 249 w 311"/>
                <a:gd name="T21" fmla="*/ 92 h 310"/>
                <a:gd name="T22" fmla="*/ 272 w 311"/>
                <a:gd name="T23" fmla="*/ 49 h 310"/>
                <a:gd name="T24" fmla="*/ 263 w 311"/>
                <a:gd name="T25" fmla="*/ 40 h 310"/>
                <a:gd name="T26" fmla="*/ 253 w 311"/>
                <a:gd name="T27" fmla="*/ 32 h 310"/>
                <a:gd name="T28" fmla="*/ 212 w 311"/>
                <a:gd name="T29" fmla="*/ 58 h 310"/>
                <a:gd name="T30" fmla="*/ 204 w 311"/>
                <a:gd name="T31" fmla="*/ 54 h 310"/>
                <a:gd name="T32" fmla="*/ 203 w 311"/>
                <a:gd name="T33" fmla="*/ 6 h 310"/>
                <a:gd name="T34" fmla="*/ 178 w 311"/>
                <a:gd name="T35" fmla="*/ 0 h 310"/>
                <a:gd name="T36" fmla="*/ 156 w 311"/>
                <a:gd name="T37" fmla="*/ 43 h 310"/>
                <a:gd name="T38" fmla="*/ 147 w 311"/>
                <a:gd name="T39" fmla="*/ 43 h 310"/>
                <a:gd name="T40" fmla="*/ 122 w 311"/>
                <a:gd name="T41" fmla="*/ 2 h 310"/>
                <a:gd name="T42" fmla="*/ 97 w 311"/>
                <a:gd name="T43" fmla="*/ 10 h 310"/>
                <a:gd name="T44" fmla="*/ 100 w 311"/>
                <a:gd name="T45" fmla="*/ 58 h 310"/>
                <a:gd name="T46" fmla="*/ 92 w 311"/>
                <a:gd name="T47" fmla="*/ 63 h 310"/>
                <a:gd name="T48" fmla="*/ 50 w 311"/>
                <a:gd name="T49" fmla="*/ 39 h 310"/>
                <a:gd name="T50" fmla="*/ 41 w 311"/>
                <a:gd name="T51" fmla="*/ 49 h 310"/>
                <a:gd name="T52" fmla="*/ 32 w 311"/>
                <a:gd name="T53" fmla="*/ 59 h 310"/>
                <a:gd name="T54" fmla="*/ 59 w 311"/>
                <a:gd name="T55" fmla="*/ 99 h 310"/>
                <a:gd name="T56" fmla="*/ 55 w 311"/>
                <a:gd name="T57" fmla="*/ 107 h 310"/>
                <a:gd name="T58" fmla="*/ 6 w 311"/>
                <a:gd name="T59" fmla="*/ 108 h 310"/>
                <a:gd name="T60" fmla="*/ 0 w 311"/>
                <a:gd name="T61" fmla="*/ 133 h 310"/>
                <a:gd name="T62" fmla="*/ 44 w 311"/>
                <a:gd name="T63" fmla="*/ 155 h 310"/>
                <a:gd name="T64" fmla="*/ 44 w 311"/>
                <a:gd name="T65" fmla="*/ 164 h 310"/>
                <a:gd name="T66" fmla="*/ 3 w 311"/>
                <a:gd name="T67" fmla="*/ 189 h 310"/>
                <a:gd name="T68" fmla="*/ 10 w 311"/>
                <a:gd name="T69" fmla="*/ 214 h 310"/>
                <a:gd name="T70" fmla="*/ 59 w 311"/>
                <a:gd name="T71" fmla="*/ 211 h 310"/>
                <a:gd name="T72" fmla="*/ 63 w 311"/>
                <a:gd name="T73" fmla="*/ 219 h 310"/>
                <a:gd name="T74" fmla="*/ 40 w 311"/>
                <a:gd name="T75" fmla="*/ 261 h 310"/>
                <a:gd name="T76" fmla="*/ 49 w 311"/>
                <a:gd name="T77" fmla="*/ 270 h 310"/>
                <a:gd name="T78" fmla="*/ 59 w 311"/>
                <a:gd name="T79" fmla="*/ 279 h 310"/>
                <a:gd name="T80" fmla="*/ 100 w 311"/>
                <a:gd name="T81" fmla="*/ 252 h 310"/>
                <a:gd name="T82" fmla="*/ 108 w 311"/>
                <a:gd name="T83" fmla="*/ 256 h 310"/>
                <a:gd name="T84" fmla="*/ 109 w 311"/>
                <a:gd name="T85" fmla="*/ 305 h 310"/>
                <a:gd name="T86" fmla="*/ 134 w 311"/>
                <a:gd name="T87" fmla="*/ 310 h 310"/>
                <a:gd name="T88" fmla="*/ 156 w 311"/>
                <a:gd name="T89" fmla="*/ 267 h 310"/>
                <a:gd name="T90" fmla="*/ 165 w 311"/>
                <a:gd name="T91" fmla="*/ 267 h 310"/>
                <a:gd name="T92" fmla="*/ 190 w 311"/>
                <a:gd name="T93" fmla="*/ 308 h 310"/>
                <a:gd name="T94" fmla="*/ 215 w 311"/>
                <a:gd name="T95" fmla="*/ 300 h 310"/>
                <a:gd name="T96" fmla="*/ 212 w 311"/>
                <a:gd name="T97" fmla="*/ 252 h 310"/>
                <a:gd name="T98" fmla="*/ 219 w 311"/>
                <a:gd name="T99" fmla="*/ 248 h 310"/>
                <a:gd name="T100" fmla="*/ 262 w 311"/>
                <a:gd name="T101" fmla="*/ 271 h 310"/>
                <a:gd name="T102" fmla="*/ 271 w 311"/>
                <a:gd name="T103" fmla="*/ 262 h 310"/>
                <a:gd name="T104" fmla="*/ 280 w 311"/>
                <a:gd name="T105" fmla="*/ 252 h 310"/>
                <a:gd name="T106" fmla="*/ 197 w 311"/>
                <a:gd name="T107" fmla="*/ 193 h 310"/>
                <a:gd name="T108" fmla="*/ 118 w 311"/>
                <a:gd name="T109" fmla="*/ 196 h 310"/>
                <a:gd name="T110" fmla="*/ 115 w 311"/>
                <a:gd name="T111" fmla="*/ 117 h 310"/>
                <a:gd name="T112" fmla="*/ 194 w 311"/>
                <a:gd name="T113" fmla="*/ 114 h 310"/>
                <a:gd name="T114" fmla="*/ 197 w 311"/>
                <a:gd name="T115" fmla="*/ 193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11" h="310">
                  <a:moveTo>
                    <a:pt x="280" y="252"/>
                  </a:moveTo>
                  <a:cubicBezTo>
                    <a:pt x="253" y="211"/>
                    <a:pt x="253" y="211"/>
                    <a:pt x="253" y="211"/>
                  </a:cubicBezTo>
                  <a:cubicBezTo>
                    <a:pt x="255" y="209"/>
                    <a:pt x="256" y="206"/>
                    <a:pt x="257" y="203"/>
                  </a:cubicBezTo>
                  <a:cubicBezTo>
                    <a:pt x="306" y="202"/>
                    <a:pt x="306" y="202"/>
                    <a:pt x="306" y="202"/>
                  </a:cubicBezTo>
                  <a:cubicBezTo>
                    <a:pt x="308" y="194"/>
                    <a:pt x="310" y="185"/>
                    <a:pt x="311" y="177"/>
                  </a:cubicBezTo>
                  <a:cubicBezTo>
                    <a:pt x="268" y="155"/>
                    <a:pt x="268" y="155"/>
                    <a:pt x="268" y="155"/>
                  </a:cubicBezTo>
                  <a:cubicBezTo>
                    <a:pt x="268" y="152"/>
                    <a:pt x="268" y="149"/>
                    <a:pt x="268" y="146"/>
                  </a:cubicBezTo>
                  <a:cubicBezTo>
                    <a:pt x="309" y="121"/>
                    <a:pt x="309" y="121"/>
                    <a:pt x="309" y="121"/>
                  </a:cubicBezTo>
                  <a:cubicBezTo>
                    <a:pt x="307" y="113"/>
                    <a:pt x="305" y="104"/>
                    <a:pt x="302" y="96"/>
                  </a:cubicBezTo>
                  <a:cubicBezTo>
                    <a:pt x="253" y="99"/>
                    <a:pt x="253" y="99"/>
                    <a:pt x="253" y="99"/>
                  </a:cubicBezTo>
                  <a:cubicBezTo>
                    <a:pt x="252" y="97"/>
                    <a:pt x="250" y="94"/>
                    <a:pt x="249" y="92"/>
                  </a:cubicBezTo>
                  <a:cubicBezTo>
                    <a:pt x="272" y="49"/>
                    <a:pt x="272" y="49"/>
                    <a:pt x="272" y="49"/>
                  </a:cubicBezTo>
                  <a:cubicBezTo>
                    <a:pt x="269" y="46"/>
                    <a:pt x="266" y="43"/>
                    <a:pt x="263" y="40"/>
                  </a:cubicBezTo>
                  <a:cubicBezTo>
                    <a:pt x="259" y="37"/>
                    <a:pt x="256" y="34"/>
                    <a:pt x="253" y="32"/>
                  </a:cubicBezTo>
                  <a:cubicBezTo>
                    <a:pt x="212" y="58"/>
                    <a:pt x="212" y="58"/>
                    <a:pt x="212" y="58"/>
                  </a:cubicBezTo>
                  <a:cubicBezTo>
                    <a:pt x="210" y="57"/>
                    <a:pt x="207" y="55"/>
                    <a:pt x="204" y="54"/>
                  </a:cubicBezTo>
                  <a:cubicBezTo>
                    <a:pt x="203" y="6"/>
                    <a:pt x="203" y="6"/>
                    <a:pt x="203" y="6"/>
                  </a:cubicBezTo>
                  <a:cubicBezTo>
                    <a:pt x="195" y="3"/>
                    <a:pt x="186" y="1"/>
                    <a:pt x="178" y="0"/>
                  </a:cubicBezTo>
                  <a:cubicBezTo>
                    <a:pt x="156" y="43"/>
                    <a:pt x="156" y="43"/>
                    <a:pt x="156" y="43"/>
                  </a:cubicBezTo>
                  <a:cubicBezTo>
                    <a:pt x="153" y="43"/>
                    <a:pt x="150" y="43"/>
                    <a:pt x="147" y="43"/>
                  </a:cubicBezTo>
                  <a:cubicBezTo>
                    <a:pt x="122" y="2"/>
                    <a:pt x="122" y="2"/>
                    <a:pt x="122" y="2"/>
                  </a:cubicBezTo>
                  <a:cubicBezTo>
                    <a:pt x="114" y="4"/>
                    <a:pt x="105" y="6"/>
                    <a:pt x="97" y="10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97" y="59"/>
                    <a:pt x="95" y="61"/>
                    <a:pt x="92" y="63"/>
                  </a:cubicBezTo>
                  <a:cubicBezTo>
                    <a:pt x="50" y="39"/>
                    <a:pt x="50" y="39"/>
                    <a:pt x="50" y="39"/>
                  </a:cubicBezTo>
                  <a:cubicBezTo>
                    <a:pt x="47" y="42"/>
                    <a:pt x="44" y="45"/>
                    <a:pt x="41" y="49"/>
                  </a:cubicBezTo>
                  <a:cubicBezTo>
                    <a:pt x="38" y="52"/>
                    <a:pt x="35" y="55"/>
                    <a:pt x="32" y="59"/>
                  </a:cubicBezTo>
                  <a:cubicBezTo>
                    <a:pt x="59" y="99"/>
                    <a:pt x="59" y="99"/>
                    <a:pt x="59" y="99"/>
                  </a:cubicBezTo>
                  <a:cubicBezTo>
                    <a:pt x="57" y="102"/>
                    <a:pt x="56" y="104"/>
                    <a:pt x="55" y="107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4" y="116"/>
                    <a:pt x="2" y="125"/>
                    <a:pt x="0" y="133"/>
                  </a:cubicBezTo>
                  <a:cubicBezTo>
                    <a:pt x="44" y="155"/>
                    <a:pt x="44" y="155"/>
                    <a:pt x="44" y="155"/>
                  </a:cubicBezTo>
                  <a:cubicBezTo>
                    <a:pt x="44" y="158"/>
                    <a:pt x="44" y="161"/>
                    <a:pt x="44" y="164"/>
                  </a:cubicBezTo>
                  <a:cubicBezTo>
                    <a:pt x="3" y="189"/>
                    <a:pt x="3" y="189"/>
                    <a:pt x="3" y="189"/>
                  </a:cubicBezTo>
                  <a:cubicBezTo>
                    <a:pt x="4" y="197"/>
                    <a:pt x="7" y="206"/>
                    <a:pt x="10" y="214"/>
                  </a:cubicBezTo>
                  <a:cubicBezTo>
                    <a:pt x="59" y="211"/>
                    <a:pt x="59" y="211"/>
                    <a:pt x="59" y="211"/>
                  </a:cubicBezTo>
                  <a:cubicBezTo>
                    <a:pt x="60" y="214"/>
                    <a:pt x="62" y="216"/>
                    <a:pt x="63" y="219"/>
                  </a:cubicBezTo>
                  <a:cubicBezTo>
                    <a:pt x="40" y="261"/>
                    <a:pt x="40" y="261"/>
                    <a:pt x="40" y="261"/>
                  </a:cubicBezTo>
                  <a:cubicBezTo>
                    <a:pt x="43" y="264"/>
                    <a:pt x="46" y="267"/>
                    <a:pt x="49" y="270"/>
                  </a:cubicBezTo>
                  <a:cubicBezTo>
                    <a:pt x="53" y="273"/>
                    <a:pt x="56" y="276"/>
                    <a:pt x="59" y="279"/>
                  </a:cubicBezTo>
                  <a:cubicBezTo>
                    <a:pt x="100" y="252"/>
                    <a:pt x="100" y="252"/>
                    <a:pt x="100" y="252"/>
                  </a:cubicBezTo>
                  <a:cubicBezTo>
                    <a:pt x="102" y="254"/>
                    <a:pt x="105" y="255"/>
                    <a:pt x="108" y="256"/>
                  </a:cubicBezTo>
                  <a:cubicBezTo>
                    <a:pt x="109" y="305"/>
                    <a:pt x="109" y="305"/>
                    <a:pt x="109" y="305"/>
                  </a:cubicBezTo>
                  <a:cubicBezTo>
                    <a:pt x="117" y="307"/>
                    <a:pt x="126" y="309"/>
                    <a:pt x="134" y="310"/>
                  </a:cubicBezTo>
                  <a:cubicBezTo>
                    <a:pt x="156" y="267"/>
                    <a:pt x="156" y="267"/>
                    <a:pt x="156" y="267"/>
                  </a:cubicBezTo>
                  <a:cubicBezTo>
                    <a:pt x="159" y="267"/>
                    <a:pt x="162" y="267"/>
                    <a:pt x="165" y="267"/>
                  </a:cubicBezTo>
                  <a:cubicBezTo>
                    <a:pt x="190" y="308"/>
                    <a:pt x="190" y="308"/>
                    <a:pt x="190" y="308"/>
                  </a:cubicBezTo>
                  <a:cubicBezTo>
                    <a:pt x="198" y="306"/>
                    <a:pt x="207" y="304"/>
                    <a:pt x="215" y="300"/>
                  </a:cubicBezTo>
                  <a:cubicBezTo>
                    <a:pt x="212" y="252"/>
                    <a:pt x="212" y="252"/>
                    <a:pt x="212" y="252"/>
                  </a:cubicBezTo>
                  <a:cubicBezTo>
                    <a:pt x="215" y="251"/>
                    <a:pt x="217" y="249"/>
                    <a:pt x="219" y="248"/>
                  </a:cubicBezTo>
                  <a:cubicBezTo>
                    <a:pt x="262" y="271"/>
                    <a:pt x="262" y="271"/>
                    <a:pt x="262" y="271"/>
                  </a:cubicBezTo>
                  <a:cubicBezTo>
                    <a:pt x="265" y="268"/>
                    <a:pt x="268" y="265"/>
                    <a:pt x="271" y="262"/>
                  </a:cubicBezTo>
                  <a:cubicBezTo>
                    <a:pt x="274" y="258"/>
                    <a:pt x="277" y="255"/>
                    <a:pt x="280" y="252"/>
                  </a:cubicBezTo>
                  <a:close/>
                  <a:moveTo>
                    <a:pt x="197" y="193"/>
                  </a:moveTo>
                  <a:cubicBezTo>
                    <a:pt x="176" y="215"/>
                    <a:pt x="141" y="217"/>
                    <a:pt x="118" y="196"/>
                  </a:cubicBezTo>
                  <a:cubicBezTo>
                    <a:pt x="96" y="175"/>
                    <a:pt x="94" y="140"/>
                    <a:pt x="115" y="117"/>
                  </a:cubicBezTo>
                  <a:cubicBezTo>
                    <a:pt x="136" y="95"/>
                    <a:pt x="171" y="94"/>
                    <a:pt x="194" y="114"/>
                  </a:cubicBezTo>
                  <a:cubicBezTo>
                    <a:pt x="216" y="135"/>
                    <a:pt x="218" y="170"/>
                    <a:pt x="197" y="193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5" name="Freeform 187">
              <a:extLst>
                <a:ext uri="{FF2B5EF4-FFF2-40B4-BE49-F238E27FC236}">
                  <a16:creationId xmlns:a16="http://schemas.microsoft.com/office/drawing/2014/main" id="{7E5F11E9-1B71-4E1B-A278-7A9798D8732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373034" y="2239085"/>
              <a:ext cx="395222" cy="393700"/>
            </a:xfrm>
            <a:custGeom>
              <a:avLst/>
              <a:gdLst>
                <a:gd name="T0" fmla="*/ 275 w 334"/>
                <a:gd name="T1" fmla="*/ 220 h 333"/>
                <a:gd name="T2" fmla="*/ 327 w 334"/>
                <a:gd name="T3" fmla="*/ 219 h 333"/>
                <a:gd name="T4" fmla="*/ 330 w 334"/>
                <a:gd name="T5" fmla="*/ 211 h 333"/>
                <a:gd name="T6" fmla="*/ 334 w 334"/>
                <a:gd name="T7" fmla="*/ 192 h 333"/>
                <a:gd name="T8" fmla="*/ 287 w 334"/>
                <a:gd name="T9" fmla="*/ 168 h 333"/>
                <a:gd name="T10" fmla="*/ 287 w 334"/>
                <a:gd name="T11" fmla="*/ 158 h 333"/>
                <a:gd name="T12" fmla="*/ 332 w 334"/>
                <a:gd name="T13" fmla="*/ 132 h 333"/>
                <a:gd name="T14" fmla="*/ 324 w 334"/>
                <a:gd name="T15" fmla="*/ 105 h 333"/>
                <a:gd name="T16" fmla="*/ 272 w 334"/>
                <a:gd name="T17" fmla="*/ 107 h 333"/>
                <a:gd name="T18" fmla="*/ 267 w 334"/>
                <a:gd name="T19" fmla="*/ 100 h 333"/>
                <a:gd name="T20" fmla="*/ 292 w 334"/>
                <a:gd name="T21" fmla="*/ 54 h 333"/>
                <a:gd name="T22" fmla="*/ 272 w 334"/>
                <a:gd name="T23" fmla="*/ 35 h 333"/>
                <a:gd name="T24" fmla="*/ 228 w 334"/>
                <a:gd name="T25" fmla="*/ 63 h 333"/>
                <a:gd name="T26" fmla="*/ 220 w 334"/>
                <a:gd name="T27" fmla="*/ 59 h 333"/>
                <a:gd name="T28" fmla="*/ 219 w 334"/>
                <a:gd name="T29" fmla="*/ 7 h 333"/>
                <a:gd name="T30" fmla="*/ 211 w 334"/>
                <a:gd name="T31" fmla="*/ 4 h 333"/>
                <a:gd name="T32" fmla="*/ 192 w 334"/>
                <a:gd name="T33" fmla="*/ 0 h 333"/>
                <a:gd name="T34" fmla="*/ 168 w 334"/>
                <a:gd name="T35" fmla="*/ 46 h 333"/>
                <a:gd name="T36" fmla="*/ 159 w 334"/>
                <a:gd name="T37" fmla="*/ 47 h 333"/>
                <a:gd name="T38" fmla="*/ 132 w 334"/>
                <a:gd name="T39" fmla="*/ 2 h 333"/>
                <a:gd name="T40" fmla="*/ 105 w 334"/>
                <a:gd name="T41" fmla="*/ 10 h 333"/>
                <a:gd name="T42" fmla="*/ 107 w 334"/>
                <a:gd name="T43" fmla="*/ 62 h 333"/>
                <a:gd name="T44" fmla="*/ 100 w 334"/>
                <a:gd name="T45" fmla="*/ 67 h 333"/>
                <a:gd name="T46" fmla="*/ 54 w 334"/>
                <a:gd name="T47" fmla="*/ 42 h 333"/>
                <a:gd name="T48" fmla="*/ 35 w 334"/>
                <a:gd name="T49" fmla="*/ 62 h 333"/>
                <a:gd name="T50" fmla="*/ 63 w 334"/>
                <a:gd name="T51" fmla="*/ 106 h 333"/>
                <a:gd name="T52" fmla="*/ 59 w 334"/>
                <a:gd name="T53" fmla="*/ 114 h 333"/>
                <a:gd name="T54" fmla="*/ 7 w 334"/>
                <a:gd name="T55" fmla="*/ 115 h 333"/>
                <a:gd name="T56" fmla="*/ 4 w 334"/>
                <a:gd name="T57" fmla="*/ 123 h 333"/>
                <a:gd name="T58" fmla="*/ 0 w 334"/>
                <a:gd name="T59" fmla="*/ 142 h 333"/>
                <a:gd name="T60" fmla="*/ 46 w 334"/>
                <a:gd name="T61" fmla="*/ 166 h 333"/>
                <a:gd name="T62" fmla="*/ 47 w 334"/>
                <a:gd name="T63" fmla="*/ 175 h 333"/>
                <a:gd name="T64" fmla="*/ 2 w 334"/>
                <a:gd name="T65" fmla="*/ 202 h 333"/>
                <a:gd name="T66" fmla="*/ 10 w 334"/>
                <a:gd name="T67" fmla="*/ 229 h 333"/>
                <a:gd name="T68" fmla="*/ 62 w 334"/>
                <a:gd name="T69" fmla="*/ 226 h 333"/>
                <a:gd name="T70" fmla="*/ 67 w 334"/>
                <a:gd name="T71" fmla="*/ 234 h 333"/>
                <a:gd name="T72" fmla="*/ 42 w 334"/>
                <a:gd name="T73" fmla="*/ 279 h 333"/>
                <a:gd name="T74" fmla="*/ 62 w 334"/>
                <a:gd name="T75" fmla="*/ 299 h 333"/>
                <a:gd name="T76" fmla="*/ 106 w 334"/>
                <a:gd name="T77" fmla="*/ 271 h 333"/>
                <a:gd name="T78" fmla="*/ 114 w 334"/>
                <a:gd name="T79" fmla="*/ 275 h 333"/>
                <a:gd name="T80" fmla="*/ 115 w 334"/>
                <a:gd name="T81" fmla="*/ 327 h 333"/>
                <a:gd name="T82" fmla="*/ 123 w 334"/>
                <a:gd name="T83" fmla="*/ 329 h 333"/>
                <a:gd name="T84" fmla="*/ 142 w 334"/>
                <a:gd name="T85" fmla="*/ 333 h 333"/>
                <a:gd name="T86" fmla="*/ 166 w 334"/>
                <a:gd name="T87" fmla="*/ 287 h 333"/>
                <a:gd name="T88" fmla="*/ 175 w 334"/>
                <a:gd name="T89" fmla="*/ 287 h 333"/>
                <a:gd name="T90" fmla="*/ 202 w 334"/>
                <a:gd name="T91" fmla="*/ 332 h 333"/>
                <a:gd name="T92" fmla="*/ 229 w 334"/>
                <a:gd name="T93" fmla="*/ 323 h 333"/>
                <a:gd name="T94" fmla="*/ 226 w 334"/>
                <a:gd name="T95" fmla="*/ 271 h 333"/>
                <a:gd name="T96" fmla="*/ 234 w 334"/>
                <a:gd name="T97" fmla="*/ 267 h 333"/>
                <a:gd name="T98" fmla="*/ 280 w 334"/>
                <a:gd name="T99" fmla="*/ 292 h 333"/>
                <a:gd name="T100" fmla="*/ 299 w 334"/>
                <a:gd name="T101" fmla="*/ 272 h 333"/>
                <a:gd name="T102" fmla="*/ 271 w 334"/>
                <a:gd name="T103" fmla="*/ 228 h 333"/>
                <a:gd name="T104" fmla="*/ 275 w 334"/>
                <a:gd name="T105" fmla="*/ 220 h 333"/>
                <a:gd name="T106" fmla="*/ 155 w 334"/>
                <a:gd name="T107" fmla="*/ 212 h 333"/>
                <a:gd name="T108" fmla="*/ 122 w 334"/>
                <a:gd name="T109" fmla="*/ 155 h 333"/>
                <a:gd name="T110" fmla="*/ 179 w 334"/>
                <a:gd name="T111" fmla="*/ 122 h 333"/>
                <a:gd name="T112" fmla="*/ 212 w 334"/>
                <a:gd name="T113" fmla="*/ 179 h 333"/>
                <a:gd name="T114" fmla="*/ 155 w 334"/>
                <a:gd name="T115" fmla="*/ 212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4" h="333">
                  <a:moveTo>
                    <a:pt x="275" y="220"/>
                  </a:moveTo>
                  <a:cubicBezTo>
                    <a:pt x="327" y="219"/>
                    <a:pt x="327" y="219"/>
                    <a:pt x="327" y="219"/>
                  </a:cubicBezTo>
                  <a:cubicBezTo>
                    <a:pt x="328" y="216"/>
                    <a:pt x="329" y="214"/>
                    <a:pt x="330" y="211"/>
                  </a:cubicBezTo>
                  <a:cubicBezTo>
                    <a:pt x="331" y="204"/>
                    <a:pt x="333" y="198"/>
                    <a:pt x="334" y="192"/>
                  </a:cubicBezTo>
                  <a:cubicBezTo>
                    <a:pt x="287" y="168"/>
                    <a:pt x="287" y="168"/>
                    <a:pt x="287" y="168"/>
                  </a:cubicBezTo>
                  <a:cubicBezTo>
                    <a:pt x="287" y="165"/>
                    <a:pt x="287" y="162"/>
                    <a:pt x="287" y="158"/>
                  </a:cubicBezTo>
                  <a:cubicBezTo>
                    <a:pt x="332" y="132"/>
                    <a:pt x="332" y="132"/>
                    <a:pt x="332" y="132"/>
                  </a:cubicBezTo>
                  <a:cubicBezTo>
                    <a:pt x="330" y="123"/>
                    <a:pt x="327" y="114"/>
                    <a:pt x="324" y="105"/>
                  </a:cubicBezTo>
                  <a:cubicBezTo>
                    <a:pt x="272" y="107"/>
                    <a:pt x="272" y="107"/>
                    <a:pt x="272" y="107"/>
                  </a:cubicBezTo>
                  <a:cubicBezTo>
                    <a:pt x="270" y="105"/>
                    <a:pt x="269" y="102"/>
                    <a:pt x="267" y="100"/>
                  </a:cubicBezTo>
                  <a:cubicBezTo>
                    <a:pt x="292" y="54"/>
                    <a:pt x="292" y="54"/>
                    <a:pt x="292" y="54"/>
                  </a:cubicBezTo>
                  <a:cubicBezTo>
                    <a:pt x="286" y="47"/>
                    <a:pt x="279" y="41"/>
                    <a:pt x="272" y="35"/>
                  </a:cubicBezTo>
                  <a:cubicBezTo>
                    <a:pt x="228" y="63"/>
                    <a:pt x="228" y="63"/>
                    <a:pt x="228" y="63"/>
                  </a:cubicBezTo>
                  <a:cubicBezTo>
                    <a:pt x="225" y="62"/>
                    <a:pt x="223" y="60"/>
                    <a:pt x="220" y="59"/>
                  </a:cubicBezTo>
                  <a:cubicBezTo>
                    <a:pt x="219" y="7"/>
                    <a:pt x="219" y="7"/>
                    <a:pt x="219" y="7"/>
                  </a:cubicBezTo>
                  <a:cubicBezTo>
                    <a:pt x="216" y="6"/>
                    <a:pt x="214" y="5"/>
                    <a:pt x="211" y="4"/>
                  </a:cubicBezTo>
                  <a:cubicBezTo>
                    <a:pt x="204" y="3"/>
                    <a:pt x="198" y="1"/>
                    <a:pt x="192" y="0"/>
                  </a:cubicBezTo>
                  <a:cubicBezTo>
                    <a:pt x="168" y="46"/>
                    <a:pt x="168" y="46"/>
                    <a:pt x="168" y="46"/>
                  </a:cubicBezTo>
                  <a:cubicBezTo>
                    <a:pt x="165" y="46"/>
                    <a:pt x="162" y="47"/>
                    <a:pt x="159" y="47"/>
                  </a:cubicBezTo>
                  <a:cubicBezTo>
                    <a:pt x="132" y="2"/>
                    <a:pt x="132" y="2"/>
                    <a:pt x="132" y="2"/>
                  </a:cubicBezTo>
                  <a:cubicBezTo>
                    <a:pt x="123" y="4"/>
                    <a:pt x="114" y="7"/>
                    <a:pt x="105" y="10"/>
                  </a:cubicBezTo>
                  <a:cubicBezTo>
                    <a:pt x="107" y="62"/>
                    <a:pt x="107" y="62"/>
                    <a:pt x="107" y="62"/>
                  </a:cubicBezTo>
                  <a:cubicBezTo>
                    <a:pt x="105" y="64"/>
                    <a:pt x="102" y="65"/>
                    <a:pt x="100" y="67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47" y="48"/>
                    <a:pt x="41" y="55"/>
                    <a:pt x="35" y="62"/>
                  </a:cubicBezTo>
                  <a:cubicBezTo>
                    <a:pt x="63" y="106"/>
                    <a:pt x="63" y="106"/>
                    <a:pt x="63" y="106"/>
                  </a:cubicBezTo>
                  <a:cubicBezTo>
                    <a:pt x="61" y="109"/>
                    <a:pt x="60" y="111"/>
                    <a:pt x="59" y="114"/>
                  </a:cubicBezTo>
                  <a:cubicBezTo>
                    <a:pt x="7" y="115"/>
                    <a:pt x="7" y="115"/>
                    <a:pt x="7" y="115"/>
                  </a:cubicBezTo>
                  <a:cubicBezTo>
                    <a:pt x="6" y="118"/>
                    <a:pt x="5" y="120"/>
                    <a:pt x="4" y="123"/>
                  </a:cubicBezTo>
                  <a:cubicBezTo>
                    <a:pt x="2" y="129"/>
                    <a:pt x="1" y="136"/>
                    <a:pt x="0" y="142"/>
                  </a:cubicBezTo>
                  <a:cubicBezTo>
                    <a:pt x="46" y="166"/>
                    <a:pt x="46" y="166"/>
                    <a:pt x="46" y="166"/>
                  </a:cubicBezTo>
                  <a:cubicBezTo>
                    <a:pt x="46" y="169"/>
                    <a:pt x="46" y="172"/>
                    <a:pt x="47" y="175"/>
                  </a:cubicBezTo>
                  <a:cubicBezTo>
                    <a:pt x="2" y="202"/>
                    <a:pt x="2" y="202"/>
                    <a:pt x="2" y="202"/>
                  </a:cubicBezTo>
                  <a:cubicBezTo>
                    <a:pt x="4" y="211"/>
                    <a:pt x="7" y="220"/>
                    <a:pt x="10" y="229"/>
                  </a:cubicBezTo>
                  <a:cubicBezTo>
                    <a:pt x="62" y="226"/>
                    <a:pt x="62" y="226"/>
                    <a:pt x="62" y="226"/>
                  </a:cubicBezTo>
                  <a:cubicBezTo>
                    <a:pt x="64" y="229"/>
                    <a:pt x="65" y="232"/>
                    <a:pt x="67" y="234"/>
                  </a:cubicBezTo>
                  <a:cubicBezTo>
                    <a:pt x="42" y="279"/>
                    <a:pt x="42" y="279"/>
                    <a:pt x="42" y="279"/>
                  </a:cubicBezTo>
                  <a:cubicBezTo>
                    <a:pt x="48" y="286"/>
                    <a:pt x="55" y="293"/>
                    <a:pt x="62" y="299"/>
                  </a:cubicBezTo>
                  <a:cubicBezTo>
                    <a:pt x="106" y="271"/>
                    <a:pt x="106" y="271"/>
                    <a:pt x="106" y="271"/>
                  </a:cubicBezTo>
                  <a:cubicBezTo>
                    <a:pt x="109" y="272"/>
                    <a:pt x="111" y="274"/>
                    <a:pt x="114" y="275"/>
                  </a:cubicBezTo>
                  <a:cubicBezTo>
                    <a:pt x="115" y="327"/>
                    <a:pt x="115" y="327"/>
                    <a:pt x="115" y="327"/>
                  </a:cubicBezTo>
                  <a:cubicBezTo>
                    <a:pt x="117" y="328"/>
                    <a:pt x="120" y="329"/>
                    <a:pt x="123" y="329"/>
                  </a:cubicBezTo>
                  <a:cubicBezTo>
                    <a:pt x="129" y="331"/>
                    <a:pt x="136" y="332"/>
                    <a:pt x="142" y="333"/>
                  </a:cubicBezTo>
                  <a:cubicBezTo>
                    <a:pt x="166" y="287"/>
                    <a:pt x="166" y="287"/>
                    <a:pt x="166" y="287"/>
                  </a:cubicBezTo>
                  <a:cubicBezTo>
                    <a:pt x="169" y="287"/>
                    <a:pt x="172" y="287"/>
                    <a:pt x="175" y="287"/>
                  </a:cubicBezTo>
                  <a:cubicBezTo>
                    <a:pt x="202" y="332"/>
                    <a:pt x="202" y="332"/>
                    <a:pt x="202" y="332"/>
                  </a:cubicBezTo>
                  <a:cubicBezTo>
                    <a:pt x="211" y="330"/>
                    <a:pt x="220" y="327"/>
                    <a:pt x="229" y="323"/>
                  </a:cubicBezTo>
                  <a:cubicBezTo>
                    <a:pt x="226" y="271"/>
                    <a:pt x="226" y="271"/>
                    <a:pt x="226" y="271"/>
                  </a:cubicBezTo>
                  <a:cubicBezTo>
                    <a:pt x="229" y="270"/>
                    <a:pt x="232" y="268"/>
                    <a:pt x="234" y="267"/>
                  </a:cubicBezTo>
                  <a:cubicBezTo>
                    <a:pt x="280" y="292"/>
                    <a:pt x="280" y="292"/>
                    <a:pt x="280" y="292"/>
                  </a:cubicBezTo>
                  <a:cubicBezTo>
                    <a:pt x="287" y="286"/>
                    <a:pt x="293" y="279"/>
                    <a:pt x="299" y="272"/>
                  </a:cubicBezTo>
                  <a:cubicBezTo>
                    <a:pt x="271" y="228"/>
                    <a:pt x="271" y="228"/>
                    <a:pt x="271" y="228"/>
                  </a:cubicBezTo>
                  <a:cubicBezTo>
                    <a:pt x="272" y="225"/>
                    <a:pt x="274" y="222"/>
                    <a:pt x="275" y="220"/>
                  </a:cubicBezTo>
                  <a:close/>
                  <a:moveTo>
                    <a:pt x="155" y="212"/>
                  </a:moveTo>
                  <a:cubicBezTo>
                    <a:pt x="130" y="205"/>
                    <a:pt x="115" y="180"/>
                    <a:pt x="122" y="155"/>
                  </a:cubicBezTo>
                  <a:cubicBezTo>
                    <a:pt x="129" y="130"/>
                    <a:pt x="154" y="115"/>
                    <a:pt x="179" y="122"/>
                  </a:cubicBezTo>
                  <a:cubicBezTo>
                    <a:pt x="204" y="129"/>
                    <a:pt x="219" y="154"/>
                    <a:pt x="212" y="179"/>
                  </a:cubicBezTo>
                  <a:cubicBezTo>
                    <a:pt x="205" y="204"/>
                    <a:pt x="180" y="219"/>
                    <a:pt x="155" y="212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6" name="Freeform 188">
              <a:extLst>
                <a:ext uri="{FF2B5EF4-FFF2-40B4-BE49-F238E27FC236}">
                  <a16:creationId xmlns:a16="http://schemas.microsoft.com/office/drawing/2014/main" id="{588BB936-C561-4497-8C18-1743CC1E671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038128" y="1985086"/>
              <a:ext cx="155549" cy="157163"/>
            </a:xfrm>
            <a:custGeom>
              <a:avLst/>
              <a:gdLst>
                <a:gd name="T0" fmla="*/ 113 w 132"/>
                <a:gd name="T1" fmla="*/ 68 h 132"/>
                <a:gd name="T2" fmla="*/ 132 w 132"/>
                <a:gd name="T3" fmla="*/ 58 h 132"/>
                <a:gd name="T4" fmla="*/ 129 w 132"/>
                <a:gd name="T5" fmla="*/ 44 h 132"/>
                <a:gd name="T6" fmla="*/ 108 w 132"/>
                <a:gd name="T7" fmla="*/ 44 h 132"/>
                <a:gd name="T8" fmla="*/ 119 w 132"/>
                <a:gd name="T9" fmla="*/ 27 h 132"/>
                <a:gd name="T10" fmla="*/ 109 w 132"/>
                <a:gd name="T11" fmla="*/ 16 h 132"/>
                <a:gd name="T12" fmla="*/ 91 w 132"/>
                <a:gd name="T13" fmla="*/ 26 h 132"/>
                <a:gd name="T14" fmla="*/ 92 w 132"/>
                <a:gd name="T15" fmla="*/ 5 h 132"/>
                <a:gd name="T16" fmla="*/ 85 w 132"/>
                <a:gd name="T17" fmla="*/ 3 h 132"/>
                <a:gd name="T18" fmla="*/ 78 w 132"/>
                <a:gd name="T19" fmla="*/ 1 h 132"/>
                <a:gd name="T20" fmla="*/ 67 w 132"/>
                <a:gd name="T21" fmla="*/ 19 h 132"/>
                <a:gd name="T22" fmla="*/ 58 w 132"/>
                <a:gd name="T23" fmla="*/ 0 h 132"/>
                <a:gd name="T24" fmla="*/ 44 w 132"/>
                <a:gd name="T25" fmla="*/ 4 h 132"/>
                <a:gd name="T26" fmla="*/ 44 w 132"/>
                <a:gd name="T27" fmla="*/ 25 h 132"/>
                <a:gd name="T28" fmla="*/ 26 w 132"/>
                <a:gd name="T29" fmla="*/ 13 h 132"/>
                <a:gd name="T30" fmla="*/ 15 w 132"/>
                <a:gd name="T31" fmla="*/ 23 h 132"/>
                <a:gd name="T32" fmla="*/ 26 w 132"/>
                <a:gd name="T33" fmla="*/ 41 h 132"/>
                <a:gd name="T34" fmla="*/ 5 w 132"/>
                <a:gd name="T35" fmla="*/ 40 h 132"/>
                <a:gd name="T36" fmla="*/ 2 w 132"/>
                <a:gd name="T37" fmla="*/ 47 h 132"/>
                <a:gd name="T38" fmla="*/ 1 w 132"/>
                <a:gd name="T39" fmla="*/ 54 h 132"/>
                <a:gd name="T40" fmla="*/ 18 w 132"/>
                <a:gd name="T41" fmla="*/ 65 h 132"/>
                <a:gd name="T42" fmla="*/ 0 w 132"/>
                <a:gd name="T43" fmla="*/ 74 h 132"/>
                <a:gd name="T44" fmla="*/ 3 w 132"/>
                <a:gd name="T45" fmla="*/ 88 h 132"/>
                <a:gd name="T46" fmla="*/ 24 w 132"/>
                <a:gd name="T47" fmla="*/ 89 h 132"/>
                <a:gd name="T48" fmla="*/ 13 w 132"/>
                <a:gd name="T49" fmla="*/ 106 h 132"/>
                <a:gd name="T50" fmla="*/ 23 w 132"/>
                <a:gd name="T51" fmla="*/ 117 h 132"/>
                <a:gd name="T52" fmla="*/ 41 w 132"/>
                <a:gd name="T53" fmla="*/ 107 h 132"/>
                <a:gd name="T54" fmla="*/ 40 w 132"/>
                <a:gd name="T55" fmla="*/ 127 h 132"/>
                <a:gd name="T56" fmla="*/ 47 w 132"/>
                <a:gd name="T57" fmla="*/ 130 h 132"/>
                <a:gd name="T58" fmla="*/ 54 w 132"/>
                <a:gd name="T59" fmla="*/ 132 h 132"/>
                <a:gd name="T60" fmla="*/ 64 w 132"/>
                <a:gd name="T61" fmla="*/ 114 h 132"/>
                <a:gd name="T62" fmla="*/ 74 w 132"/>
                <a:gd name="T63" fmla="*/ 132 h 132"/>
                <a:gd name="T64" fmla="*/ 88 w 132"/>
                <a:gd name="T65" fmla="*/ 129 h 132"/>
                <a:gd name="T66" fmla="*/ 88 w 132"/>
                <a:gd name="T67" fmla="*/ 108 h 132"/>
                <a:gd name="T68" fmla="*/ 106 w 132"/>
                <a:gd name="T69" fmla="*/ 119 h 132"/>
                <a:gd name="T70" fmla="*/ 116 w 132"/>
                <a:gd name="T71" fmla="*/ 110 h 132"/>
                <a:gd name="T72" fmla="*/ 106 w 132"/>
                <a:gd name="T73" fmla="*/ 91 h 132"/>
                <a:gd name="T74" fmla="*/ 127 w 132"/>
                <a:gd name="T75" fmla="*/ 92 h 132"/>
                <a:gd name="T76" fmla="*/ 129 w 132"/>
                <a:gd name="T77" fmla="*/ 86 h 132"/>
                <a:gd name="T78" fmla="*/ 131 w 132"/>
                <a:gd name="T79" fmla="*/ 79 h 132"/>
                <a:gd name="T80" fmla="*/ 113 w 132"/>
                <a:gd name="T81" fmla="*/ 68 h 132"/>
                <a:gd name="T82" fmla="*/ 98 w 132"/>
                <a:gd name="T83" fmla="*/ 78 h 132"/>
                <a:gd name="T84" fmla="*/ 54 w 132"/>
                <a:gd name="T85" fmla="*/ 101 h 132"/>
                <a:gd name="T86" fmla="*/ 30 w 132"/>
                <a:gd name="T87" fmla="*/ 57 h 132"/>
                <a:gd name="T88" fmla="*/ 75 w 132"/>
                <a:gd name="T89" fmla="*/ 33 h 132"/>
                <a:gd name="T90" fmla="*/ 98 w 132"/>
                <a:gd name="T91" fmla="*/ 7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2" h="132">
                  <a:moveTo>
                    <a:pt x="113" y="68"/>
                  </a:moveTo>
                  <a:cubicBezTo>
                    <a:pt x="132" y="58"/>
                    <a:pt x="132" y="58"/>
                    <a:pt x="132" y="58"/>
                  </a:cubicBezTo>
                  <a:cubicBezTo>
                    <a:pt x="131" y="54"/>
                    <a:pt x="130" y="49"/>
                    <a:pt x="129" y="44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19" y="27"/>
                    <a:pt x="119" y="27"/>
                    <a:pt x="119" y="27"/>
                  </a:cubicBezTo>
                  <a:cubicBezTo>
                    <a:pt x="116" y="23"/>
                    <a:pt x="113" y="19"/>
                    <a:pt x="109" y="16"/>
                  </a:cubicBezTo>
                  <a:cubicBezTo>
                    <a:pt x="91" y="26"/>
                    <a:pt x="91" y="26"/>
                    <a:pt x="91" y="26"/>
                  </a:cubicBezTo>
                  <a:cubicBezTo>
                    <a:pt x="92" y="5"/>
                    <a:pt x="92" y="5"/>
                    <a:pt x="92" y="5"/>
                  </a:cubicBezTo>
                  <a:cubicBezTo>
                    <a:pt x="90" y="4"/>
                    <a:pt x="88" y="4"/>
                    <a:pt x="85" y="3"/>
                  </a:cubicBezTo>
                  <a:cubicBezTo>
                    <a:pt x="83" y="2"/>
                    <a:pt x="81" y="2"/>
                    <a:pt x="78" y="1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3" y="1"/>
                    <a:pt x="48" y="2"/>
                    <a:pt x="44" y="4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2" y="16"/>
                    <a:pt x="19" y="19"/>
                    <a:pt x="15" y="23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4" y="42"/>
                    <a:pt x="3" y="45"/>
                    <a:pt x="2" y="47"/>
                  </a:cubicBezTo>
                  <a:cubicBezTo>
                    <a:pt x="2" y="49"/>
                    <a:pt x="1" y="52"/>
                    <a:pt x="1" y="54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9"/>
                    <a:pt x="2" y="84"/>
                    <a:pt x="3" y="88"/>
                  </a:cubicBezTo>
                  <a:cubicBezTo>
                    <a:pt x="24" y="89"/>
                    <a:pt x="24" y="89"/>
                    <a:pt x="24" y="89"/>
                  </a:cubicBezTo>
                  <a:cubicBezTo>
                    <a:pt x="13" y="106"/>
                    <a:pt x="13" y="106"/>
                    <a:pt x="13" y="106"/>
                  </a:cubicBezTo>
                  <a:cubicBezTo>
                    <a:pt x="16" y="110"/>
                    <a:pt x="19" y="114"/>
                    <a:pt x="23" y="11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0" y="127"/>
                    <a:pt x="40" y="127"/>
                    <a:pt x="40" y="127"/>
                  </a:cubicBezTo>
                  <a:cubicBezTo>
                    <a:pt x="42" y="128"/>
                    <a:pt x="44" y="129"/>
                    <a:pt x="47" y="130"/>
                  </a:cubicBezTo>
                  <a:cubicBezTo>
                    <a:pt x="49" y="131"/>
                    <a:pt x="51" y="131"/>
                    <a:pt x="54" y="132"/>
                  </a:cubicBezTo>
                  <a:cubicBezTo>
                    <a:pt x="64" y="114"/>
                    <a:pt x="64" y="114"/>
                    <a:pt x="64" y="114"/>
                  </a:cubicBezTo>
                  <a:cubicBezTo>
                    <a:pt x="74" y="132"/>
                    <a:pt x="74" y="132"/>
                    <a:pt x="74" y="132"/>
                  </a:cubicBezTo>
                  <a:cubicBezTo>
                    <a:pt x="79" y="132"/>
                    <a:pt x="83" y="131"/>
                    <a:pt x="88" y="129"/>
                  </a:cubicBezTo>
                  <a:cubicBezTo>
                    <a:pt x="88" y="108"/>
                    <a:pt x="88" y="108"/>
                    <a:pt x="88" y="108"/>
                  </a:cubicBezTo>
                  <a:cubicBezTo>
                    <a:pt x="106" y="119"/>
                    <a:pt x="106" y="119"/>
                    <a:pt x="106" y="119"/>
                  </a:cubicBezTo>
                  <a:cubicBezTo>
                    <a:pt x="110" y="117"/>
                    <a:pt x="113" y="113"/>
                    <a:pt x="116" y="110"/>
                  </a:cubicBezTo>
                  <a:cubicBezTo>
                    <a:pt x="106" y="91"/>
                    <a:pt x="106" y="91"/>
                    <a:pt x="106" y="91"/>
                  </a:cubicBezTo>
                  <a:cubicBezTo>
                    <a:pt x="127" y="92"/>
                    <a:pt x="127" y="92"/>
                    <a:pt x="127" y="92"/>
                  </a:cubicBezTo>
                  <a:cubicBezTo>
                    <a:pt x="128" y="90"/>
                    <a:pt x="129" y="88"/>
                    <a:pt x="129" y="86"/>
                  </a:cubicBezTo>
                  <a:cubicBezTo>
                    <a:pt x="130" y="83"/>
                    <a:pt x="131" y="81"/>
                    <a:pt x="131" y="79"/>
                  </a:cubicBezTo>
                  <a:lnTo>
                    <a:pt x="113" y="68"/>
                  </a:lnTo>
                  <a:close/>
                  <a:moveTo>
                    <a:pt x="98" y="78"/>
                  </a:moveTo>
                  <a:cubicBezTo>
                    <a:pt x="93" y="96"/>
                    <a:pt x="73" y="107"/>
                    <a:pt x="54" y="101"/>
                  </a:cubicBezTo>
                  <a:cubicBezTo>
                    <a:pt x="35" y="96"/>
                    <a:pt x="25" y="76"/>
                    <a:pt x="30" y="57"/>
                  </a:cubicBezTo>
                  <a:cubicBezTo>
                    <a:pt x="36" y="38"/>
                    <a:pt x="56" y="27"/>
                    <a:pt x="75" y="33"/>
                  </a:cubicBezTo>
                  <a:cubicBezTo>
                    <a:pt x="94" y="39"/>
                    <a:pt x="104" y="59"/>
                    <a:pt x="98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7" name="Freeform 189">
              <a:extLst>
                <a:ext uri="{FF2B5EF4-FFF2-40B4-BE49-F238E27FC236}">
                  <a16:creationId xmlns:a16="http://schemas.microsoft.com/office/drawing/2014/main" id="{C6E77C42-6D6C-459B-8CCA-5BE0BD72BCF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9888" y="2270836"/>
              <a:ext cx="277766" cy="276225"/>
            </a:xfrm>
            <a:custGeom>
              <a:avLst/>
              <a:gdLst>
                <a:gd name="T0" fmla="*/ 201 w 234"/>
                <a:gd name="T1" fmla="*/ 119 h 233"/>
                <a:gd name="T2" fmla="*/ 234 w 234"/>
                <a:gd name="T3" fmla="*/ 102 h 233"/>
                <a:gd name="T4" fmla="*/ 228 w 234"/>
                <a:gd name="T5" fmla="*/ 78 h 233"/>
                <a:gd name="T6" fmla="*/ 191 w 234"/>
                <a:gd name="T7" fmla="*/ 77 h 233"/>
                <a:gd name="T8" fmla="*/ 211 w 234"/>
                <a:gd name="T9" fmla="*/ 46 h 233"/>
                <a:gd name="T10" fmla="*/ 194 w 234"/>
                <a:gd name="T11" fmla="*/ 27 h 233"/>
                <a:gd name="T12" fmla="*/ 161 w 234"/>
                <a:gd name="T13" fmla="*/ 45 h 233"/>
                <a:gd name="T14" fmla="*/ 163 w 234"/>
                <a:gd name="T15" fmla="*/ 9 h 233"/>
                <a:gd name="T16" fmla="*/ 151 w 234"/>
                <a:gd name="T17" fmla="*/ 4 h 233"/>
                <a:gd name="T18" fmla="*/ 139 w 234"/>
                <a:gd name="T19" fmla="*/ 1 h 233"/>
                <a:gd name="T20" fmla="*/ 120 w 234"/>
                <a:gd name="T21" fmla="*/ 33 h 233"/>
                <a:gd name="T22" fmla="*/ 103 w 234"/>
                <a:gd name="T23" fmla="*/ 0 h 233"/>
                <a:gd name="T24" fmla="*/ 78 w 234"/>
                <a:gd name="T25" fmla="*/ 6 h 233"/>
                <a:gd name="T26" fmla="*/ 78 w 234"/>
                <a:gd name="T27" fmla="*/ 43 h 233"/>
                <a:gd name="T28" fmla="*/ 47 w 234"/>
                <a:gd name="T29" fmla="*/ 23 h 233"/>
                <a:gd name="T30" fmla="*/ 28 w 234"/>
                <a:gd name="T31" fmla="*/ 40 h 233"/>
                <a:gd name="T32" fmla="*/ 46 w 234"/>
                <a:gd name="T33" fmla="*/ 72 h 233"/>
                <a:gd name="T34" fmla="*/ 9 w 234"/>
                <a:gd name="T35" fmla="*/ 70 h 233"/>
                <a:gd name="T36" fmla="*/ 5 w 234"/>
                <a:gd name="T37" fmla="*/ 82 h 233"/>
                <a:gd name="T38" fmla="*/ 2 w 234"/>
                <a:gd name="T39" fmla="*/ 95 h 233"/>
                <a:gd name="T40" fmla="*/ 33 w 234"/>
                <a:gd name="T41" fmla="*/ 114 h 233"/>
                <a:gd name="T42" fmla="*/ 0 w 234"/>
                <a:gd name="T43" fmla="*/ 130 h 233"/>
                <a:gd name="T44" fmla="*/ 6 w 234"/>
                <a:gd name="T45" fmla="*/ 155 h 233"/>
                <a:gd name="T46" fmla="*/ 43 w 234"/>
                <a:gd name="T47" fmla="*/ 156 h 233"/>
                <a:gd name="T48" fmla="*/ 23 w 234"/>
                <a:gd name="T49" fmla="*/ 187 h 233"/>
                <a:gd name="T50" fmla="*/ 40 w 234"/>
                <a:gd name="T51" fmla="*/ 205 h 233"/>
                <a:gd name="T52" fmla="*/ 73 w 234"/>
                <a:gd name="T53" fmla="*/ 187 h 233"/>
                <a:gd name="T54" fmla="*/ 71 w 234"/>
                <a:gd name="T55" fmla="*/ 224 h 233"/>
                <a:gd name="T56" fmla="*/ 83 w 234"/>
                <a:gd name="T57" fmla="*/ 229 h 233"/>
                <a:gd name="T58" fmla="*/ 95 w 234"/>
                <a:gd name="T59" fmla="*/ 232 h 233"/>
                <a:gd name="T60" fmla="*/ 114 w 234"/>
                <a:gd name="T61" fmla="*/ 200 h 233"/>
                <a:gd name="T62" fmla="*/ 131 w 234"/>
                <a:gd name="T63" fmla="*/ 233 h 233"/>
                <a:gd name="T64" fmla="*/ 156 w 234"/>
                <a:gd name="T65" fmla="*/ 227 h 233"/>
                <a:gd name="T66" fmla="*/ 156 w 234"/>
                <a:gd name="T67" fmla="*/ 190 h 233"/>
                <a:gd name="T68" fmla="*/ 187 w 234"/>
                <a:gd name="T69" fmla="*/ 210 h 233"/>
                <a:gd name="T70" fmla="*/ 206 w 234"/>
                <a:gd name="T71" fmla="*/ 193 h 233"/>
                <a:gd name="T72" fmla="*/ 188 w 234"/>
                <a:gd name="T73" fmla="*/ 161 h 233"/>
                <a:gd name="T74" fmla="*/ 225 w 234"/>
                <a:gd name="T75" fmla="*/ 162 h 233"/>
                <a:gd name="T76" fmla="*/ 229 w 234"/>
                <a:gd name="T77" fmla="*/ 150 h 233"/>
                <a:gd name="T78" fmla="*/ 232 w 234"/>
                <a:gd name="T79" fmla="*/ 138 h 233"/>
                <a:gd name="T80" fmla="*/ 201 w 234"/>
                <a:gd name="T81" fmla="*/ 119 h 233"/>
                <a:gd name="T82" fmla="*/ 175 w 234"/>
                <a:gd name="T83" fmla="*/ 136 h 233"/>
                <a:gd name="T84" fmla="*/ 96 w 234"/>
                <a:gd name="T85" fmla="*/ 178 h 233"/>
                <a:gd name="T86" fmla="*/ 54 w 234"/>
                <a:gd name="T87" fmla="*/ 99 h 233"/>
                <a:gd name="T88" fmla="*/ 133 w 234"/>
                <a:gd name="T89" fmla="*/ 58 h 233"/>
                <a:gd name="T90" fmla="*/ 175 w 234"/>
                <a:gd name="T91" fmla="*/ 13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4" h="233">
                  <a:moveTo>
                    <a:pt x="201" y="119"/>
                  </a:moveTo>
                  <a:cubicBezTo>
                    <a:pt x="234" y="102"/>
                    <a:pt x="234" y="102"/>
                    <a:pt x="234" y="102"/>
                  </a:cubicBezTo>
                  <a:cubicBezTo>
                    <a:pt x="233" y="94"/>
                    <a:pt x="231" y="86"/>
                    <a:pt x="228" y="78"/>
                  </a:cubicBezTo>
                  <a:cubicBezTo>
                    <a:pt x="191" y="77"/>
                    <a:pt x="191" y="77"/>
                    <a:pt x="191" y="77"/>
                  </a:cubicBezTo>
                  <a:cubicBezTo>
                    <a:pt x="211" y="46"/>
                    <a:pt x="211" y="46"/>
                    <a:pt x="211" y="46"/>
                  </a:cubicBezTo>
                  <a:cubicBezTo>
                    <a:pt x="206" y="39"/>
                    <a:pt x="200" y="33"/>
                    <a:pt x="194" y="27"/>
                  </a:cubicBezTo>
                  <a:cubicBezTo>
                    <a:pt x="161" y="45"/>
                    <a:pt x="161" y="45"/>
                    <a:pt x="161" y="45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59" y="7"/>
                    <a:pt x="155" y="5"/>
                    <a:pt x="151" y="4"/>
                  </a:cubicBezTo>
                  <a:cubicBezTo>
                    <a:pt x="147" y="3"/>
                    <a:pt x="143" y="2"/>
                    <a:pt x="139" y="1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94" y="1"/>
                    <a:pt x="86" y="3"/>
                    <a:pt x="78" y="6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0" y="28"/>
                    <a:pt x="34" y="33"/>
                    <a:pt x="28" y="40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9" y="70"/>
                    <a:pt x="9" y="70"/>
                    <a:pt x="9" y="70"/>
                  </a:cubicBezTo>
                  <a:cubicBezTo>
                    <a:pt x="7" y="74"/>
                    <a:pt x="6" y="78"/>
                    <a:pt x="5" y="82"/>
                  </a:cubicBezTo>
                  <a:cubicBezTo>
                    <a:pt x="3" y="86"/>
                    <a:pt x="2" y="91"/>
                    <a:pt x="2" y="95"/>
                  </a:cubicBezTo>
                  <a:cubicBezTo>
                    <a:pt x="33" y="114"/>
                    <a:pt x="33" y="114"/>
                    <a:pt x="33" y="114"/>
                  </a:cubicBezTo>
                  <a:cubicBezTo>
                    <a:pt x="0" y="130"/>
                    <a:pt x="0" y="130"/>
                    <a:pt x="0" y="130"/>
                  </a:cubicBezTo>
                  <a:cubicBezTo>
                    <a:pt x="1" y="139"/>
                    <a:pt x="3" y="147"/>
                    <a:pt x="6" y="155"/>
                  </a:cubicBezTo>
                  <a:cubicBezTo>
                    <a:pt x="43" y="156"/>
                    <a:pt x="43" y="156"/>
                    <a:pt x="43" y="156"/>
                  </a:cubicBezTo>
                  <a:cubicBezTo>
                    <a:pt x="23" y="187"/>
                    <a:pt x="23" y="187"/>
                    <a:pt x="23" y="187"/>
                  </a:cubicBezTo>
                  <a:cubicBezTo>
                    <a:pt x="28" y="193"/>
                    <a:pt x="34" y="200"/>
                    <a:pt x="40" y="205"/>
                  </a:cubicBezTo>
                  <a:cubicBezTo>
                    <a:pt x="73" y="187"/>
                    <a:pt x="73" y="187"/>
                    <a:pt x="73" y="187"/>
                  </a:cubicBezTo>
                  <a:cubicBezTo>
                    <a:pt x="71" y="224"/>
                    <a:pt x="71" y="224"/>
                    <a:pt x="71" y="224"/>
                  </a:cubicBezTo>
                  <a:cubicBezTo>
                    <a:pt x="75" y="226"/>
                    <a:pt x="79" y="227"/>
                    <a:pt x="83" y="229"/>
                  </a:cubicBezTo>
                  <a:cubicBezTo>
                    <a:pt x="87" y="230"/>
                    <a:pt x="91" y="231"/>
                    <a:pt x="95" y="232"/>
                  </a:cubicBezTo>
                  <a:cubicBezTo>
                    <a:pt x="114" y="200"/>
                    <a:pt x="114" y="200"/>
                    <a:pt x="114" y="200"/>
                  </a:cubicBezTo>
                  <a:cubicBezTo>
                    <a:pt x="131" y="233"/>
                    <a:pt x="131" y="233"/>
                    <a:pt x="131" y="233"/>
                  </a:cubicBezTo>
                  <a:cubicBezTo>
                    <a:pt x="140" y="232"/>
                    <a:pt x="148" y="230"/>
                    <a:pt x="156" y="227"/>
                  </a:cubicBezTo>
                  <a:cubicBezTo>
                    <a:pt x="156" y="190"/>
                    <a:pt x="156" y="190"/>
                    <a:pt x="156" y="190"/>
                  </a:cubicBezTo>
                  <a:cubicBezTo>
                    <a:pt x="187" y="210"/>
                    <a:pt x="187" y="210"/>
                    <a:pt x="187" y="210"/>
                  </a:cubicBezTo>
                  <a:cubicBezTo>
                    <a:pt x="194" y="205"/>
                    <a:pt x="200" y="199"/>
                    <a:pt x="206" y="193"/>
                  </a:cubicBezTo>
                  <a:cubicBezTo>
                    <a:pt x="188" y="161"/>
                    <a:pt x="188" y="161"/>
                    <a:pt x="188" y="161"/>
                  </a:cubicBezTo>
                  <a:cubicBezTo>
                    <a:pt x="225" y="162"/>
                    <a:pt x="225" y="162"/>
                    <a:pt x="225" y="162"/>
                  </a:cubicBezTo>
                  <a:cubicBezTo>
                    <a:pt x="227" y="159"/>
                    <a:pt x="228" y="155"/>
                    <a:pt x="229" y="150"/>
                  </a:cubicBezTo>
                  <a:cubicBezTo>
                    <a:pt x="231" y="146"/>
                    <a:pt x="232" y="142"/>
                    <a:pt x="232" y="138"/>
                  </a:cubicBezTo>
                  <a:lnTo>
                    <a:pt x="201" y="119"/>
                  </a:lnTo>
                  <a:close/>
                  <a:moveTo>
                    <a:pt x="175" y="136"/>
                  </a:moveTo>
                  <a:cubicBezTo>
                    <a:pt x="164" y="169"/>
                    <a:pt x="129" y="188"/>
                    <a:pt x="96" y="178"/>
                  </a:cubicBezTo>
                  <a:cubicBezTo>
                    <a:pt x="63" y="168"/>
                    <a:pt x="44" y="133"/>
                    <a:pt x="54" y="99"/>
                  </a:cubicBezTo>
                  <a:cubicBezTo>
                    <a:pt x="64" y="66"/>
                    <a:pt x="99" y="48"/>
                    <a:pt x="133" y="58"/>
                  </a:cubicBezTo>
                  <a:cubicBezTo>
                    <a:pt x="166" y="68"/>
                    <a:pt x="185" y="103"/>
                    <a:pt x="175" y="1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" name="Freeform 190">
              <a:extLst>
                <a:ext uri="{FF2B5EF4-FFF2-40B4-BE49-F238E27FC236}">
                  <a16:creationId xmlns:a16="http://schemas.microsoft.com/office/drawing/2014/main" id="{A8EE2C09-945E-4399-8978-7348D2C897F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68289" y="2154949"/>
              <a:ext cx="379349" cy="379413"/>
            </a:xfrm>
            <a:custGeom>
              <a:avLst/>
              <a:gdLst>
                <a:gd name="T0" fmla="*/ 320 w 320"/>
                <a:gd name="T1" fmla="*/ 159 h 321"/>
                <a:gd name="T2" fmla="*/ 305 w 320"/>
                <a:gd name="T3" fmla="*/ 141 h 321"/>
                <a:gd name="T4" fmla="*/ 312 w 320"/>
                <a:gd name="T5" fmla="*/ 109 h 321"/>
                <a:gd name="T6" fmla="*/ 292 w 320"/>
                <a:gd name="T7" fmla="*/ 97 h 321"/>
                <a:gd name="T8" fmla="*/ 289 w 320"/>
                <a:gd name="T9" fmla="*/ 65 h 321"/>
                <a:gd name="T10" fmla="*/ 266 w 320"/>
                <a:gd name="T11" fmla="*/ 59 h 321"/>
                <a:gd name="T12" fmla="*/ 253 w 320"/>
                <a:gd name="T13" fmla="*/ 30 h 321"/>
                <a:gd name="T14" fmla="*/ 230 w 320"/>
                <a:gd name="T15" fmla="*/ 32 h 321"/>
                <a:gd name="T16" fmla="*/ 208 w 320"/>
                <a:gd name="T17" fmla="*/ 8 h 321"/>
                <a:gd name="T18" fmla="*/ 186 w 320"/>
                <a:gd name="T19" fmla="*/ 17 h 321"/>
                <a:gd name="T20" fmla="*/ 161 w 320"/>
                <a:gd name="T21" fmla="*/ 14 h 321"/>
                <a:gd name="T22" fmla="*/ 142 w 320"/>
                <a:gd name="T23" fmla="*/ 1 h 321"/>
                <a:gd name="T24" fmla="*/ 116 w 320"/>
                <a:gd name="T25" fmla="*/ 21 h 321"/>
                <a:gd name="T26" fmla="*/ 93 w 320"/>
                <a:gd name="T27" fmla="*/ 15 h 321"/>
                <a:gd name="T28" fmla="*/ 75 w 320"/>
                <a:gd name="T29" fmla="*/ 41 h 321"/>
                <a:gd name="T30" fmla="*/ 52 w 320"/>
                <a:gd name="T31" fmla="*/ 42 h 321"/>
                <a:gd name="T32" fmla="*/ 42 w 320"/>
                <a:gd name="T33" fmla="*/ 73 h 321"/>
                <a:gd name="T34" fmla="*/ 20 w 320"/>
                <a:gd name="T35" fmla="*/ 82 h 321"/>
                <a:gd name="T36" fmla="*/ 21 w 320"/>
                <a:gd name="T37" fmla="*/ 114 h 321"/>
                <a:gd name="T38" fmla="*/ 3 w 320"/>
                <a:gd name="T39" fmla="*/ 129 h 321"/>
                <a:gd name="T40" fmla="*/ 14 w 320"/>
                <a:gd name="T41" fmla="*/ 154 h 321"/>
                <a:gd name="T42" fmla="*/ 0 w 320"/>
                <a:gd name="T43" fmla="*/ 162 h 321"/>
                <a:gd name="T44" fmla="*/ 15 w 320"/>
                <a:gd name="T45" fmla="*/ 180 h 321"/>
                <a:gd name="T46" fmla="*/ 8 w 320"/>
                <a:gd name="T47" fmla="*/ 212 h 321"/>
                <a:gd name="T48" fmla="*/ 28 w 320"/>
                <a:gd name="T49" fmla="*/ 224 h 321"/>
                <a:gd name="T50" fmla="*/ 31 w 320"/>
                <a:gd name="T51" fmla="*/ 256 h 321"/>
                <a:gd name="T52" fmla="*/ 54 w 320"/>
                <a:gd name="T53" fmla="*/ 261 h 321"/>
                <a:gd name="T54" fmla="*/ 67 w 320"/>
                <a:gd name="T55" fmla="*/ 291 h 321"/>
                <a:gd name="T56" fmla="*/ 91 w 320"/>
                <a:gd name="T57" fmla="*/ 289 h 321"/>
                <a:gd name="T58" fmla="*/ 112 w 320"/>
                <a:gd name="T59" fmla="*/ 313 h 321"/>
                <a:gd name="T60" fmla="*/ 134 w 320"/>
                <a:gd name="T61" fmla="*/ 304 h 321"/>
                <a:gd name="T62" fmla="*/ 159 w 320"/>
                <a:gd name="T63" fmla="*/ 307 h 321"/>
                <a:gd name="T64" fmla="*/ 178 w 320"/>
                <a:gd name="T65" fmla="*/ 320 h 321"/>
                <a:gd name="T66" fmla="*/ 204 w 320"/>
                <a:gd name="T67" fmla="*/ 300 h 321"/>
                <a:gd name="T68" fmla="*/ 227 w 320"/>
                <a:gd name="T69" fmla="*/ 306 h 321"/>
                <a:gd name="T70" fmla="*/ 245 w 320"/>
                <a:gd name="T71" fmla="*/ 279 h 321"/>
                <a:gd name="T72" fmla="*/ 269 w 320"/>
                <a:gd name="T73" fmla="*/ 278 h 321"/>
                <a:gd name="T74" fmla="*/ 278 w 320"/>
                <a:gd name="T75" fmla="*/ 247 h 321"/>
                <a:gd name="T76" fmla="*/ 300 w 320"/>
                <a:gd name="T77" fmla="*/ 239 h 321"/>
                <a:gd name="T78" fmla="*/ 299 w 320"/>
                <a:gd name="T79" fmla="*/ 207 h 321"/>
                <a:gd name="T80" fmla="*/ 317 w 320"/>
                <a:gd name="T81" fmla="*/ 192 h 321"/>
                <a:gd name="T82" fmla="*/ 306 w 320"/>
                <a:gd name="T83" fmla="*/ 167 h 321"/>
                <a:gd name="T84" fmla="*/ 255 w 320"/>
                <a:gd name="T85" fmla="*/ 165 h 321"/>
                <a:gd name="T86" fmla="*/ 65 w 320"/>
                <a:gd name="T87" fmla="*/ 156 h 321"/>
                <a:gd name="T88" fmla="*/ 255 w 320"/>
                <a:gd name="T89" fmla="*/ 165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20" h="321">
                  <a:moveTo>
                    <a:pt x="306" y="162"/>
                  </a:moveTo>
                  <a:cubicBezTo>
                    <a:pt x="320" y="159"/>
                    <a:pt x="320" y="159"/>
                    <a:pt x="320" y="159"/>
                  </a:cubicBezTo>
                  <a:cubicBezTo>
                    <a:pt x="320" y="153"/>
                    <a:pt x="320" y="148"/>
                    <a:pt x="319" y="142"/>
                  </a:cubicBezTo>
                  <a:cubicBezTo>
                    <a:pt x="305" y="141"/>
                    <a:pt x="305" y="141"/>
                    <a:pt x="305" y="141"/>
                  </a:cubicBezTo>
                  <a:cubicBezTo>
                    <a:pt x="304" y="132"/>
                    <a:pt x="302" y="124"/>
                    <a:pt x="300" y="116"/>
                  </a:cubicBezTo>
                  <a:cubicBezTo>
                    <a:pt x="312" y="109"/>
                    <a:pt x="312" y="109"/>
                    <a:pt x="312" y="109"/>
                  </a:cubicBezTo>
                  <a:cubicBezTo>
                    <a:pt x="310" y="104"/>
                    <a:pt x="308" y="99"/>
                    <a:pt x="306" y="94"/>
                  </a:cubicBezTo>
                  <a:cubicBezTo>
                    <a:pt x="292" y="97"/>
                    <a:pt x="292" y="97"/>
                    <a:pt x="292" y="97"/>
                  </a:cubicBezTo>
                  <a:cubicBezTo>
                    <a:pt x="288" y="90"/>
                    <a:pt x="284" y="82"/>
                    <a:pt x="279" y="76"/>
                  </a:cubicBezTo>
                  <a:cubicBezTo>
                    <a:pt x="289" y="65"/>
                    <a:pt x="289" y="65"/>
                    <a:pt x="289" y="65"/>
                  </a:cubicBezTo>
                  <a:cubicBezTo>
                    <a:pt x="286" y="60"/>
                    <a:pt x="282" y="56"/>
                    <a:pt x="278" y="52"/>
                  </a:cubicBezTo>
                  <a:cubicBezTo>
                    <a:pt x="266" y="59"/>
                    <a:pt x="266" y="59"/>
                    <a:pt x="266" y="59"/>
                  </a:cubicBezTo>
                  <a:cubicBezTo>
                    <a:pt x="260" y="53"/>
                    <a:pt x="254" y="48"/>
                    <a:pt x="247" y="43"/>
                  </a:cubicBezTo>
                  <a:cubicBezTo>
                    <a:pt x="253" y="30"/>
                    <a:pt x="253" y="30"/>
                    <a:pt x="253" y="30"/>
                  </a:cubicBezTo>
                  <a:cubicBezTo>
                    <a:pt x="248" y="27"/>
                    <a:pt x="244" y="24"/>
                    <a:pt x="239" y="21"/>
                  </a:cubicBezTo>
                  <a:cubicBezTo>
                    <a:pt x="230" y="32"/>
                    <a:pt x="230" y="32"/>
                    <a:pt x="230" y="32"/>
                  </a:cubicBezTo>
                  <a:cubicBezTo>
                    <a:pt x="222" y="28"/>
                    <a:pt x="215" y="24"/>
                    <a:pt x="207" y="22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03" y="6"/>
                    <a:pt x="197" y="5"/>
                    <a:pt x="192" y="3"/>
                  </a:cubicBezTo>
                  <a:cubicBezTo>
                    <a:pt x="186" y="17"/>
                    <a:pt x="186" y="17"/>
                    <a:pt x="186" y="17"/>
                  </a:cubicBezTo>
                  <a:cubicBezTo>
                    <a:pt x="180" y="15"/>
                    <a:pt x="173" y="15"/>
                    <a:pt x="167" y="14"/>
                  </a:cubicBezTo>
                  <a:cubicBezTo>
                    <a:pt x="165" y="14"/>
                    <a:pt x="163" y="14"/>
                    <a:pt x="161" y="14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53" y="0"/>
                    <a:pt x="147" y="1"/>
                    <a:pt x="142" y="1"/>
                  </a:cubicBezTo>
                  <a:cubicBezTo>
                    <a:pt x="140" y="16"/>
                    <a:pt x="140" y="16"/>
                    <a:pt x="140" y="16"/>
                  </a:cubicBezTo>
                  <a:cubicBezTo>
                    <a:pt x="132" y="17"/>
                    <a:pt x="124" y="18"/>
                    <a:pt x="116" y="21"/>
                  </a:cubicBezTo>
                  <a:cubicBezTo>
                    <a:pt x="109" y="9"/>
                    <a:pt x="109" y="9"/>
                    <a:pt x="109" y="9"/>
                  </a:cubicBezTo>
                  <a:cubicBezTo>
                    <a:pt x="104" y="10"/>
                    <a:pt x="98" y="12"/>
                    <a:pt x="93" y="15"/>
                  </a:cubicBezTo>
                  <a:cubicBezTo>
                    <a:pt x="97" y="29"/>
                    <a:pt x="97" y="29"/>
                    <a:pt x="97" y="29"/>
                  </a:cubicBezTo>
                  <a:cubicBezTo>
                    <a:pt x="89" y="32"/>
                    <a:pt x="82" y="37"/>
                    <a:pt x="75" y="41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0" y="35"/>
                    <a:pt x="56" y="39"/>
                    <a:pt x="52" y="42"/>
                  </a:cubicBezTo>
                  <a:cubicBezTo>
                    <a:pt x="59" y="55"/>
                    <a:pt x="59" y="55"/>
                    <a:pt x="59" y="55"/>
                  </a:cubicBezTo>
                  <a:cubicBezTo>
                    <a:pt x="53" y="60"/>
                    <a:pt x="47" y="67"/>
                    <a:pt x="42" y="73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6" y="72"/>
                    <a:pt x="23" y="77"/>
                    <a:pt x="20" y="82"/>
                  </a:cubicBezTo>
                  <a:cubicBezTo>
                    <a:pt x="31" y="91"/>
                    <a:pt x="31" y="91"/>
                    <a:pt x="31" y="91"/>
                  </a:cubicBezTo>
                  <a:cubicBezTo>
                    <a:pt x="27" y="98"/>
                    <a:pt x="24" y="106"/>
                    <a:pt x="21" y="114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5" y="118"/>
                    <a:pt x="4" y="123"/>
                    <a:pt x="3" y="129"/>
                  </a:cubicBezTo>
                  <a:cubicBezTo>
                    <a:pt x="16" y="134"/>
                    <a:pt x="16" y="134"/>
                    <a:pt x="16" y="134"/>
                  </a:cubicBezTo>
                  <a:cubicBezTo>
                    <a:pt x="15" y="141"/>
                    <a:pt x="14" y="147"/>
                    <a:pt x="14" y="154"/>
                  </a:cubicBezTo>
                  <a:cubicBezTo>
                    <a:pt x="14" y="156"/>
                    <a:pt x="14" y="157"/>
                    <a:pt x="14" y="159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0" y="168"/>
                    <a:pt x="0" y="173"/>
                    <a:pt x="1" y="179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16" y="188"/>
                    <a:pt x="18" y="196"/>
                    <a:pt x="20" y="204"/>
                  </a:cubicBezTo>
                  <a:cubicBezTo>
                    <a:pt x="8" y="212"/>
                    <a:pt x="8" y="212"/>
                    <a:pt x="8" y="212"/>
                  </a:cubicBezTo>
                  <a:cubicBezTo>
                    <a:pt x="10" y="217"/>
                    <a:pt x="12" y="222"/>
                    <a:pt x="14" y="227"/>
                  </a:cubicBezTo>
                  <a:cubicBezTo>
                    <a:pt x="28" y="224"/>
                    <a:pt x="28" y="224"/>
                    <a:pt x="28" y="224"/>
                  </a:cubicBezTo>
                  <a:cubicBezTo>
                    <a:pt x="32" y="231"/>
                    <a:pt x="36" y="238"/>
                    <a:pt x="41" y="245"/>
                  </a:cubicBezTo>
                  <a:cubicBezTo>
                    <a:pt x="31" y="256"/>
                    <a:pt x="31" y="256"/>
                    <a:pt x="31" y="256"/>
                  </a:cubicBezTo>
                  <a:cubicBezTo>
                    <a:pt x="35" y="260"/>
                    <a:pt x="38" y="265"/>
                    <a:pt x="42" y="269"/>
                  </a:cubicBezTo>
                  <a:cubicBezTo>
                    <a:pt x="54" y="261"/>
                    <a:pt x="54" y="261"/>
                    <a:pt x="54" y="261"/>
                  </a:cubicBezTo>
                  <a:cubicBezTo>
                    <a:pt x="60" y="267"/>
                    <a:pt x="66" y="273"/>
                    <a:pt x="73" y="278"/>
                  </a:cubicBezTo>
                  <a:cubicBezTo>
                    <a:pt x="67" y="291"/>
                    <a:pt x="67" y="291"/>
                    <a:pt x="67" y="291"/>
                  </a:cubicBezTo>
                  <a:cubicBezTo>
                    <a:pt x="72" y="294"/>
                    <a:pt x="76" y="297"/>
                    <a:pt x="81" y="300"/>
                  </a:cubicBezTo>
                  <a:cubicBezTo>
                    <a:pt x="91" y="289"/>
                    <a:pt x="91" y="289"/>
                    <a:pt x="91" y="289"/>
                  </a:cubicBezTo>
                  <a:cubicBezTo>
                    <a:pt x="98" y="293"/>
                    <a:pt x="106" y="296"/>
                    <a:pt x="114" y="299"/>
                  </a:cubicBezTo>
                  <a:cubicBezTo>
                    <a:pt x="112" y="313"/>
                    <a:pt x="112" y="313"/>
                    <a:pt x="112" y="313"/>
                  </a:cubicBezTo>
                  <a:cubicBezTo>
                    <a:pt x="117" y="315"/>
                    <a:pt x="123" y="316"/>
                    <a:pt x="128" y="317"/>
                  </a:cubicBezTo>
                  <a:cubicBezTo>
                    <a:pt x="134" y="304"/>
                    <a:pt x="134" y="304"/>
                    <a:pt x="134" y="304"/>
                  </a:cubicBezTo>
                  <a:cubicBezTo>
                    <a:pt x="140" y="305"/>
                    <a:pt x="147" y="306"/>
                    <a:pt x="153" y="306"/>
                  </a:cubicBezTo>
                  <a:cubicBezTo>
                    <a:pt x="155" y="307"/>
                    <a:pt x="157" y="307"/>
                    <a:pt x="159" y="307"/>
                  </a:cubicBezTo>
                  <a:cubicBezTo>
                    <a:pt x="162" y="321"/>
                    <a:pt x="162" y="321"/>
                    <a:pt x="162" y="321"/>
                  </a:cubicBezTo>
                  <a:cubicBezTo>
                    <a:pt x="167" y="320"/>
                    <a:pt x="173" y="320"/>
                    <a:pt x="178" y="320"/>
                  </a:cubicBezTo>
                  <a:cubicBezTo>
                    <a:pt x="180" y="305"/>
                    <a:pt x="180" y="305"/>
                    <a:pt x="180" y="305"/>
                  </a:cubicBezTo>
                  <a:cubicBezTo>
                    <a:pt x="188" y="304"/>
                    <a:pt x="196" y="302"/>
                    <a:pt x="204" y="300"/>
                  </a:cubicBezTo>
                  <a:cubicBezTo>
                    <a:pt x="211" y="312"/>
                    <a:pt x="211" y="312"/>
                    <a:pt x="211" y="312"/>
                  </a:cubicBezTo>
                  <a:cubicBezTo>
                    <a:pt x="217" y="310"/>
                    <a:pt x="222" y="308"/>
                    <a:pt x="227" y="306"/>
                  </a:cubicBezTo>
                  <a:cubicBezTo>
                    <a:pt x="224" y="292"/>
                    <a:pt x="224" y="292"/>
                    <a:pt x="224" y="292"/>
                  </a:cubicBezTo>
                  <a:cubicBezTo>
                    <a:pt x="231" y="289"/>
                    <a:pt x="238" y="284"/>
                    <a:pt x="245" y="279"/>
                  </a:cubicBezTo>
                  <a:cubicBezTo>
                    <a:pt x="256" y="289"/>
                    <a:pt x="256" y="289"/>
                    <a:pt x="256" y="289"/>
                  </a:cubicBezTo>
                  <a:cubicBezTo>
                    <a:pt x="260" y="286"/>
                    <a:pt x="264" y="282"/>
                    <a:pt x="269" y="278"/>
                  </a:cubicBezTo>
                  <a:cubicBezTo>
                    <a:pt x="261" y="266"/>
                    <a:pt x="261" y="266"/>
                    <a:pt x="261" y="266"/>
                  </a:cubicBezTo>
                  <a:cubicBezTo>
                    <a:pt x="267" y="260"/>
                    <a:pt x="273" y="254"/>
                    <a:pt x="278" y="247"/>
                  </a:cubicBezTo>
                  <a:cubicBezTo>
                    <a:pt x="291" y="253"/>
                    <a:pt x="291" y="253"/>
                    <a:pt x="291" y="253"/>
                  </a:cubicBezTo>
                  <a:cubicBezTo>
                    <a:pt x="294" y="249"/>
                    <a:pt x="297" y="244"/>
                    <a:pt x="300" y="239"/>
                  </a:cubicBezTo>
                  <a:cubicBezTo>
                    <a:pt x="289" y="230"/>
                    <a:pt x="289" y="230"/>
                    <a:pt x="289" y="230"/>
                  </a:cubicBezTo>
                  <a:cubicBezTo>
                    <a:pt x="293" y="223"/>
                    <a:pt x="296" y="215"/>
                    <a:pt x="299" y="207"/>
                  </a:cubicBezTo>
                  <a:cubicBezTo>
                    <a:pt x="313" y="208"/>
                    <a:pt x="313" y="208"/>
                    <a:pt x="313" y="208"/>
                  </a:cubicBezTo>
                  <a:cubicBezTo>
                    <a:pt x="315" y="203"/>
                    <a:pt x="316" y="198"/>
                    <a:pt x="317" y="192"/>
                  </a:cubicBezTo>
                  <a:cubicBezTo>
                    <a:pt x="304" y="187"/>
                    <a:pt x="304" y="187"/>
                    <a:pt x="304" y="187"/>
                  </a:cubicBezTo>
                  <a:cubicBezTo>
                    <a:pt x="305" y="180"/>
                    <a:pt x="306" y="174"/>
                    <a:pt x="306" y="167"/>
                  </a:cubicBezTo>
                  <a:cubicBezTo>
                    <a:pt x="306" y="165"/>
                    <a:pt x="306" y="164"/>
                    <a:pt x="306" y="162"/>
                  </a:cubicBezTo>
                  <a:close/>
                  <a:moveTo>
                    <a:pt x="255" y="165"/>
                  </a:moveTo>
                  <a:cubicBezTo>
                    <a:pt x="253" y="217"/>
                    <a:pt x="208" y="258"/>
                    <a:pt x="156" y="255"/>
                  </a:cubicBezTo>
                  <a:cubicBezTo>
                    <a:pt x="103" y="253"/>
                    <a:pt x="62" y="209"/>
                    <a:pt x="65" y="156"/>
                  </a:cubicBezTo>
                  <a:cubicBezTo>
                    <a:pt x="67" y="104"/>
                    <a:pt x="112" y="63"/>
                    <a:pt x="164" y="65"/>
                  </a:cubicBezTo>
                  <a:cubicBezTo>
                    <a:pt x="217" y="68"/>
                    <a:pt x="258" y="112"/>
                    <a:pt x="255" y="16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9" name="Freeform 191">
              <a:extLst>
                <a:ext uri="{FF2B5EF4-FFF2-40B4-BE49-F238E27FC236}">
                  <a16:creationId xmlns:a16="http://schemas.microsoft.com/office/drawing/2014/main" id="{73C148E5-9AA7-4CCB-BFE5-0756A0E2E4D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779367" y="2043824"/>
              <a:ext cx="438078" cy="434975"/>
            </a:xfrm>
            <a:custGeom>
              <a:avLst/>
              <a:gdLst>
                <a:gd name="T0" fmla="*/ 357 w 370"/>
                <a:gd name="T1" fmla="*/ 251 h 368"/>
                <a:gd name="T2" fmla="*/ 313 w 370"/>
                <a:gd name="T3" fmla="*/ 214 h 368"/>
                <a:gd name="T4" fmla="*/ 315 w 370"/>
                <a:gd name="T5" fmla="*/ 204 h 368"/>
                <a:gd name="T6" fmla="*/ 369 w 370"/>
                <a:gd name="T7" fmla="*/ 187 h 368"/>
                <a:gd name="T8" fmla="*/ 367 w 370"/>
                <a:gd name="T9" fmla="*/ 156 h 368"/>
                <a:gd name="T10" fmla="*/ 311 w 370"/>
                <a:gd name="T11" fmla="*/ 146 h 368"/>
                <a:gd name="T12" fmla="*/ 308 w 370"/>
                <a:gd name="T13" fmla="*/ 137 h 368"/>
                <a:gd name="T14" fmla="*/ 346 w 370"/>
                <a:gd name="T15" fmla="*/ 94 h 368"/>
                <a:gd name="T16" fmla="*/ 329 w 370"/>
                <a:gd name="T17" fmla="*/ 69 h 368"/>
                <a:gd name="T18" fmla="*/ 276 w 370"/>
                <a:gd name="T19" fmla="*/ 88 h 368"/>
                <a:gd name="T20" fmla="*/ 268 w 370"/>
                <a:gd name="T21" fmla="*/ 81 h 368"/>
                <a:gd name="T22" fmla="*/ 280 w 370"/>
                <a:gd name="T23" fmla="*/ 26 h 368"/>
                <a:gd name="T24" fmla="*/ 266 w 370"/>
                <a:gd name="T25" fmla="*/ 19 h 368"/>
                <a:gd name="T26" fmla="*/ 252 w 370"/>
                <a:gd name="T27" fmla="*/ 12 h 368"/>
                <a:gd name="T28" fmla="*/ 215 w 370"/>
                <a:gd name="T29" fmla="*/ 56 h 368"/>
                <a:gd name="T30" fmla="*/ 205 w 370"/>
                <a:gd name="T31" fmla="*/ 54 h 368"/>
                <a:gd name="T32" fmla="*/ 188 w 370"/>
                <a:gd name="T33" fmla="*/ 0 h 368"/>
                <a:gd name="T34" fmla="*/ 157 w 370"/>
                <a:gd name="T35" fmla="*/ 2 h 368"/>
                <a:gd name="T36" fmla="*/ 147 w 370"/>
                <a:gd name="T37" fmla="*/ 58 h 368"/>
                <a:gd name="T38" fmla="*/ 138 w 370"/>
                <a:gd name="T39" fmla="*/ 61 h 368"/>
                <a:gd name="T40" fmla="*/ 95 w 370"/>
                <a:gd name="T41" fmla="*/ 23 h 368"/>
                <a:gd name="T42" fmla="*/ 70 w 370"/>
                <a:gd name="T43" fmla="*/ 40 h 368"/>
                <a:gd name="T44" fmla="*/ 89 w 370"/>
                <a:gd name="T45" fmla="*/ 93 h 368"/>
                <a:gd name="T46" fmla="*/ 82 w 370"/>
                <a:gd name="T47" fmla="*/ 101 h 368"/>
                <a:gd name="T48" fmla="*/ 27 w 370"/>
                <a:gd name="T49" fmla="*/ 89 h 368"/>
                <a:gd name="T50" fmla="*/ 19 w 370"/>
                <a:gd name="T51" fmla="*/ 103 h 368"/>
                <a:gd name="T52" fmla="*/ 13 w 370"/>
                <a:gd name="T53" fmla="*/ 117 h 368"/>
                <a:gd name="T54" fmla="*/ 57 w 370"/>
                <a:gd name="T55" fmla="*/ 153 h 368"/>
                <a:gd name="T56" fmla="*/ 55 w 370"/>
                <a:gd name="T57" fmla="*/ 163 h 368"/>
                <a:gd name="T58" fmla="*/ 0 w 370"/>
                <a:gd name="T59" fmla="*/ 181 h 368"/>
                <a:gd name="T60" fmla="*/ 3 w 370"/>
                <a:gd name="T61" fmla="*/ 211 h 368"/>
                <a:gd name="T62" fmla="*/ 59 w 370"/>
                <a:gd name="T63" fmla="*/ 221 h 368"/>
                <a:gd name="T64" fmla="*/ 62 w 370"/>
                <a:gd name="T65" fmla="*/ 231 h 368"/>
                <a:gd name="T66" fmla="*/ 24 w 370"/>
                <a:gd name="T67" fmla="*/ 273 h 368"/>
                <a:gd name="T68" fmla="*/ 41 w 370"/>
                <a:gd name="T69" fmla="*/ 299 h 368"/>
                <a:gd name="T70" fmla="*/ 94 w 370"/>
                <a:gd name="T71" fmla="*/ 280 h 368"/>
                <a:gd name="T72" fmla="*/ 102 w 370"/>
                <a:gd name="T73" fmla="*/ 286 h 368"/>
                <a:gd name="T74" fmla="*/ 90 w 370"/>
                <a:gd name="T75" fmla="*/ 342 h 368"/>
                <a:gd name="T76" fmla="*/ 104 w 370"/>
                <a:gd name="T77" fmla="*/ 349 h 368"/>
                <a:gd name="T78" fmla="*/ 118 w 370"/>
                <a:gd name="T79" fmla="*/ 355 h 368"/>
                <a:gd name="T80" fmla="*/ 154 w 370"/>
                <a:gd name="T81" fmla="*/ 312 h 368"/>
                <a:gd name="T82" fmla="*/ 164 w 370"/>
                <a:gd name="T83" fmla="*/ 314 h 368"/>
                <a:gd name="T84" fmla="*/ 182 w 370"/>
                <a:gd name="T85" fmla="*/ 368 h 368"/>
                <a:gd name="T86" fmla="*/ 213 w 370"/>
                <a:gd name="T87" fmla="*/ 366 h 368"/>
                <a:gd name="T88" fmla="*/ 223 w 370"/>
                <a:gd name="T89" fmla="*/ 310 h 368"/>
                <a:gd name="T90" fmla="*/ 232 w 370"/>
                <a:gd name="T91" fmla="*/ 307 h 368"/>
                <a:gd name="T92" fmla="*/ 274 w 370"/>
                <a:gd name="T93" fmla="*/ 345 h 368"/>
                <a:gd name="T94" fmla="*/ 300 w 370"/>
                <a:gd name="T95" fmla="*/ 328 h 368"/>
                <a:gd name="T96" fmla="*/ 281 w 370"/>
                <a:gd name="T97" fmla="*/ 274 h 368"/>
                <a:gd name="T98" fmla="*/ 287 w 370"/>
                <a:gd name="T99" fmla="*/ 267 h 368"/>
                <a:gd name="T100" fmla="*/ 343 w 370"/>
                <a:gd name="T101" fmla="*/ 279 h 368"/>
                <a:gd name="T102" fmla="*/ 350 w 370"/>
                <a:gd name="T103" fmla="*/ 265 h 368"/>
                <a:gd name="T104" fmla="*/ 357 w 370"/>
                <a:gd name="T105" fmla="*/ 251 h 368"/>
                <a:gd name="T106" fmla="*/ 249 w 370"/>
                <a:gd name="T107" fmla="*/ 215 h 368"/>
                <a:gd name="T108" fmla="*/ 153 w 370"/>
                <a:gd name="T109" fmla="*/ 248 h 368"/>
                <a:gd name="T110" fmla="*/ 121 w 370"/>
                <a:gd name="T111" fmla="*/ 152 h 368"/>
                <a:gd name="T112" fmla="*/ 216 w 370"/>
                <a:gd name="T113" fmla="*/ 120 h 368"/>
                <a:gd name="T114" fmla="*/ 249 w 370"/>
                <a:gd name="T115" fmla="*/ 21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70" h="368">
                  <a:moveTo>
                    <a:pt x="357" y="251"/>
                  </a:moveTo>
                  <a:cubicBezTo>
                    <a:pt x="313" y="214"/>
                    <a:pt x="313" y="214"/>
                    <a:pt x="313" y="214"/>
                  </a:cubicBezTo>
                  <a:cubicBezTo>
                    <a:pt x="314" y="211"/>
                    <a:pt x="315" y="208"/>
                    <a:pt x="315" y="204"/>
                  </a:cubicBezTo>
                  <a:cubicBezTo>
                    <a:pt x="369" y="187"/>
                    <a:pt x="369" y="187"/>
                    <a:pt x="369" y="187"/>
                  </a:cubicBezTo>
                  <a:cubicBezTo>
                    <a:pt x="370" y="177"/>
                    <a:pt x="369" y="166"/>
                    <a:pt x="367" y="156"/>
                  </a:cubicBezTo>
                  <a:cubicBezTo>
                    <a:pt x="311" y="146"/>
                    <a:pt x="311" y="146"/>
                    <a:pt x="311" y="146"/>
                  </a:cubicBezTo>
                  <a:cubicBezTo>
                    <a:pt x="310" y="143"/>
                    <a:pt x="309" y="140"/>
                    <a:pt x="308" y="137"/>
                  </a:cubicBezTo>
                  <a:cubicBezTo>
                    <a:pt x="346" y="94"/>
                    <a:pt x="346" y="94"/>
                    <a:pt x="346" y="94"/>
                  </a:cubicBezTo>
                  <a:cubicBezTo>
                    <a:pt x="341" y="86"/>
                    <a:pt x="336" y="77"/>
                    <a:pt x="329" y="69"/>
                  </a:cubicBezTo>
                  <a:cubicBezTo>
                    <a:pt x="276" y="88"/>
                    <a:pt x="276" y="88"/>
                    <a:pt x="276" y="88"/>
                  </a:cubicBezTo>
                  <a:cubicBezTo>
                    <a:pt x="273" y="86"/>
                    <a:pt x="270" y="84"/>
                    <a:pt x="268" y="81"/>
                  </a:cubicBezTo>
                  <a:cubicBezTo>
                    <a:pt x="280" y="26"/>
                    <a:pt x="280" y="26"/>
                    <a:pt x="280" y="26"/>
                  </a:cubicBezTo>
                  <a:cubicBezTo>
                    <a:pt x="275" y="23"/>
                    <a:pt x="271" y="21"/>
                    <a:pt x="266" y="19"/>
                  </a:cubicBezTo>
                  <a:cubicBezTo>
                    <a:pt x="262" y="16"/>
                    <a:pt x="257" y="14"/>
                    <a:pt x="252" y="12"/>
                  </a:cubicBezTo>
                  <a:cubicBezTo>
                    <a:pt x="215" y="56"/>
                    <a:pt x="215" y="56"/>
                    <a:pt x="215" y="56"/>
                  </a:cubicBezTo>
                  <a:cubicBezTo>
                    <a:pt x="212" y="55"/>
                    <a:pt x="209" y="54"/>
                    <a:pt x="205" y="54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78" y="0"/>
                    <a:pt x="167" y="0"/>
                    <a:pt x="157" y="2"/>
                  </a:cubicBezTo>
                  <a:cubicBezTo>
                    <a:pt x="147" y="58"/>
                    <a:pt x="147" y="58"/>
                    <a:pt x="147" y="58"/>
                  </a:cubicBezTo>
                  <a:cubicBezTo>
                    <a:pt x="144" y="59"/>
                    <a:pt x="141" y="60"/>
                    <a:pt x="138" y="61"/>
                  </a:cubicBezTo>
                  <a:cubicBezTo>
                    <a:pt x="95" y="23"/>
                    <a:pt x="95" y="23"/>
                    <a:pt x="95" y="23"/>
                  </a:cubicBezTo>
                  <a:cubicBezTo>
                    <a:pt x="86" y="28"/>
                    <a:pt x="78" y="34"/>
                    <a:pt x="70" y="40"/>
                  </a:cubicBezTo>
                  <a:cubicBezTo>
                    <a:pt x="89" y="93"/>
                    <a:pt x="89" y="93"/>
                    <a:pt x="89" y="93"/>
                  </a:cubicBezTo>
                  <a:cubicBezTo>
                    <a:pt x="87" y="96"/>
                    <a:pt x="85" y="98"/>
                    <a:pt x="82" y="101"/>
                  </a:cubicBezTo>
                  <a:cubicBezTo>
                    <a:pt x="27" y="89"/>
                    <a:pt x="27" y="89"/>
                    <a:pt x="27" y="89"/>
                  </a:cubicBezTo>
                  <a:cubicBezTo>
                    <a:pt x="24" y="94"/>
                    <a:pt x="22" y="98"/>
                    <a:pt x="19" y="103"/>
                  </a:cubicBezTo>
                  <a:cubicBezTo>
                    <a:pt x="17" y="107"/>
                    <a:pt x="15" y="112"/>
                    <a:pt x="13" y="117"/>
                  </a:cubicBezTo>
                  <a:cubicBezTo>
                    <a:pt x="57" y="153"/>
                    <a:pt x="57" y="153"/>
                    <a:pt x="57" y="153"/>
                  </a:cubicBezTo>
                  <a:cubicBezTo>
                    <a:pt x="56" y="157"/>
                    <a:pt x="55" y="160"/>
                    <a:pt x="55" y="163"/>
                  </a:cubicBezTo>
                  <a:cubicBezTo>
                    <a:pt x="0" y="181"/>
                    <a:pt x="0" y="181"/>
                    <a:pt x="0" y="181"/>
                  </a:cubicBezTo>
                  <a:cubicBezTo>
                    <a:pt x="0" y="191"/>
                    <a:pt x="1" y="201"/>
                    <a:pt x="3" y="211"/>
                  </a:cubicBezTo>
                  <a:cubicBezTo>
                    <a:pt x="59" y="221"/>
                    <a:pt x="59" y="221"/>
                    <a:pt x="59" y="221"/>
                  </a:cubicBezTo>
                  <a:cubicBezTo>
                    <a:pt x="60" y="225"/>
                    <a:pt x="61" y="228"/>
                    <a:pt x="62" y="231"/>
                  </a:cubicBezTo>
                  <a:cubicBezTo>
                    <a:pt x="24" y="273"/>
                    <a:pt x="24" y="273"/>
                    <a:pt x="24" y="273"/>
                  </a:cubicBezTo>
                  <a:cubicBezTo>
                    <a:pt x="29" y="282"/>
                    <a:pt x="34" y="291"/>
                    <a:pt x="41" y="299"/>
                  </a:cubicBezTo>
                  <a:cubicBezTo>
                    <a:pt x="94" y="280"/>
                    <a:pt x="94" y="280"/>
                    <a:pt x="94" y="280"/>
                  </a:cubicBezTo>
                  <a:cubicBezTo>
                    <a:pt x="97" y="282"/>
                    <a:pt x="99" y="284"/>
                    <a:pt x="102" y="286"/>
                  </a:cubicBezTo>
                  <a:cubicBezTo>
                    <a:pt x="90" y="342"/>
                    <a:pt x="90" y="342"/>
                    <a:pt x="90" y="342"/>
                  </a:cubicBezTo>
                  <a:cubicBezTo>
                    <a:pt x="94" y="344"/>
                    <a:pt x="99" y="347"/>
                    <a:pt x="104" y="349"/>
                  </a:cubicBezTo>
                  <a:cubicBezTo>
                    <a:pt x="108" y="351"/>
                    <a:pt x="113" y="353"/>
                    <a:pt x="118" y="355"/>
                  </a:cubicBezTo>
                  <a:cubicBezTo>
                    <a:pt x="154" y="312"/>
                    <a:pt x="154" y="312"/>
                    <a:pt x="154" y="312"/>
                  </a:cubicBezTo>
                  <a:cubicBezTo>
                    <a:pt x="158" y="313"/>
                    <a:pt x="161" y="313"/>
                    <a:pt x="164" y="314"/>
                  </a:cubicBezTo>
                  <a:cubicBezTo>
                    <a:pt x="182" y="368"/>
                    <a:pt x="182" y="368"/>
                    <a:pt x="182" y="368"/>
                  </a:cubicBezTo>
                  <a:cubicBezTo>
                    <a:pt x="192" y="368"/>
                    <a:pt x="202" y="367"/>
                    <a:pt x="213" y="366"/>
                  </a:cubicBezTo>
                  <a:cubicBezTo>
                    <a:pt x="223" y="310"/>
                    <a:pt x="223" y="310"/>
                    <a:pt x="223" y="310"/>
                  </a:cubicBezTo>
                  <a:cubicBezTo>
                    <a:pt x="226" y="309"/>
                    <a:pt x="229" y="308"/>
                    <a:pt x="232" y="307"/>
                  </a:cubicBezTo>
                  <a:cubicBezTo>
                    <a:pt x="274" y="345"/>
                    <a:pt x="274" y="345"/>
                    <a:pt x="274" y="345"/>
                  </a:cubicBezTo>
                  <a:cubicBezTo>
                    <a:pt x="283" y="340"/>
                    <a:pt x="292" y="334"/>
                    <a:pt x="300" y="328"/>
                  </a:cubicBezTo>
                  <a:cubicBezTo>
                    <a:pt x="281" y="274"/>
                    <a:pt x="281" y="274"/>
                    <a:pt x="281" y="274"/>
                  </a:cubicBezTo>
                  <a:cubicBezTo>
                    <a:pt x="283" y="272"/>
                    <a:pt x="285" y="269"/>
                    <a:pt x="287" y="267"/>
                  </a:cubicBezTo>
                  <a:cubicBezTo>
                    <a:pt x="343" y="279"/>
                    <a:pt x="343" y="279"/>
                    <a:pt x="343" y="279"/>
                  </a:cubicBezTo>
                  <a:cubicBezTo>
                    <a:pt x="346" y="274"/>
                    <a:pt x="348" y="270"/>
                    <a:pt x="350" y="265"/>
                  </a:cubicBezTo>
                  <a:cubicBezTo>
                    <a:pt x="353" y="260"/>
                    <a:pt x="355" y="256"/>
                    <a:pt x="357" y="251"/>
                  </a:cubicBezTo>
                  <a:close/>
                  <a:moveTo>
                    <a:pt x="249" y="215"/>
                  </a:moveTo>
                  <a:cubicBezTo>
                    <a:pt x="232" y="251"/>
                    <a:pt x="189" y="265"/>
                    <a:pt x="153" y="248"/>
                  </a:cubicBezTo>
                  <a:cubicBezTo>
                    <a:pt x="118" y="230"/>
                    <a:pt x="103" y="188"/>
                    <a:pt x="121" y="152"/>
                  </a:cubicBezTo>
                  <a:cubicBezTo>
                    <a:pt x="138" y="117"/>
                    <a:pt x="181" y="103"/>
                    <a:pt x="216" y="120"/>
                  </a:cubicBezTo>
                  <a:cubicBezTo>
                    <a:pt x="252" y="137"/>
                    <a:pt x="266" y="180"/>
                    <a:pt x="249" y="215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6085C2D-814C-4536-9221-1420FCA84296}"/>
              </a:ext>
            </a:extLst>
          </p:cNvPr>
          <p:cNvGrpSpPr/>
          <p:nvPr/>
        </p:nvGrpSpPr>
        <p:grpSpPr bwMode="gray">
          <a:xfrm>
            <a:off x="707780" y="1947480"/>
            <a:ext cx="680407" cy="466298"/>
            <a:chOff x="484762" y="4084053"/>
            <a:chExt cx="1169876" cy="801741"/>
          </a:xfrm>
        </p:grpSpPr>
        <p:sp>
          <p:nvSpPr>
            <p:cNvPr id="31" name="Freeform 120">
              <a:extLst>
                <a:ext uri="{FF2B5EF4-FFF2-40B4-BE49-F238E27FC236}">
                  <a16:creationId xmlns:a16="http://schemas.microsoft.com/office/drawing/2014/main" id="{89159901-F179-492F-BC9A-910B511264D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5958" y="4161595"/>
              <a:ext cx="211824" cy="721428"/>
            </a:xfrm>
            <a:custGeom>
              <a:avLst/>
              <a:gdLst>
                <a:gd name="T0" fmla="*/ 157 w 173"/>
                <a:gd name="T1" fmla="*/ 176 h 589"/>
                <a:gd name="T2" fmla="*/ 158 w 173"/>
                <a:gd name="T3" fmla="*/ 114 h 589"/>
                <a:gd name="T4" fmla="*/ 125 w 173"/>
                <a:gd name="T5" fmla="*/ 89 h 589"/>
                <a:gd name="T6" fmla="*/ 124 w 173"/>
                <a:gd name="T7" fmla="*/ 46 h 589"/>
                <a:gd name="T8" fmla="*/ 60 w 173"/>
                <a:gd name="T9" fmla="*/ 24 h 589"/>
                <a:gd name="T10" fmla="*/ 32 w 173"/>
                <a:gd name="T11" fmla="*/ 95 h 589"/>
                <a:gd name="T12" fmla="*/ 22 w 173"/>
                <a:gd name="T13" fmla="*/ 118 h 589"/>
                <a:gd name="T14" fmla="*/ 0 w 173"/>
                <a:gd name="T15" fmla="*/ 234 h 589"/>
                <a:gd name="T16" fmla="*/ 11 w 173"/>
                <a:gd name="T17" fmla="*/ 259 h 589"/>
                <a:gd name="T18" fmla="*/ 21 w 173"/>
                <a:gd name="T19" fmla="*/ 259 h 589"/>
                <a:gd name="T20" fmla="*/ 27 w 173"/>
                <a:gd name="T21" fmla="*/ 251 h 589"/>
                <a:gd name="T22" fmla="*/ 20 w 173"/>
                <a:gd name="T23" fmla="*/ 291 h 589"/>
                <a:gd name="T24" fmla="*/ 29 w 173"/>
                <a:gd name="T25" fmla="*/ 319 h 589"/>
                <a:gd name="T26" fmla="*/ 32 w 173"/>
                <a:gd name="T27" fmla="*/ 381 h 589"/>
                <a:gd name="T28" fmla="*/ 36 w 173"/>
                <a:gd name="T29" fmla="*/ 419 h 589"/>
                <a:gd name="T30" fmla="*/ 36 w 173"/>
                <a:gd name="T31" fmla="*/ 455 h 589"/>
                <a:gd name="T32" fmla="*/ 46 w 173"/>
                <a:gd name="T33" fmla="*/ 501 h 589"/>
                <a:gd name="T34" fmla="*/ 47 w 173"/>
                <a:gd name="T35" fmla="*/ 523 h 589"/>
                <a:gd name="T36" fmla="*/ 55 w 173"/>
                <a:gd name="T37" fmla="*/ 539 h 589"/>
                <a:gd name="T38" fmla="*/ 61 w 173"/>
                <a:gd name="T39" fmla="*/ 586 h 589"/>
                <a:gd name="T40" fmla="*/ 84 w 173"/>
                <a:gd name="T41" fmla="*/ 582 h 589"/>
                <a:gd name="T42" fmla="*/ 116 w 173"/>
                <a:gd name="T43" fmla="*/ 552 h 589"/>
                <a:gd name="T44" fmla="*/ 115 w 173"/>
                <a:gd name="T45" fmla="*/ 535 h 589"/>
                <a:gd name="T46" fmla="*/ 121 w 173"/>
                <a:gd name="T47" fmla="*/ 505 h 589"/>
                <a:gd name="T48" fmla="*/ 131 w 173"/>
                <a:gd name="T49" fmla="*/ 417 h 589"/>
                <a:gd name="T50" fmla="*/ 136 w 173"/>
                <a:gd name="T51" fmla="*/ 377 h 589"/>
                <a:gd name="T52" fmla="*/ 139 w 173"/>
                <a:gd name="T53" fmla="*/ 331 h 589"/>
                <a:gd name="T54" fmla="*/ 142 w 173"/>
                <a:gd name="T55" fmla="*/ 309 h 589"/>
                <a:gd name="T56" fmla="*/ 143 w 173"/>
                <a:gd name="T57" fmla="*/ 253 h 589"/>
                <a:gd name="T58" fmla="*/ 169 w 173"/>
                <a:gd name="T59" fmla="*/ 245 h 589"/>
                <a:gd name="T60" fmla="*/ 124 w 173"/>
                <a:gd name="T61" fmla="*/ 88 h 589"/>
                <a:gd name="T62" fmla="*/ 124 w 173"/>
                <a:gd name="T63" fmla="*/ 89 h 589"/>
                <a:gd name="T64" fmla="*/ 80 w 173"/>
                <a:gd name="T65" fmla="*/ 552 h 589"/>
                <a:gd name="T66" fmla="*/ 75 w 173"/>
                <a:gd name="T67" fmla="*/ 528 h 589"/>
                <a:gd name="T68" fmla="*/ 74 w 173"/>
                <a:gd name="T69" fmla="*/ 517 h 589"/>
                <a:gd name="T70" fmla="*/ 74 w 173"/>
                <a:gd name="T71" fmla="*/ 446 h 589"/>
                <a:gd name="T72" fmla="*/ 72 w 173"/>
                <a:gd name="T73" fmla="*/ 430 h 589"/>
                <a:gd name="T74" fmla="*/ 76 w 173"/>
                <a:gd name="T75" fmla="*/ 396 h 589"/>
                <a:gd name="T76" fmla="*/ 82 w 173"/>
                <a:gd name="T77" fmla="*/ 336 h 589"/>
                <a:gd name="T78" fmla="*/ 90 w 173"/>
                <a:gd name="T79" fmla="*/ 349 h 589"/>
                <a:gd name="T80" fmla="*/ 92 w 173"/>
                <a:gd name="T81" fmla="*/ 389 h 589"/>
                <a:gd name="T82" fmla="*/ 96 w 173"/>
                <a:gd name="T83" fmla="*/ 423 h 589"/>
                <a:gd name="T84" fmla="*/ 95 w 173"/>
                <a:gd name="T85" fmla="*/ 448 h 589"/>
                <a:gd name="T86" fmla="*/ 94 w 173"/>
                <a:gd name="T87" fmla="*/ 509 h 589"/>
                <a:gd name="T88" fmla="*/ 95 w 173"/>
                <a:gd name="T89" fmla="*/ 525 h 589"/>
                <a:gd name="T90" fmla="*/ 91 w 173"/>
                <a:gd name="T91" fmla="*/ 546 h 589"/>
                <a:gd name="T92" fmla="*/ 83 w 173"/>
                <a:gd name="T93" fmla="*/ 572 h 5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3" h="589">
                  <a:moveTo>
                    <a:pt x="171" y="231"/>
                  </a:moveTo>
                  <a:cubicBezTo>
                    <a:pt x="168" y="227"/>
                    <a:pt x="165" y="223"/>
                    <a:pt x="163" y="220"/>
                  </a:cubicBezTo>
                  <a:cubicBezTo>
                    <a:pt x="161" y="218"/>
                    <a:pt x="157" y="181"/>
                    <a:pt x="157" y="176"/>
                  </a:cubicBezTo>
                  <a:cubicBezTo>
                    <a:pt x="156" y="171"/>
                    <a:pt x="158" y="138"/>
                    <a:pt x="158" y="134"/>
                  </a:cubicBezTo>
                  <a:cubicBezTo>
                    <a:pt x="159" y="130"/>
                    <a:pt x="159" y="129"/>
                    <a:pt x="159" y="127"/>
                  </a:cubicBezTo>
                  <a:cubicBezTo>
                    <a:pt x="159" y="124"/>
                    <a:pt x="158" y="116"/>
                    <a:pt x="158" y="114"/>
                  </a:cubicBezTo>
                  <a:cubicBezTo>
                    <a:pt x="159" y="111"/>
                    <a:pt x="155" y="97"/>
                    <a:pt x="153" y="97"/>
                  </a:cubicBezTo>
                  <a:cubicBezTo>
                    <a:pt x="152" y="96"/>
                    <a:pt x="150" y="96"/>
                    <a:pt x="150" y="96"/>
                  </a:cubicBezTo>
                  <a:cubicBezTo>
                    <a:pt x="150" y="96"/>
                    <a:pt x="132" y="91"/>
                    <a:pt x="125" y="89"/>
                  </a:cubicBezTo>
                  <a:cubicBezTo>
                    <a:pt x="124" y="88"/>
                    <a:pt x="123" y="85"/>
                    <a:pt x="122" y="83"/>
                  </a:cubicBezTo>
                  <a:cubicBezTo>
                    <a:pt x="121" y="79"/>
                    <a:pt x="123" y="70"/>
                    <a:pt x="124" y="64"/>
                  </a:cubicBezTo>
                  <a:cubicBezTo>
                    <a:pt x="125" y="59"/>
                    <a:pt x="126" y="52"/>
                    <a:pt x="124" y="46"/>
                  </a:cubicBezTo>
                  <a:cubicBezTo>
                    <a:pt x="122" y="40"/>
                    <a:pt x="120" y="27"/>
                    <a:pt x="114" y="17"/>
                  </a:cubicBezTo>
                  <a:cubicBezTo>
                    <a:pt x="108" y="7"/>
                    <a:pt x="98" y="0"/>
                    <a:pt x="86" y="0"/>
                  </a:cubicBezTo>
                  <a:cubicBezTo>
                    <a:pt x="74" y="1"/>
                    <a:pt x="67" y="12"/>
                    <a:pt x="60" y="24"/>
                  </a:cubicBezTo>
                  <a:cubicBezTo>
                    <a:pt x="52" y="36"/>
                    <a:pt x="53" y="65"/>
                    <a:pt x="50" y="77"/>
                  </a:cubicBezTo>
                  <a:cubicBezTo>
                    <a:pt x="48" y="88"/>
                    <a:pt x="36" y="94"/>
                    <a:pt x="35" y="94"/>
                  </a:cubicBezTo>
                  <a:cubicBezTo>
                    <a:pt x="33" y="95"/>
                    <a:pt x="33" y="95"/>
                    <a:pt x="32" y="95"/>
                  </a:cubicBezTo>
                  <a:cubicBezTo>
                    <a:pt x="32" y="95"/>
                    <a:pt x="29" y="94"/>
                    <a:pt x="28" y="97"/>
                  </a:cubicBezTo>
                  <a:cubicBezTo>
                    <a:pt x="26" y="101"/>
                    <a:pt x="27" y="104"/>
                    <a:pt x="25" y="106"/>
                  </a:cubicBezTo>
                  <a:cubicBezTo>
                    <a:pt x="23" y="107"/>
                    <a:pt x="23" y="113"/>
                    <a:pt x="22" y="118"/>
                  </a:cubicBezTo>
                  <a:cubicBezTo>
                    <a:pt x="21" y="123"/>
                    <a:pt x="20" y="131"/>
                    <a:pt x="19" y="140"/>
                  </a:cubicBezTo>
                  <a:cubicBezTo>
                    <a:pt x="18" y="150"/>
                    <a:pt x="5" y="222"/>
                    <a:pt x="4" y="225"/>
                  </a:cubicBezTo>
                  <a:cubicBezTo>
                    <a:pt x="3" y="228"/>
                    <a:pt x="0" y="230"/>
                    <a:pt x="0" y="234"/>
                  </a:cubicBezTo>
                  <a:cubicBezTo>
                    <a:pt x="0" y="236"/>
                    <a:pt x="2" y="246"/>
                    <a:pt x="3" y="251"/>
                  </a:cubicBezTo>
                  <a:cubicBezTo>
                    <a:pt x="4" y="252"/>
                    <a:pt x="4" y="253"/>
                    <a:pt x="4" y="254"/>
                  </a:cubicBezTo>
                  <a:cubicBezTo>
                    <a:pt x="5" y="255"/>
                    <a:pt x="8" y="257"/>
                    <a:pt x="11" y="259"/>
                  </a:cubicBezTo>
                  <a:cubicBezTo>
                    <a:pt x="11" y="259"/>
                    <a:pt x="12" y="259"/>
                    <a:pt x="13" y="259"/>
                  </a:cubicBezTo>
                  <a:cubicBezTo>
                    <a:pt x="13" y="259"/>
                    <a:pt x="13" y="259"/>
                    <a:pt x="13" y="259"/>
                  </a:cubicBezTo>
                  <a:cubicBezTo>
                    <a:pt x="14" y="259"/>
                    <a:pt x="18" y="259"/>
                    <a:pt x="21" y="259"/>
                  </a:cubicBezTo>
                  <a:cubicBezTo>
                    <a:pt x="23" y="259"/>
                    <a:pt x="24" y="259"/>
                    <a:pt x="24" y="258"/>
                  </a:cubicBezTo>
                  <a:cubicBezTo>
                    <a:pt x="24" y="258"/>
                    <a:pt x="24" y="258"/>
                    <a:pt x="24" y="258"/>
                  </a:cubicBezTo>
                  <a:cubicBezTo>
                    <a:pt x="25" y="257"/>
                    <a:pt x="27" y="251"/>
                    <a:pt x="27" y="251"/>
                  </a:cubicBezTo>
                  <a:cubicBezTo>
                    <a:pt x="30" y="246"/>
                    <a:pt x="30" y="246"/>
                    <a:pt x="30" y="246"/>
                  </a:cubicBezTo>
                  <a:cubicBezTo>
                    <a:pt x="30" y="246"/>
                    <a:pt x="28" y="256"/>
                    <a:pt x="28" y="258"/>
                  </a:cubicBezTo>
                  <a:cubicBezTo>
                    <a:pt x="27" y="260"/>
                    <a:pt x="20" y="291"/>
                    <a:pt x="20" y="291"/>
                  </a:cubicBezTo>
                  <a:cubicBezTo>
                    <a:pt x="20" y="291"/>
                    <a:pt x="26" y="294"/>
                    <a:pt x="28" y="295"/>
                  </a:cubicBezTo>
                  <a:cubicBezTo>
                    <a:pt x="28" y="295"/>
                    <a:pt x="26" y="310"/>
                    <a:pt x="26" y="313"/>
                  </a:cubicBezTo>
                  <a:cubicBezTo>
                    <a:pt x="27" y="315"/>
                    <a:pt x="29" y="317"/>
                    <a:pt x="29" y="319"/>
                  </a:cubicBezTo>
                  <a:cubicBezTo>
                    <a:pt x="30" y="321"/>
                    <a:pt x="31" y="327"/>
                    <a:pt x="31" y="329"/>
                  </a:cubicBezTo>
                  <a:cubicBezTo>
                    <a:pt x="31" y="332"/>
                    <a:pt x="31" y="338"/>
                    <a:pt x="31" y="345"/>
                  </a:cubicBezTo>
                  <a:cubicBezTo>
                    <a:pt x="30" y="352"/>
                    <a:pt x="30" y="375"/>
                    <a:pt x="32" y="381"/>
                  </a:cubicBezTo>
                  <a:cubicBezTo>
                    <a:pt x="35" y="387"/>
                    <a:pt x="36" y="394"/>
                    <a:pt x="36" y="398"/>
                  </a:cubicBezTo>
                  <a:cubicBezTo>
                    <a:pt x="36" y="402"/>
                    <a:pt x="34" y="408"/>
                    <a:pt x="35" y="411"/>
                  </a:cubicBezTo>
                  <a:cubicBezTo>
                    <a:pt x="35" y="414"/>
                    <a:pt x="38" y="416"/>
                    <a:pt x="36" y="419"/>
                  </a:cubicBezTo>
                  <a:cubicBezTo>
                    <a:pt x="34" y="422"/>
                    <a:pt x="35" y="427"/>
                    <a:pt x="35" y="430"/>
                  </a:cubicBezTo>
                  <a:cubicBezTo>
                    <a:pt x="36" y="433"/>
                    <a:pt x="36" y="434"/>
                    <a:pt x="35" y="437"/>
                  </a:cubicBezTo>
                  <a:cubicBezTo>
                    <a:pt x="35" y="439"/>
                    <a:pt x="36" y="450"/>
                    <a:pt x="36" y="455"/>
                  </a:cubicBezTo>
                  <a:cubicBezTo>
                    <a:pt x="37" y="460"/>
                    <a:pt x="39" y="472"/>
                    <a:pt x="41" y="480"/>
                  </a:cubicBezTo>
                  <a:cubicBezTo>
                    <a:pt x="42" y="486"/>
                    <a:pt x="45" y="493"/>
                    <a:pt x="46" y="499"/>
                  </a:cubicBezTo>
                  <a:cubicBezTo>
                    <a:pt x="46" y="499"/>
                    <a:pt x="46" y="500"/>
                    <a:pt x="46" y="501"/>
                  </a:cubicBezTo>
                  <a:cubicBezTo>
                    <a:pt x="46" y="502"/>
                    <a:pt x="46" y="503"/>
                    <a:pt x="46" y="503"/>
                  </a:cubicBezTo>
                  <a:cubicBezTo>
                    <a:pt x="44" y="507"/>
                    <a:pt x="46" y="513"/>
                    <a:pt x="47" y="515"/>
                  </a:cubicBezTo>
                  <a:cubicBezTo>
                    <a:pt x="47" y="518"/>
                    <a:pt x="46" y="520"/>
                    <a:pt x="47" y="523"/>
                  </a:cubicBezTo>
                  <a:cubicBezTo>
                    <a:pt x="49" y="525"/>
                    <a:pt x="53" y="525"/>
                    <a:pt x="54" y="527"/>
                  </a:cubicBezTo>
                  <a:cubicBezTo>
                    <a:pt x="54" y="528"/>
                    <a:pt x="53" y="533"/>
                    <a:pt x="56" y="538"/>
                  </a:cubicBezTo>
                  <a:cubicBezTo>
                    <a:pt x="56" y="538"/>
                    <a:pt x="55" y="539"/>
                    <a:pt x="55" y="539"/>
                  </a:cubicBezTo>
                  <a:cubicBezTo>
                    <a:pt x="55" y="541"/>
                    <a:pt x="54" y="546"/>
                    <a:pt x="54" y="553"/>
                  </a:cubicBezTo>
                  <a:cubicBezTo>
                    <a:pt x="53" y="562"/>
                    <a:pt x="53" y="566"/>
                    <a:pt x="52" y="572"/>
                  </a:cubicBezTo>
                  <a:cubicBezTo>
                    <a:pt x="51" y="578"/>
                    <a:pt x="55" y="584"/>
                    <a:pt x="61" y="586"/>
                  </a:cubicBezTo>
                  <a:cubicBezTo>
                    <a:pt x="68" y="587"/>
                    <a:pt x="72" y="587"/>
                    <a:pt x="76" y="585"/>
                  </a:cubicBezTo>
                  <a:cubicBezTo>
                    <a:pt x="79" y="584"/>
                    <a:pt x="81" y="582"/>
                    <a:pt x="82" y="578"/>
                  </a:cubicBezTo>
                  <a:cubicBezTo>
                    <a:pt x="83" y="580"/>
                    <a:pt x="83" y="581"/>
                    <a:pt x="84" y="582"/>
                  </a:cubicBezTo>
                  <a:cubicBezTo>
                    <a:pt x="88" y="589"/>
                    <a:pt x="97" y="587"/>
                    <a:pt x="104" y="584"/>
                  </a:cubicBezTo>
                  <a:cubicBezTo>
                    <a:pt x="111" y="581"/>
                    <a:pt x="113" y="580"/>
                    <a:pt x="114" y="574"/>
                  </a:cubicBezTo>
                  <a:cubicBezTo>
                    <a:pt x="114" y="568"/>
                    <a:pt x="116" y="558"/>
                    <a:pt x="116" y="552"/>
                  </a:cubicBezTo>
                  <a:cubicBezTo>
                    <a:pt x="116" y="546"/>
                    <a:pt x="115" y="537"/>
                    <a:pt x="115" y="536"/>
                  </a:cubicBezTo>
                  <a:cubicBezTo>
                    <a:pt x="115" y="536"/>
                    <a:pt x="115" y="536"/>
                    <a:pt x="115" y="536"/>
                  </a:cubicBezTo>
                  <a:cubicBezTo>
                    <a:pt x="115" y="535"/>
                    <a:pt x="115" y="535"/>
                    <a:pt x="115" y="535"/>
                  </a:cubicBezTo>
                  <a:cubicBezTo>
                    <a:pt x="115" y="535"/>
                    <a:pt x="115" y="529"/>
                    <a:pt x="115" y="527"/>
                  </a:cubicBezTo>
                  <a:cubicBezTo>
                    <a:pt x="115" y="527"/>
                    <a:pt x="120" y="523"/>
                    <a:pt x="121" y="522"/>
                  </a:cubicBezTo>
                  <a:cubicBezTo>
                    <a:pt x="121" y="521"/>
                    <a:pt x="118" y="513"/>
                    <a:pt x="121" y="505"/>
                  </a:cubicBezTo>
                  <a:cubicBezTo>
                    <a:pt x="124" y="498"/>
                    <a:pt x="126" y="482"/>
                    <a:pt x="129" y="465"/>
                  </a:cubicBezTo>
                  <a:cubicBezTo>
                    <a:pt x="131" y="447"/>
                    <a:pt x="133" y="427"/>
                    <a:pt x="133" y="425"/>
                  </a:cubicBezTo>
                  <a:cubicBezTo>
                    <a:pt x="132" y="423"/>
                    <a:pt x="131" y="419"/>
                    <a:pt x="131" y="417"/>
                  </a:cubicBezTo>
                  <a:cubicBezTo>
                    <a:pt x="131" y="416"/>
                    <a:pt x="131" y="411"/>
                    <a:pt x="131" y="409"/>
                  </a:cubicBezTo>
                  <a:cubicBezTo>
                    <a:pt x="131" y="406"/>
                    <a:pt x="131" y="406"/>
                    <a:pt x="132" y="403"/>
                  </a:cubicBezTo>
                  <a:cubicBezTo>
                    <a:pt x="133" y="400"/>
                    <a:pt x="135" y="386"/>
                    <a:pt x="136" y="377"/>
                  </a:cubicBezTo>
                  <a:cubicBezTo>
                    <a:pt x="137" y="368"/>
                    <a:pt x="139" y="351"/>
                    <a:pt x="139" y="348"/>
                  </a:cubicBezTo>
                  <a:cubicBezTo>
                    <a:pt x="139" y="344"/>
                    <a:pt x="139" y="341"/>
                    <a:pt x="139" y="339"/>
                  </a:cubicBezTo>
                  <a:cubicBezTo>
                    <a:pt x="138" y="337"/>
                    <a:pt x="139" y="333"/>
                    <a:pt x="139" y="331"/>
                  </a:cubicBezTo>
                  <a:cubicBezTo>
                    <a:pt x="139" y="329"/>
                    <a:pt x="140" y="326"/>
                    <a:pt x="140" y="323"/>
                  </a:cubicBezTo>
                  <a:cubicBezTo>
                    <a:pt x="140" y="320"/>
                    <a:pt x="142" y="316"/>
                    <a:pt x="142" y="314"/>
                  </a:cubicBezTo>
                  <a:cubicBezTo>
                    <a:pt x="142" y="312"/>
                    <a:pt x="142" y="311"/>
                    <a:pt x="142" y="309"/>
                  </a:cubicBezTo>
                  <a:cubicBezTo>
                    <a:pt x="142" y="306"/>
                    <a:pt x="143" y="295"/>
                    <a:pt x="143" y="295"/>
                  </a:cubicBezTo>
                  <a:cubicBezTo>
                    <a:pt x="149" y="292"/>
                    <a:pt x="149" y="292"/>
                    <a:pt x="149" y="292"/>
                  </a:cubicBezTo>
                  <a:cubicBezTo>
                    <a:pt x="149" y="292"/>
                    <a:pt x="146" y="263"/>
                    <a:pt x="143" y="253"/>
                  </a:cubicBezTo>
                  <a:cubicBezTo>
                    <a:pt x="143" y="253"/>
                    <a:pt x="148" y="258"/>
                    <a:pt x="150" y="259"/>
                  </a:cubicBezTo>
                  <a:cubicBezTo>
                    <a:pt x="151" y="259"/>
                    <a:pt x="156" y="259"/>
                    <a:pt x="158" y="258"/>
                  </a:cubicBezTo>
                  <a:cubicBezTo>
                    <a:pt x="159" y="258"/>
                    <a:pt x="166" y="254"/>
                    <a:pt x="169" y="245"/>
                  </a:cubicBezTo>
                  <a:cubicBezTo>
                    <a:pt x="173" y="236"/>
                    <a:pt x="173" y="235"/>
                    <a:pt x="171" y="231"/>
                  </a:cubicBezTo>
                  <a:close/>
                  <a:moveTo>
                    <a:pt x="124" y="89"/>
                  </a:moveTo>
                  <a:cubicBezTo>
                    <a:pt x="124" y="89"/>
                    <a:pt x="124" y="88"/>
                    <a:pt x="124" y="88"/>
                  </a:cubicBezTo>
                  <a:cubicBezTo>
                    <a:pt x="122" y="88"/>
                    <a:pt x="118" y="86"/>
                    <a:pt x="117" y="84"/>
                  </a:cubicBezTo>
                  <a:cubicBezTo>
                    <a:pt x="116" y="84"/>
                    <a:pt x="116" y="84"/>
                    <a:pt x="116" y="84"/>
                  </a:cubicBezTo>
                  <a:cubicBezTo>
                    <a:pt x="119" y="86"/>
                    <a:pt x="122" y="87"/>
                    <a:pt x="124" y="89"/>
                  </a:cubicBezTo>
                  <a:close/>
                  <a:moveTo>
                    <a:pt x="83" y="572"/>
                  </a:moveTo>
                  <a:cubicBezTo>
                    <a:pt x="83" y="572"/>
                    <a:pt x="83" y="572"/>
                    <a:pt x="83" y="571"/>
                  </a:cubicBezTo>
                  <a:cubicBezTo>
                    <a:pt x="81" y="564"/>
                    <a:pt x="81" y="556"/>
                    <a:pt x="80" y="552"/>
                  </a:cubicBezTo>
                  <a:cubicBezTo>
                    <a:pt x="79" y="550"/>
                    <a:pt x="79" y="548"/>
                    <a:pt x="78" y="545"/>
                  </a:cubicBezTo>
                  <a:cubicBezTo>
                    <a:pt x="78" y="544"/>
                    <a:pt x="77" y="542"/>
                    <a:pt x="77" y="540"/>
                  </a:cubicBezTo>
                  <a:cubicBezTo>
                    <a:pt x="75" y="534"/>
                    <a:pt x="75" y="529"/>
                    <a:pt x="75" y="528"/>
                  </a:cubicBezTo>
                  <a:cubicBezTo>
                    <a:pt x="75" y="526"/>
                    <a:pt x="74" y="524"/>
                    <a:pt x="74" y="524"/>
                  </a:cubicBezTo>
                  <a:cubicBezTo>
                    <a:pt x="75" y="522"/>
                    <a:pt x="75" y="522"/>
                    <a:pt x="75" y="522"/>
                  </a:cubicBezTo>
                  <a:cubicBezTo>
                    <a:pt x="74" y="517"/>
                    <a:pt x="74" y="517"/>
                    <a:pt x="74" y="517"/>
                  </a:cubicBezTo>
                  <a:cubicBezTo>
                    <a:pt x="74" y="517"/>
                    <a:pt x="76" y="500"/>
                    <a:pt x="75" y="495"/>
                  </a:cubicBezTo>
                  <a:cubicBezTo>
                    <a:pt x="74" y="489"/>
                    <a:pt x="75" y="464"/>
                    <a:pt x="74" y="457"/>
                  </a:cubicBezTo>
                  <a:cubicBezTo>
                    <a:pt x="74" y="451"/>
                    <a:pt x="73" y="448"/>
                    <a:pt x="74" y="446"/>
                  </a:cubicBezTo>
                  <a:cubicBezTo>
                    <a:pt x="74" y="444"/>
                    <a:pt x="72" y="443"/>
                    <a:pt x="72" y="440"/>
                  </a:cubicBezTo>
                  <a:cubicBezTo>
                    <a:pt x="72" y="438"/>
                    <a:pt x="73" y="437"/>
                    <a:pt x="73" y="435"/>
                  </a:cubicBezTo>
                  <a:cubicBezTo>
                    <a:pt x="73" y="433"/>
                    <a:pt x="71" y="432"/>
                    <a:pt x="72" y="430"/>
                  </a:cubicBezTo>
                  <a:cubicBezTo>
                    <a:pt x="73" y="427"/>
                    <a:pt x="74" y="426"/>
                    <a:pt x="74" y="424"/>
                  </a:cubicBezTo>
                  <a:cubicBezTo>
                    <a:pt x="74" y="422"/>
                    <a:pt x="73" y="418"/>
                    <a:pt x="74" y="416"/>
                  </a:cubicBezTo>
                  <a:cubicBezTo>
                    <a:pt x="74" y="414"/>
                    <a:pt x="76" y="403"/>
                    <a:pt x="76" y="396"/>
                  </a:cubicBezTo>
                  <a:cubicBezTo>
                    <a:pt x="77" y="388"/>
                    <a:pt x="76" y="378"/>
                    <a:pt x="77" y="376"/>
                  </a:cubicBezTo>
                  <a:cubicBezTo>
                    <a:pt x="78" y="373"/>
                    <a:pt x="79" y="368"/>
                    <a:pt x="80" y="363"/>
                  </a:cubicBezTo>
                  <a:cubicBezTo>
                    <a:pt x="80" y="358"/>
                    <a:pt x="81" y="340"/>
                    <a:pt x="82" y="336"/>
                  </a:cubicBezTo>
                  <a:cubicBezTo>
                    <a:pt x="83" y="331"/>
                    <a:pt x="85" y="324"/>
                    <a:pt x="86" y="325"/>
                  </a:cubicBezTo>
                  <a:cubicBezTo>
                    <a:pt x="87" y="325"/>
                    <a:pt x="86" y="334"/>
                    <a:pt x="86" y="336"/>
                  </a:cubicBezTo>
                  <a:cubicBezTo>
                    <a:pt x="87" y="338"/>
                    <a:pt x="90" y="344"/>
                    <a:pt x="90" y="349"/>
                  </a:cubicBezTo>
                  <a:cubicBezTo>
                    <a:pt x="90" y="353"/>
                    <a:pt x="90" y="361"/>
                    <a:pt x="90" y="364"/>
                  </a:cubicBezTo>
                  <a:cubicBezTo>
                    <a:pt x="90" y="366"/>
                    <a:pt x="91" y="375"/>
                    <a:pt x="91" y="378"/>
                  </a:cubicBezTo>
                  <a:cubicBezTo>
                    <a:pt x="91" y="381"/>
                    <a:pt x="93" y="386"/>
                    <a:pt x="92" y="389"/>
                  </a:cubicBezTo>
                  <a:cubicBezTo>
                    <a:pt x="92" y="392"/>
                    <a:pt x="93" y="400"/>
                    <a:pt x="93" y="402"/>
                  </a:cubicBezTo>
                  <a:cubicBezTo>
                    <a:pt x="94" y="404"/>
                    <a:pt x="93" y="412"/>
                    <a:pt x="94" y="415"/>
                  </a:cubicBezTo>
                  <a:cubicBezTo>
                    <a:pt x="95" y="418"/>
                    <a:pt x="98" y="421"/>
                    <a:pt x="96" y="423"/>
                  </a:cubicBezTo>
                  <a:cubicBezTo>
                    <a:pt x="95" y="425"/>
                    <a:pt x="94" y="428"/>
                    <a:pt x="95" y="431"/>
                  </a:cubicBezTo>
                  <a:cubicBezTo>
                    <a:pt x="96" y="434"/>
                    <a:pt x="97" y="437"/>
                    <a:pt x="96" y="439"/>
                  </a:cubicBezTo>
                  <a:cubicBezTo>
                    <a:pt x="95" y="442"/>
                    <a:pt x="95" y="446"/>
                    <a:pt x="95" y="448"/>
                  </a:cubicBezTo>
                  <a:cubicBezTo>
                    <a:pt x="94" y="450"/>
                    <a:pt x="93" y="458"/>
                    <a:pt x="93" y="463"/>
                  </a:cubicBezTo>
                  <a:cubicBezTo>
                    <a:pt x="92" y="467"/>
                    <a:pt x="92" y="493"/>
                    <a:pt x="93" y="500"/>
                  </a:cubicBezTo>
                  <a:cubicBezTo>
                    <a:pt x="94" y="506"/>
                    <a:pt x="94" y="507"/>
                    <a:pt x="94" y="509"/>
                  </a:cubicBezTo>
                  <a:cubicBezTo>
                    <a:pt x="95" y="511"/>
                    <a:pt x="94" y="514"/>
                    <a:pt x="94" y="516"/>
                  </a:cubicBezTo>
                  <a:cubicBezTo>
                    <a:pt x="94" y="519"/>
                    <a:pt x="93" y="523"/>
                    <a:pt x="93" y="523"/>
                  </a:cubicBezTo>
                  <a:cubicBezTo>
                    <a:pt x="95" y="525"/>
                    <a:pt x="95" y="525"/>
                    <a:pt x="95" y="525"/>
                  </a:cubicBezTo>
                  <a:cubicBezTo>
                    <a:pt x="95" y="525"/>
                    <a:pt x="95" y="529"/>
                    <a:pt x="94" y="531"/>
                  </a:cubicBezTo>
                  <a:cubicBezTo>
                    <a:pt x="94" y="534"/>
                    <a:pt x="93" y="538"/>
                    <a:pt x="93" y="539"/>
                  </a:cubicBezTo>
                  <a:cubicBezTo>
                    <a:pt x="92" y="541"/>
                    <a:pt x="91" y="544"/>
                    <a:pt x="91" y="546"/>
                  </a:cubicBezTo>
                  <a:cubicBezTo>
                    <a:pt x="91" y="546"/>
                    <a:pt x="91" y="547"/>
                    <a:pt x="91" y="547"/>
                  </a:cubicBezTo>
                  <a:cubicBezTo>
                    <a:pt x="90" y="550"/>
                    <a:pt x="88" y="554"/>
                    <a:pt x="87" y="557"/>
                  </a:cubicBezTo>
                  <a:cubicBezTo>
                    <a:pt x="87" y="559"/>
                    <a:pt x="84" y="566"/>
                    <a:pt x="83" y="572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2" name="Freeform 121">
              <a:extLst>
                <a:ext uri="{FF2B5EF4-FFF2-40B4-BE49-F238E27FC236}">
                  <a16:creationId xmlns:a16="http://schemas.microsoft.com/office/drawing/2014/main" id="{2E73829E-040D-4EE8-85AB-5183B40FA6FD}"/>
                </a:ext>
              </a:extLst>
            </p:cNvPr>
            <p:cNvSpPr>
              <a:spLocks/>
            </p:cNvSpPr>
            <p:nvPr/>
          </p:nvSpPr>
          <p:spPr bwMode="gray">
            <a:xfrm>
              <a:off x="1415125" y="4097899"/>
              <a:ext cx="206286" cy="787894"/>
            </a:xfrm>
            <a:custGeom>
              <a:avLst/>
              <a:gdLst>
                <a:gd name="T0" fmla="*/ 162 w 169"/>
                <a:gd name="T1" fmla="*/ 124 h 643"/>
                <a:gd name="T2" fmla="*/ 130 w 169"/>
                <a:gd name="T3" fmla="*/ 105 h 643"/>
                <a:gd name="T4" fmla="*/ 117 w 169"/>
                <a:gd name="T5" fmla="*/ 89 h 643"/>
                <a:gd name="T6" fmla="*/ 125 w 169"/>
                <a:gd name="T7" fmla="*/ 70 h 643"/>
                <a:gd name="T8" fmla="*/ 128 w 169"/>
                <a:gd name="T9" fmla="*/ 68 h 643"/>
                <a:gd name="T10" fmla="*/ 135 w 169"/>
                <a:gd name="T11" fmla="*/ 55 h 643"/>
                <a:gd name="T12" fmla="*/ 133 w 169"/>
                <a:gd name="T13" fmla="*/ 46 h 643"/>
                <a:gd name="T14" fmla="*/ 119 w 169"/>
                <a:gd name="T15" fmla="*/ 4 h 643"/>
                <a:gd name="T16" fmla="*/ 76 w 169"/>
                <a:gd name="T17" fmla="*/ 38 h 643"/>
                <a:gd name="T18" fmla="*/ 74 w 169"/>
                <a:gd name="T19" fmla="*/ 48 h 643"/>
                <a:gd name="T20" fmla="*/ 76 w 169"/>
                <a:gd name="T21" fmla="*/ 61 h 643"/>
                <a:gd name="T22" fmla="*/ 79 w 169"/>
                <a:gd name="T23" fmla="*/ 72 h 643"/>
                <a:gd name="T24" fmla="*/ 81 w 169"/>
                <a:gd name="T25" fmla="*/ 84 h 643"/>
                <a:gd name="T26" fmla="*/ 66 w 169"/>
                <a:gd name="T27" fmla="*/ 100 h 643"/>
                <a:gd name="T28" fmla="*/ 42 w 169"/>
                <a:gd name="T29" fmla="*/ 113 h 643"/>
                <a:gd name="T30" fmla="*/ 20 w 169"/>
                <a:gd name="T31" fmla="*/ 152 h 643"/>
                <a:gd name="T32" fmla="*/ 2 w 169"/>
                <a:gd name="T33" fmla="*/ 244 h 643"/>
                <a:gd name="T34" fmla="*/ 6 w 169"/>
                <a:gd name="T35" fmla="*/ 267 h 643"/>
                <a:gd name="T36" fmla="*/ 25 w 169"/>
                <a:gd name="T37" fmla="*/ 262 h 643"/>
                <a:gd name="T38" fmla="*/ 41 w 169"/>
                <a:gd name="T39" fmla="*/ 251 h 643"/>
                <a:gd name="T40" fmla="*/ 33 w 169"/>
                <a:gd name="T41" fmla="*/ 286 h 643"/>
                <a:gd name="T42" fmla="*/ 29 w 169"/>
                <a:gd name="T43" fmla="*/ 309 h 643"/>
                <a:gd name="T44" fmla="*/ 30 w 169"/>
                <a:gd name="T45" fmla="*/ 333 h 643"/>
                <a:gd name="T46" fmla="*/ 35 w 169"/>
                <a:gd name="T47" fmla="*/ 375 h 643"/>
                <a:gd name="T48" fmla="*/ 39 w 169"/>
                <a:gd name="T49" fmla="*/ 429 h 643"/>
                <a:gd name="T50" fmla="*/ 40 w 169"/>
                <a:gd name="T51" fmla="*/ 459 h 643"/>
                <a:gd name="T52" fmla="*/ 41 w 169"/>
                <a:gd name="T53" fmla="*/ 486 h 643"/>
                <a:gd name="T54" fmla="*/ 44 w 169"/>
                <a:gd name="T55" fmla="*/ 549 h 643"/>
                <a:gd name="T56" fmla="*/ 37 w 169"/>
                <a:gd name="T57" fmla="*/ 577 h 643"/>
                <a:gd name="T58" fmla="*/ 30 w 169"/>
                <a:gd name="T59" fmla="*/ 588 h 643"/>
                <a:gd name="T60" fmla="*/ 21 w 169"/>
                <a:gd name="T61" fmla="*/ 603 h 643"/>
                <a:gd name="T62" fmla="*/ 32 w 169"/>
                <a:gd name="T63" fmla="*/ 608 h 643"/>
                <a:gd name="T64" fmla="*/ 57 w 169"/>
                <a:gd name="T65" fmla="*/ 590 h 643"/>
                <a:gd name="T66" fmla="*/ 64 w 169"/>
                <a:gd name="T67" fmla="*/ 583 h 643"/>
                <a:gd name="T68" fmla="*/ 77 w 169"/>
                <a:gd name="T69" fmla="*/ 582 h 643"/>
                <a:gd name="T70" fmla="*/ 77 w 169"/>
                <a:gd name="T71" fmla="*/ 558 h 643"/>
                <a:gd name="T72" fmla="*/ 81 w 169"/>
                <a:gd name="T73" fmla="*/ 555 h 643"/>
                <a:gd name="T74" fmla="*/ 80 w 169"/>
                <a:gd name="T75" fmla="*/ 453 h 643"/>
                <a:gd name="T76" fmla="*/ 87 w 169"/>
                <a:gd name="T77" fmla="*/ 406 h 643"/>
                <a:gd name="T78" fmla="*/ 92 w 169"/>
                <a:gd name="T79" fmla="*/ 396 h 643"/>
                <a:gd name="T80" fmla="*/ 94 w 169"/>
                <a:gd name="T81" fmla="*/ 409 h 643"/>
                <a:gd name="T82" fmla="*/ 99 w 169"/>
                <a:gd name="T83" fmla="*/ 472 h 643"/>
                <a:gd name="T84" fmla="*/ 97 w 169"/>
                <a:gd name="T85" fmla="*/ 510 h 643"/>
                <a:gd name="T86" fmla="*/ 89 w 169"/>
                <a:gd name="T87" fmla="*/ 574 h 643"/>
                <a:gd name="T88" fmla="*/ 93 w 169"/>
                <a:gd name="T89" fmla="*/ 607 h 643"/>
                <a:gd name="T90" fmla="*/ 90 w 169"/>
                <a:gd name="T91" fmla="*/ 626 h 643"/>
                <a:gd name="T92" fmla="*/ 108 w 169"/>
                <a:gd name="T93" fmla="*/ 641 h 643"/>
                <a:gd name="T94" fmla="*/ 119 w 169"/>
                <a:gd name="T95" fmla="*/ 600 h 643"/>
                <a:gd name="T96" fmla="*/ 121 w 169"/>
                <a:gd name="T97" fmla="*/ 595 h 643"/>
                <a:gd name="T98" fmla="*/ 138 w 169"/>
                <a:gd name="T99" fmla="*/ 515 h 643"/>
                <a:gd name="T100" fmla="*/ 150 w 169"/>
                <a:gd name="T101" fmla="*/ 410 h 643"/>
                <a:gd name="T102" fmla="*/ 151 w 169"/>
                <a:gd name="T103" fmla="*/ 281 h 643"/>
                <a:gd name="T104" fmla="*/ 165 w 169"/>
                <a:gd name="T105" fmla="*/ 248 h 643"/>
                <a:gd name="T106" fmla="*/ 168 w 169"/>
                <a:gd name="T107" fmla="*/ 142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9" h="643">
                  <a:moveTo>
                    <a:pt x="168" y="142"/>
                  </a:moveTo>
                  <a:cubicBezTo>
                    <a:pt x="168" y="132"/>
                    <a:pt x="167" y="127"/>
                    <a:pt x="162" y="124"/>
                  </a:cubicBezTo>
                  <a:cubicBezTo>
                    <a:pt x="157" y="122"/>
                    <a:pt x="148" y="117"/>
                    <a:pt x="145" y="114"/>
                  </a:cubicBezTo>
                  <a:cubicBezTo>
                    <a:pt x="142" y="112"/>
                    <a:pt x="132" y="107"/>
                    <a:pt x="130" y="105"/>
                  </a:cubicBezTo>
                  <a:cubicBezTo>
                    <a:pt x="128" y="103"/>
                    <a:pt x="122" y="91"/>
                    <a:pt x="121" y="90"/>
                  </a:cubicBezTo>
                  <a:cubicBezTo>
                    <a:pt x="121" y="89"/>
                    <a:pt x="119" y="89"/>
                    <a:pt x="117" y="89"/>
                  </a:cubicBezTo>
                  <a:cubicBezTo>
                    <a:pt x="118" y="83"/>
                    <a:pt x="118" y="82"/>
                    <a:pt x="119" y="81"/>
                  </a:cubicBezTo>
                  <a:cubicBezTo>
                    <a:pt x="121" y="80"/>
                    <a:pt x="124" y="75"/>
                    <a:pt x="125" y="70"/>
                  </a:cubicBezTo>
                  <a:cubicBezTo>
                    <a:pt x="125" y="70"/>
                    <a:pt x="126" y="70"/>
                    <a:pt x="127" y="70"/>
                  </a:cubicBezTo>
                  <a:cubicBezTo>
                    <a:pt x="128" y="70"/>
                    <a:pt x="128" y="68"/>
                    <a:pt x="128" y="68"/>
                  </a:cubicBezTo>
                  <a:cubicBezTo>
                    <a:pt x="128" y="68"/>
                    <a:pt x="129" y="68"/>
                    <a:pt x="131" y="63"/>
                  </a:cubicBezTo>
                  <a:cubicBezTo>
                    <a:pt x="132" y="59"/>
                    <a:pt x="134" y="56"/>
                    <a:pt x="135" y="55"/>
                  </a:cubicBezTo>
                  <a:cubicBezTo>
                    <a:pt x="137" y="53"/>
                    <a:pt x="137" y="47"/>
                    <a:pt x="135" y="46"/>
                  </a:cubicBezTo>
                  <a:cubicBezTo>
                    <a:pt x="133" y="46"/>
                    <a:pt x="133" y="46"/>
                    <a:pt x="133" y="46"/>
                  </a:cubicBezTo>
                  <a:cubicBezTo>
                    <a:pt x="133" y="46"/>
                    <a:pt x="136" y="34"/>
                    <a:pt x="134" y="25"/>
                  </a:cubicBezTo>
                  <a:cubicBezTo>
                    <a:pt x="131" y="15"/>
                    <a:pt x="127" y="9"/>
                    <a:pt x="119" y="4"/>
                  </a:cubicBezTo>
                  <a:cubicBezTo>
                    <a:pt x="112" y="0"/>
                    <a:pt x="90" y="0"/>
                    <a:pt x="82" y="15"/>
                  </a:cubicBezTo>
                  <a:cubicBezTo>
                    <a:pt x="75" y="29"/>
                    <a:pt x="76" y="38"/>
                    <a:pt x="76" y="38"/>
                  </a:cubicBezTo>
                  <a:cubicBezTo>
                    <a:pt x="76" y="38"/>
                    <a:pt x="74" y="38"/>
                    <a:pt x="73" y="42"/>
                  </a:cubicBezTo>
                  <a:cubicBezTo>
                    <a:pt x="72" y="45"/>
                    <a:pt x="75" y="47"/>
                    <a:pt x="74" y="48"/>
                  </a:cubicBezTo>
                  <a:cubicBezTo>
                    <a:pt x="74" y="50"/>
                    <a:pt x="74" y="53"/>
                    <a:pt x="75" y="56"/>
                  </a:cubicBezTo>
                  <a:cubicBezTo>
                    <a:pt x="75" y="59"/>
                    <a:pt x="75" y="61"/>
                    <a:pt x="76" y="61"/>
                  </a:cubicBezTo>
                  <a:cubicBezTo>
                    <a:pt x="77" y="61"/>
                    <a:pt x="76" y="62"/>
                    <a:pt x="77" y="63"/>
                  </a:cubicBezTo>
                  <a:cubicBezTo>
                    <a:pt x="77" y="63"/>
                    <a:pt x="77" y="68"/>
                    <a:pt x="79" y="72"/>
                  </a:cubicBezTo>
                  <a:cubicBezTo>
                    <a:pt x="81" y="75"/>
                    <a:pt x="81" y="77"/>
                    <a:pt x="82" y="79"/>
                  </a:cubicBezTo>
                  <a:cubicBezTo>
                    <a:pt x="82" y="80"/>
                    <a:pt x="82" y="82"/>
                    <a:pt x="81" y="84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76" y="85"/>
                    <a:pt x="69" y="94"/>
                    <a:pt x="66" y="100"/>
                  </a:cubicBezTo>
                  <a:cubicBezTo>
                    <a:pt x="66" y="100"/>
                    <a:pt x="64" y="103"/>
                    <a:pt x="61" y="104"/>
                  </a:cubicBezTo>
                  <a:cubicBezTo>
                    <a:pt x="58" y="105"/>
                    <a:pt x="45" y="111"/>
                    <a:pt x="42" y="113"/>
                  </a:cubicBezTo>
                  <a:cubicBezTo>
                    <a:pt x="39" y="114"/>
                    <a:pt x="31" y="115"/>
                    <a:pt x="29" y="117"/>
                  </a:cubicBezTo>
                  <a:cubicBezTo>
                    <a:pt x="28" y="118"/>
                    <a:pt x="21" y="143"/>
                    <a:pt x="20" y="152"/>
                  </a:cubicBezTo>
                  <a:cubicBezTo>
                    <a:pt x="19" y="159"/>
                    <a:pt x="11" y="229"/>
                    <a:pt x="9" y="245"/>
                  </a:cubicBezTo>
                  <a:cubicBezTo>
                    <a:pt x="6" y="245"/>
                    <a:pt x="2" y="244"/>
                    <a:pt x="2" y="244"/>
                  </a:cubicBezTo>
                  <a:cubicBezTo>
                    <a:pt x="2" y="244"/>
                    <a:pt x="1" y="245"/>
                    <a:pt x="1" y="248"/>
                  </a:cubicBezTo>
                  <a:cubicBezTo>
                    <a:pt x="0" y="251"/>
                    <a:pt x="5" y="262"/>
                    <a:pt x="6" y="267"/>
                  </a:cubicBezTo>
                  <a:cubicBezTo>
                    <a:pt x="8" y="271"/>
                    <a:pt x="14" y="277"/>
                    <a:pt x="14" y="277"/>
                  </a:cubicBezTo>
                  <a:cubicBezTo>
                    <a:pt x="25" y="262"/>
                    <a:pt x="25" y="262"/>
                    <a:pt x="25" y="262"/>
                  </a:cubicBezTo>
                  <a:cubicBezTo>
                    <a:pt x="24" y="250"/>
                    <a:pt x="24" y="250"/>
                    <a:pt x="24" y="250"/>
                  </a:cubicBezTo>
                  <a:cubicBezTo>
                    <a:pt x="29" y="250"/>
                    <a:pt x="35" y="250"/>
                    <a:pt x="41" y="251"/>
                  </a:cubicBezTo>
                  <a:cubicBezTo>
                    <a:pt x="40" y="252"/>
                    <a:pt x="40" y="254"/>
                    <a:pt x="40" y="254"/>
                  </a:cubicBezTo>
                  <a:cubicBezTo>
                    <a:pt x="40" y="254"/>
                    <a:pt x="34" y="281"/>
                    <a:pt x="33" y="286"/>
                  </a:cubicBezTo>
                  <a:cubicBezTo>
                    <a:pt x="31" y="291"/>
                    <a:pt x="31" y="295"/>
                    <a:pt x="31" y="296"/>
                  </a:cubicBezTo>
                  <a:cubicBezTo>
                    <a:pt x="32" y="297"/>
                    <a:pt x="29" y="305"/>
                    <a:pt x="29" y="309"/>
                  </a:cubicBezTo>
                  <a:cubicBezTo>
                    <a:pt x="29" y="312"/>
                    <a:pt x="29" y="319"/>
                    <a:pt x="29" y="322"/>
                  </a:cubicBezTo>
                  <a:cubicBezTo>
                    <a:pt x="28" y="324"/>
                    <a:pt x="29" y="330"/>
                    <a:pt x="30" y="333"/>
                  </a:cubicBezTo>
                  <a:cubicBezTo>
                    <a:pt x="30" y="336"/>
                    <a:pt x="28" y="338"/>
                    <a:pt x="30" y="345"/>
                  </a:cubicBezTo>
                  <a:cubicBezTo>
                    <a:pt x="31" y="353"/>
                    <a:pt x="34" y="372"/>
                    <a:pt x="35" y="375"/>
                  </a:cubicBezTo>
                  <a:cubicBezTo>
                    <a:pt x="36" y="379"/>
                    <a:pt x="34" y="391"/>
                    <a:pt x="33" y="396"/>
                  </a:cubicBezTo>
                  <a:cubicBezTo>
                    <a:pt x="33" y="402"/>
                    <a:pt x="36" y="416"/>
                    <a:pt x="39" y="429"/>
                  </a:cubicBezTo>
                  <a:cubicBezTo>
                    <a:pt x="42" y="443"/>
                    <a:pt x="44" y="445"/>
                    <a:pt x="44" y="445"/>
                  </a:cubicBezTo>
                  <a:cubicBezTo>
                    <a:pt x="44" y="445"/>
                    <a:pt x="41" y="454"/>
                    <a:pt x="40" y="459"/>
                  </a:cubicBezTo>
                  <a:cubicBezTo>
                    <a:pt x="39" y="460"/>
                    <a:pt x="39" y="461"/>
                    <a:pt x="40" y="461"/>
                  </a:cubicBezTo>
                  <a:cubicBezTo>
                    <a:pt x="40" y="465"/>
                    <a:pt x="40" y="475"/>
                    <a:pt x="41" y="486"/>
                  </a:cubicBezTo>
                  <a:cubicBezTo>
                    <a:pt x="41" y="497"/>
                    <a:pt x="44" y="520"/>
                    <a:pt x="44" y="527"/>
                  </a:cubicBezTo>
                  <a:cubicBezTo>
                    <a:pt x="44" y="534"/>
                    <a:pt x="44" y="544"/>
                    <a:pt x="44" y="549"/>
                  </a:cubicBezTo>
                  <a:cubicBezTo>
                    <a:pt x="44" y="555"/>
                    <a:pt x="46" y="557"/>
                    <a:pt x="46" y="557"/>
                  </a:cubicBezTo>
                  <a:cubicBezTo>
                    <a:pt x="46" y="557"/>
                    <a:pt x="38" y="576"/>
                    <a:pt x="37" y="577"/>
                  </a:cubicBezTo>
                  <a:cubicBezTo>
                    <a:pt x="37" y="578"/>
                    <a:pt x="37" y="579"/>
                    <a:pt x="36" y="580"/>
                  </a:cubicBezTo>
                  <a:cubicBezTo>
                    <a:pt x="34" y="582"/>
                    <a:pt x="31" y="586"/>
                    <a:pt x="30" y="588"/>
                  </a:cubicBezTo>
                  <a:cubicBezTo>
                    <a:pt x="29" y="590"/>
                    <a:pt x="25" y="596"/>
                    <a:pt x="25" y="597"/>
                  </a:cubicBezTo>
                  <a:cubicBezTo>
                    <a:pt x="24" y="598"/>
                    <a:pt x="22" y="601"/>
                    <a:pt x="21" y="603"/>
                  </a:cubicBezTo>
                  <a:cubicBezTo>
                    <a:pt x="20" y="605"/>
                    <a:pt x="22" y="607"/>
                    <a:pt x="24" y="607"/>
                  </a:cubicBezTo>
                  <a:cubicBezTo>
                    <a:pt x="25" y="607"/>
                    <a:pt x="29" y="608"/>
                    <a:pt x="32" y="608"/>
                  </a:cubicBezTo>
                  <a:cubicBezTo>
                    <a:pt x="35" y="607"/>
                    <a:pt x="50" y="605"/>
                    <a:pt x="53" y="603"/>
                  </a:cubicBezTo>
                  <a:cubicBezTo>
                    <a:pt x="55" y="600"/>
                    <a:pt x="55" y="595"/>
                    <a:pt x="57" y="590"/>
                  </a:cubicBezTo>
                  <a:cubicBezTo>
                    <a:pt x="58" y="586"/>
                    <a:pt x="63" y="579"/>
                    <a:pt x="63" y="579"/>
                  </a:cubicBezTo>
                  <a:cubicBezTo>
                    <a:pt x="64" y="583"/>
                    <a:pt x="64" y="583"/>
                    <a:pt x="64" y="583"/>
                  </a:cubicBezTo>
                  <a:cubicBezTo>
                    <a:pt x="64" y="583"/>
                    <a:pt x="67" y="584"/>
                    <a:pt x="68" y="586"/>
                  </a:cubicBezTo>
                  <a:cubicBezTo>
                    <a:pt x="68" y="586"/>
                    <a:pt x="77" y="585"/>
                    <a:pt x="77" y="582"/>
                  </a:cubicBezTo>
                  <a:cubicBezTo>
                    <a:pt x="78" y="579"/>
                    <a:pt x="76" y="573"/>
                    <a:pt x="76" y="569"/>
                  </a:cubicBezTo>
                  <a:cubicBezTo>
                    <a:pt x="76" y="565"/>
                    <a:pt x="77" y="559"/>
                    <a:pt x="77" y="558"/>
                  </a:cubicBezTo>
                  <a:cubicBezTo>
                    <a:pt x="77" y="558"/>
                    <a:pt x="77" y="558"/>
                    <a:pt x="77" y="558"/>
                  </a:cubicBezTo>
                  <a:cubicBezTo>
                    <a:pt x="81" y="555"/>
                    <a:pt x="81" y="555"/>
                    <a:pt x="81" y="555"/>
                  </a:cubicBezTo>
                  <a:cubicBezTo>
                    <a:pt x="81" y="555"/>
                    <a:pt x="81" y="523"/>
                    <a:pt x="81" y="506"/>
                  </a:cubicBezTo>
                  <a:cubicBezTo>
                    <a:pt x="81" y="490"/>
                    <a:pt x="79" y="457"/>
                    <a:pt x="80" y="453"/>
                  </a:cubicBezTo>
                  <a:cubicBezTo>
                    <a:pt x="81" y="450"/>
                    <a:pt x="87" y="427"/>
                    <a:pt x="87" y="419"/>
                  </a:cubicBezTo>
                  <a:cubicBezTo>
                    <a:pt x="87" y="416"/>
                    <a:pt x="87" y="410"/>
                    <a:pt x="87" y="406"/>
                  </a:cubicBezTo>
                  <a:cubicBezTo>
                    <a:pt x="87" y="404"/>
                    <a:pt x="87" y="403"/>
                    <a:pt x="87" y="403"/>
                  </a:cubicBezTo>
                  <a:cubicBezTo>
                    <a:pt x="88" y="402"/>
                    <a:pt x="92" y="396"/>
                    <a:pt x="92" y="396"/>
                  </a:cubicBezTo>
                  <a:cubicBezTo>
                    <a:pt x="92" y="396"/>
                    <a:pt x="92" y="396"/>
                    <a:pt x="92" y="396"/>
                  </a:cubicBezTo>
                  <a:cubicBezTo>
                    <a:pt x="92" y="396"/>
                    <a:pt x="93" y="406"/>
                    <a:pt x="94" y="409"/>
                  </a:cubicBezTo>
                  <a:cubicBezTo>
                    <a:pt x="95" y="411"/>
                    <a:pt x="97" y="446"/>
                    <a:pt x="97" y="451"/>
                  </a:cubicBezTo>
                  <a:cubicBezTo>
                    <a:pt x="97" y="457"/>
                    <a:pt x="99" y="469"/>
                    <a:pt x="99" y="472"/>
                  </a:cubicBezTo>
                  <a:cubicBezTo>
                    <a:pt x="100" y="474"/>
                    <a:pt x="97" y="493"/>
                    <a:pt x="96" y="498"/>
                  </a:cubicBezTo>
                  <a:cubicBezTo>
                    <a:pt x="95" y="503"/>
                    <a:pt x="97" y="509"/>
                    <a:pt x="97" y="510"/>
                  </a:cubicBezTo>
                  <a:cubicBezTo>
                    <a:pt x="97" y="512"/>
                    <a:pt x="95" y="526"/>
                    <a:pt x="93" y="532"/>
                  </a:cubicBezTo>
                  <a:cubicBezTo>
                    <a:pt x="91" y="538"/>
                    <a:pt x="89" y="561"/>
                    <a:pt x="89" y="574"/>
                  </a:cubicBezTo>
                  <a:cubicBezTo>
                    <a:pt x="89" y="588"/>
                    <a:pt x="92" y="597"/>
                    <a:pt x="92" y="597"/>
                  </a:cubicBezTo>
                  <a:cubicBezTo>
                    <a:pt x="92" y="597"/>
                    <a:pt x="93" y="606"/>
                    <a:pt x="93" y="607"/>
                  </a:cubicBezTo>
                  <a:cubicBezTo>
                    <a:pt x="93" y="607"/>
                    <a:pt x="92" y="610"/>
                    <a:pt x="92" y="613"/>
                  </a:cubicBezTo>
                  <a:cubicBezTo>
                    <a:pt x="91" y="618"/>
                    <a:pt x="90" y="625"/>
                    <a:pt x="90" y="626"/>
                  </a:cubicBezTo>
                  <a:cubicBezTo>
                    <a:pt x="89" y="629"/>
                    <a:pt x="87" y="637"/>
                    <a:pt x="93" y="640"/>
                  </a:cubicBezTo>
                  <a:cubicBezTo>
                    <a:pt x="99" y="643"/>
                    <a:pt x="102" y="643"/>
                    <a:pt x="108" y="641"/>
                  </a:cubicBezTo>
                  <a:cubicBezTo>
                    <a:pt x="114" y="639"/>
                    <a:pt x="120" y="635"/>
                    <a:pt x="120" y="631"/>
                  </a:cubicBezTo>
                  <a:cubicBezTo>
                    <a:pt x="121" y="627"/>
                    <a:pt x="119" y="605"/>
                    <a:pt x="119" y="600"/>
                  </a:cubicBezTo>
                  <a:cubicBezTo>
                    <a:pt x="119" y="600"/>
                    <a:pt x="119" y="600"/>
                    <a:pt x="119" y="599"/>
                  </a:cubicBezTo>
                  <a:cubicBezTo>
                    <a:pt x="119" y="599"/>
                    <a:pt x="120" y="596"/>
                    <a:pt x="121" y="595"/>
                  </a:cubicBezTo>
                  <a:cubicBezTo>
                    <a:pt x="122" y="594"/>
                    <a:pt x="125" y="574"/>
                    <a:pt x="127" y="566"/>
                  </a:cubicBezTo>
                  <a:cubicBezTo>
                    <a:pt x="129" y="558"/>
                    <a:pt x="136" y="523"/>
                    <a:pt x="138" y="515"/>
                  </a:cubicBezTo>
                  <a:cubicBezTo>
                    <a:pt x="140" y="508"/>
                    <a:pt x="142" y="496"/>
                    <a:pt x="143" y="478"/>
                  </a:cubicBezTo>
                  <a:cubicBezTo>
                    <a:pt x="144" y="460"/>
                    <a:pt x="149" y="423"/>
                    <a:pt x="150" y="410"/>
                  </a:cubicBezTo>
                  <a:cubicBezTo>
                    <a:pt x="151" y="398"/>
                    <a:pt x="157" y="341"/>
                    <a:pt x="157" y="331"/>
                  </a:cubicBezTo>
                  <a:cubicBezTo>
                    <a:pt x="157" y="321"/>
                    <a:pt x="159" y="305"/>
                    <a:pt x="151" y="281"/>
                  </a:cubicBezTo>
                  <a:cubicBezTo>
                    <a:pt x="145" y="261"/>
                    <a:pt x="141" y="252"/>
                    <a:pt x="140" y="249"/>
                  </a:cubicBezTo>
                  <a:cubicBezTo>
                    <a:pt x="154" y="248"/>
                    <a:pt x="164" y="248"/>
                    <a:pt x="165" y="248"/>
                  </a:cubicBezTo>
                  <a:cubicBezTo>
                    <a:pt x="166" y="247"/>
                    <a:pt x="167" y="200"/>
                    <a:pt x="167" y="195"/>
                  </a:cubicBezTo>
                  <a:cubicBezTo>
                    <a:pt x="168" y="189"/>
                    <a:pt x="169" y="151"/>
                    <a:pt x="168" y="142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3" name="Freeform 122">
              <a:extLst>
                <a:ext uri="{FF2B5EF4-FFF2-40B4-BE49-F238E27FC236}">
                  <a16:creationId xmlns:a16="http://schemas.microsoft.com/office/drawing/2014/main" id="{6CA80021-BE76-48E5-AB8B-4F4114DF4D6C}"/>
                </a:ext>
              </a:extLst>
            </p:cNvPr>
            <p:cNvSpPr>
              <a:spLocks/>
            </p:cNvSpPr>
            <p:nvPr/>
          </p:nvSpPr>
          <p:spPr bwMode="gray">
            <a:xfrm>
              <a:off x="1372206" y="4211444"/>
              <a:ext cx="279663" cy="228476"/>
            </a:xfrm>
            <a:custGeom>
              <a:avLst/>
              <a:gdLst>
                <a:gd name="T0" fmla="*/ 118 w 228"/>
                <a:gd name="T1" fmla="*/ 152 h 186"/>
                <a:gd name="T2" fmla="*/ 112 w 228"/>
                <a:gd name="T3" fmla="*/ 166 h 186"/>
                <a:gd name="T4" fmla="*/ 116 w 228"/>
                <a:gd name="T5" fmla="*/ 178 h 186"/>
                <a:gd name="T6" fmla="*/ 117 w 228"/>
                <a:gd name="T7" fmla="*/ 186 h 186"/>
                <a:gd name="T8" fmla="*/ 117 w 228"/>
                <a:gd name="T9" fmla="*/ 186 h 186"/>
                <a:gd name="T10" fmla="*/ 50 w 228"/>
                <a:gd name="T11" fmla="*/ 186 h 186"/>
                <a:gd name="T12" fmla="*/ 43 w 228"/>
                <a:gd name="T13" fmla="*/ 179 h 186"/>
                <a:gd name="T14" fmla="*/ 42 w 228"/>
                <a:gd name="T15" fmla="*/ 112 h 186"/>
                <a:gd name="T16" fmla="*/ 42 w 228"/>
                <a:gd name="T17" fmla="*/ 112 h 186"/>
                <a:gd name="T18" fmla="*/ 34 w 228"/>
                <a:gd name="T19" fmla="*/ 113 h 186"/>
                <a:gd name="T20" fmla="*/ 8 w 228"/>
                <a:gd name="T21" fmla="*/ 111 h 186"/>
                <a:gd name="T22" fmla="*/ 0 w 228"/>
                <a:gd name="T23" fmla="*/ 95 h 186"/>
                <a:gd name="T24" fmla="*/ 0 w 228"/>
                <a:gd name="T25" fmla="*/ 94 h 186"/>
                <a:gd name="T26" fmla="*/ 0 w 228"/>
                <a:gd name="T27" fmla="*/ 93 h 186"/>
                <a:gd name="T28" fmla="*/ 8 w 228"/>
                <a:gd name="T29" fmla="*/ 77 h 186"/>
                <a:gd name="T30" fmla="*/ 34 w 228"/>
                <a:gd name="T31" fmla="*/ 74 h 186"/>
                <a:gd name="T32" fmla="*/ 42 w 228"/>
                <a:gd name="T33" fmla="*/ 76 h 186"/>
                <a:gd name="T34" fmla="*/ 42 w 228"/>
                <a:gd name="T35" fmla="*/ 75 h 186"/>
                <a:gd name="T36" fmla="*/ 42 w 228"/>
                <a:gd name="T37" fmla="*/ 8 h 186"/>
                <a:gd name="T38" fmla="*/ 49 w 228"/>
                <a:gd name="T39" fmla="*/ 1 h 186"/>
                <a:gd name="T40" fmla="*/ 116 w 228"/>
                <a:gd name="T41" fmla="*/ 1 h 186"/>
                <a:gd name="T42" fmla="*/ 116 w 228"/>
                <a:gd name="T43" fmla="*/ 1 h 186"/>
                <a:gd name="T44" fmla="*/ 115 w 228"/>
                <a:gd name="T45" fmla="*/ 9 h 186"/>
                <a:gd name="T46" fmla="*/ 112 w 228"/>
                <a:gd name="T47" fmla="*/ 20 h 186"/>
                <a:gd name="T48" fmla="*/ 117 w 228"/>
                <a:gd name="T49" fmla="*/ 35 h 186"/>
                <a:gd name="T50" fmla="*/ 135 w 228"/>
                <a:gd name="T51" fmla="*/ 43 h 186"/>
                <a:gd name="T52" fmla="*/ 152 w 228"/>
                <a:gd name="T53" fmla="*/ 35 h 186"/>
                <a:gd name="T54" fmla="*/ 158 w 228"/>
                <a:gd name="T55" fmla="*/ 20 h 186"/>
                <a:gd name="T56" fmla="*/ 154 w 228"/>
                <a:gd name="T57" fmla="*/ 8 h 186"/>
                <a:gd name="T58" fmla="*/ 153 w 228"/>
                <a:gd name="T59" fmla="*/ 1 h 186"/>
                <a:gd name="T60" fmla="*/ 153 w 228"/>
                <a:gd name="T61" fmla="*/ 0 h 186"/>
                <a:gd name="T62" fmla="*/ 220 w 228"/>
                <a:gd name="T63" fmla="*/ 0 h 186"/>
                <a:gd name="T64" fmla="*/ 227 w 228"/>
                <a:gd name="T65" fmla="*/ 7 h 186"/>
                <a:gd name="T66" fmla="*/ 228 w 228"/>
                <a:gd name="T67" fmla="*/ 74 h 186"/>
                <a:gd name="T68" fmla="*/ 227 w 228"/>
                <a:gd name="T69" fmla="*/ 75 h 186"/>
                <a:gd name="T70" fmla="*/ 220 w 228"/>
                <a:gd name="T71" fmla="*/ 73 h 186"/>
                <a:gd name="T72" fmla="*/ 193 w 228"/>
                <a:gd name="T73" fmla="*/ 76 h 186"/>
                <a:gd name="T74" fmla="*/ 185 w 228"/>
                <a:gd name="T75" fmla="*/ 92 h 186"/>
                <a:gd name="T76" fmla="*/ 185 w 228"/>
                <a:gd name="T77" fmla="*/ 93 h 186"/>
                <a:gd name="T78" fmla="*/ 185 w 228"/>
                <a:gd name="T79" fmla="*/ 94 h 186"/>
                <a:gd name="T80" fmla="*/ 193 w 228"/>
                <a:gd name="T81" fmla="*/ 110 h 186"/>
                <a:gd name="T82" fmla="*/ 220 w 228"/>
                <a:gd name="T83" fmla="*/ 112 h 186"/>
                <a:gd name="T84" fmla="*/ 227 w 228"/>
                <a:gd name="T85" fmla="*/ 111 h 186"/>
                <a:gd name="T86" fmla="*/ 228 w 228"/>
                <a:gd name="T87" fmla="*/ 111 h 186"/>
                <a:gd name="T88" fmla="*/ 228 w 228"/>
                <a:gd name="T89" fmla="*/ 178 h 186"/>
                <a:gd name="T90" fmla="*/ 221 w 228"/>
                <a:gd name="T91" fmla="*/ 186 h 186"/>
                <a:gd name="T92" fmla="*/ 154 w 228"/>
                <a:gd name="T93" fmla="*/ 186 h 186"/>
                <a:gd name="T94" fmla="*/ 153 w 228"/>
                <a:gd name="T95" fmla="*/ 186 h 186"/>
                <a:gd name="T96" fmla="*/ 155 w 228"/>
                <a:gd name="T97" fmla="*/ 178 h 186"/>
                <a:gd name="T98" fmla="*/ 158 w 228"/>
                <a:gd name="T99" fmla="*/ 166 h 186"/>
                <a:gd name="T100" fmla="*/ 153 w 228"/>
                <a:gd name="T101" fmla="*/ 152 h 186"/>
                <a:gd name="T102" fmla="*/ 135 w 228"/>
                <a:gd name="T103" fmla="*/ 144 h 186"/>
                <a:gd name="T104" fmla="*/ 118 w 228"/>
                <a:gd name="T105" fmla="*/ 15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8" h="186">
                  <a:moveTo>
                    <a:pt x="118" y="152"/>
                  </a:moveTo>
                  <a:cubicBezTo>
                    <a:pt x="114" y="156"/>
                    <a:pt x="112" y="161"/>
                    <a:pt x="112" y="166"/>
                  </a:cubicBezTo>
                  <a:cubicBezTo>
                    <a:pt x="112" y="171"/>
                    <a:pt x="114" y="175"/>
                    <a:pt x="116" y="178"/>
                  </a:cubicBezTo>
                  <a:cubicBezTo>
                    <a:pt x="119" y="182"/>
                    <a:pt x="119" y="184"/>
                    <a:pt x="117" y="186"/>
                  </a:cubicBezTo>
                  <a:cubicBezTo>
                    <a:pt x="117" y="186"/>
                    <a:pt x="117" y="186"/>
                    <a:pt x="117" y="186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46" y="186"/>
                    <a:pt x="43" y="183"/>
                    <a:pt x="43" y="179"/>
                  </a:cubicBezTo>
                  <a:cubicBezTo>
                    <a:pt x="42" y="112"/>
                    <a:pt x="42" y="112"/>
                    <a:pt x="42" y="112"/>
                  </a:cubicBezTo>
                  <a:cubicBezTo>
                    <a:pt x="42" y="112"/>
                    <a:pt x="42" y="112"/>
                    <a:pt x="42" y="112"/>
                  </a:cubicBezTo>
                  <a:cubicBezTo>
                    <a:pt x="41" y="110"/>
                    <a:pt x="38" y="111"/>
                    <a:pt x="34" y="113"/>
                  </a:cubicBezTo>
                  <a:cubicBezTo>
                    <a:pt x="28" y="117"/>
                    <a:pt x="18" y="119"/>
                    <a:pt x="8" y="111"/>
                  </a:cubicBezTo>
                  <a:cubicBezTo>
                    <a:pt x="1" y="105"/>
                    <a:pt x="0" y="98"/>
                    <a:pt x="0" y="95"/>
                  </a:cubicBezTo>
                  <a:cubicBezTo>
                    <a:pt x="0" y="94"/>
                    <a:pt x="0" y="94"/>
                    <a:pt x="0" y="94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90"/>
                    <a:pt x="1" y="82"/>
                    <a:pt x="8" y="77"/>
                  </a:cubicBezTo>
                  <a:cubicBezTo>
                    <a:pt x="18" y="68"/>
                    <a:pt x="28" y="70"/>
                    <a:pt x="34" y="74"/>
                  </a:cubicBezTo>
                  <a:cubicBezTo>
                    <a:pt x="38" y="77"/>
                    <a:pt x="41" y="77"/>
                    <a:pt x="42" y="76"/>
                  </a:cubicBezTo>
                  <a:cubicBezTo>
                    <a:pt x="42" y="75"/>
                    <a:pt x="42" y="75"/>
                    <a:pt x="42" y="75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2" y="4"/>
                    <a:pt x="45" y="1"/>
                    <a:pt x="49" y="1"/>
                  </a:cubicBezTo>
                  <a:cubicBezTo>
                    <a:pt x="116" y="1"/>
                    <a:pt x="116" y="1"/>
                    <a:pt x="116" y="1"/>
                  </a:cubicBezTo>
                  <a:cubicBezTo>
                    <a:pt x="116" y="1"/>
                    <a:pt x="116" y="1"/>
                    <a:pt x="116" y="1"/>
                  </a:cubicBezTo>
                  <a:cubicBezTo>
                    <a:pt x="118" y="2"/>
                    <a:pt x="118" y="5"/>
                    <a:pt x="115" y="9"/>
                  </a:cubicBezTo>
                  <a:cubicBezTo>
                    <a:pt x="113" y="12"/>
                    <a:pt x="112" y="16"/>
                    <a:pt x="112" y="20"/>
                  </a:cubicBezTo>
                  <a:cubicBezTo>
                    <a:pt x="112" y="25"/>
                    <a:pt x="114" y="30"/>
                    <a:pt x="117" y="35"/>
                  </a:cubicBezTo>
                  <a:cubicBezTo>
                    <a:pt x="124" y="43"/>
                    <a:pt x="133" y="43"/>
                    <a:pt x="135" y="43"/>
                  </a:cubicBezTo>
                  <a:cubicBezTo>
                    <a:pt x="136" y="43"/>
                    <a:pt x="145" y="43"/>
                    <a:pt x="152" y="35"/>
                  </a:cubicBezTo>
                  <a:cubicBezTo>
                    <a:pt x="156" y="30"/>
                    <a:pt x="158" y="25"/>
                    <a:pt x="158" y="20"/>
                  </a:cubicBezTo>
                  <a:cubicBezTo>
                    <a:pt x="157" y="16"/>
                    <a:pt x="156" y="12"/>
                    <a:pt x="154" y="8"/>
                  </a:cubicBezTo>
                  <a:cubicBezTo>
                    <a:pt x="151" y="5"/>
                    <a:pt x="151" y="2"/>
                    <a:pt x="153" y="1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4" y="0"/>
                    <a:pt x="227" y="3"/>
                    <a:pt x="227" y="7"/>
                  </a:cubicBezTo>
                  <a:cubicBezTo>
                    <a:pt x="228" y="74"/>
                    <a:pt x="228" y="74"/>
                    <a:pt x="228" y="74"/>
                  </a:cubicBezTo>
                  <a:cubicBezTo>
                    <a:pt x="227" y="75"/>
                    <a:pt x="227" y="75"/>
                    <a:pt x="227" y="75"/>
                  </a:cubicBezTo>
                  <a:cubicBezTo>
                    <a:pt x="226" y="76"/>
                    <a:pt x="223" y="76"/>
                    <a:pt x="220" y="73"/>
                  </a:cubicBezTo>
                  <a:cubicBezTo>
                    <a:pt x="214" y="69"/>
                    <a:pt x="203" y="67"/>
                    <a:pt x="193" y="76"/>
                  </a:cubicBezTo>
                  <a:cubicBezTo>
                    <a:pt x="186" y="82"/>
                    <a:pt x="185" y="89"/>
                    <a:pt x="185" y="92"/>
                  </a:cubicBezTo>
                  <a:cubicBezTo>
                    <a:pt x="185" y="93"/>
                    <a:pt x="185" y="93"/>
                    <a:pt x="185" y="93"/>
                  </a:cubicBezTo>
                  <a:cubicBezTo>
                    <a:pt x="185" y="93"/>
                    <a:pt x="185" y="93"/>
                    <a:pt x="185" y="94"/>
                  </a:cubicBezTo>
                  <a:cubicBezTo>
                    <a:pt x="185" y="97"/>
                    <a:pt x="186" y="105"/>
                    <a:pt x="193" y="110"/>
                  </a:cubicBezTo>
                  <a:cubicBezTo>
                    <a:pt x="203" y="118"/>
                    <a:pt x="214" y="116"/>
                    <a:pt x="220" y="112"/>
                  </a:cubicBezTo>
                  <a:cubicBezTo>
                    <a:pt x="223" y="110"/>
                    <a:pt x="226" y="109"/>
                    <a:pt x="227" y="111"/>
                  </a:cubicBezTo>
                  <a:cubicBezTo>
                    <a:pt x="228" y="111"/>
                    <a:pt x="228" y="111"/>
                    <a:pt x="228" y="111"/>
                  </a:cubicBezTo>
                  <a:cubicBezTo>
                    <a:pt x="228" y="178"/>
                    <a:pt x="228" y="178"/>
                    <a:pt x="228" y="178"/>
                  </a:cubicBezTo>
                  <a:cubicBezTo>
                    <a:pt x="228" y="182"/>
                    <a:pt x="225" y="186"/>
                    <a:pt x="221" y="186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53" y="186"/>
                    <a:pt x="153" y="186"/>
                    <a:pt x="153" y="186"/>
                  </a:cubicBezTo>
                  <a:cubicBezTo>
                    <a:pt x="152" y="184"/>
                    <a:pt x="152" y="182"/>
                    <a:pt x="155" y="178"/>
                  </a:cubicBezTo>
                  <a:cubicBezTo>
                    <a:pt x="157" y="175"/>
                    <a:pt x="158" y="170"/>
                    <a:pt x="158" y="166"/>
                  </a:cubicBezTo>
                  <a:cubicBezTo>
                    <a:pt x="158" y="161"/>
                    <a:pt x="156" y="156"/>
                    <a:pt x="153" y="152"/>
                  </a:cubicBezTo>
                  <a:cubicBezTo>
                    <a:pt x="146" y="144"/>
                    <a:pt x="137" y="144"/>
                    <a:pt x="135" y="144"/>
                  </a:cubicBezTo>
                  <a:cubicBezTo>
                    <a:pt x="133" y="144"/>
                    <a:pt x="124" y="144"/>
                    <a:pt x="118" y="1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4" name="Freeform 123">
              <a:extLst>
                <a:ext uri="{FF2B5EF4-FFF2-40B4-BE49-F238E27FC236}">
                  <a16:creationId xmlns:a16="http://schemas.microsoft.com/office/drawing/2014/main" id="{72D21F7C-804C-4375-83A0-21AC5A654A66}"/>
                </a:ext>
              </a:extLst>
            </p:cNvPr>
            <p:cNvSpPr>
              <a:spLocks/>
            </p:cNvSpPr>
            <p:nvPr/>
          </p:nvSpPr>
          <p:spPr bwMode="gray">
            <a:xfrm>
              <a:off x="786576" y="4234984"/>
              <a:ext cx="293507" cy="314327"/>
            </a:xfrm>
            <a:custGeom>
              <a:avLst/>
              <a:gdLst>
                <a:gd name="T0" fmla="*/ 150 w 240"/>
                <a:gd name="T1" fmla="*/ 6 h 256"/>
                <a:gd name="T2" fmla="*/ 140 w 240"/>
                <a:gd name="T3" fmla="*/ 17 h 256"/>
                <a:gd name="T4" fmla="*/ 140 w 240"/>
                <a:gd name="T5" fmla="*/ 29 h 256"/>
                <a:gd name="T6" fmla="*/ 139 w 240"/>
                <a:gd name="T7" fmla="*/ 37 h 256"/>
                <a:gd name="T8" fmla="*/ 138 w 240"/>
                <a:gd name="T9" fmla="*/ 37 h 256"/>
                <a:gd name="T10" fmla="*/ 77 w 240"/>
                <a:gd name="T11" fmla="*/ 16 h 256"/>
                <a:gd name="T12" fmla="*/ 68 w 240"/>
                <a:gd name="T13" fmla="*/ 21 h 256"/>
                <a:gd name="T14" fmla="*/ 47 w 240"/>
                <a:gd name="T15" fmla="*/ 82 h 256"/>
                <a:gd name="T16" fmla="*/ 47 w 240"/>
                <a:gd name="T17" fmla="*/ 83 h 256"/>
                <a:gd name="T18" fmla="*/ 40 w 240"/>
                <a:gd name="T19" fmla="*/ 79 h 256"/>
                <a:gd name="T20" fmla="*/ 15 w 240"/>
                <a:gd name="T21" fmla="*/ 73 h 256"/>
                <a:gd name="T22" fmla="*/ 3 w 240"/>
                <a:gd name="T23" fmla="*/ 86 h 256"/>
                <a:gd name="T24" fmla="*/ 3 w 240"/>
                <a:gd name="T25" fmla="*/ 87 h 256"/>
                <a:gd name="T26" fmla="*/ 2 w 240"/>
                <a:gd name="T27" fmla="*/ 87 h 256"/>
                <a:gd name="T28" fmla="*/ 4 w 240"/>
                <a:gd name="T29" fmla="*/ 105 h 256"/>
                <a:gd name="T30" fmla="*/ 28 w 240"/>
                <a:gd name="T31" fmla="*/ 115 h 256"/>
                <a:gd name="T32" fmla="*/ 36 w 240"/>
                <a:gd name="T33" fmla="*/ 116 h 256"/>
                <a:gd name="T34" fmla="*/ 36 w 240"/>
                <a:gd name="T35" fmla="*/ 117 h 256"/>
                <a:gd name="T36" fmla="*/ 15 w 240"/>
                <a:gd name="T37" fmla="*/ 178 h 256"/>
                <a:gd name="T38" fmla="*/ 20 w 240"/>
                <a:gd name="T39" fmla="*/ 187 h 256"/>
                <a:gd name="T40" fmla="*/ 81 w 240"/>
                <a:gd name="T41" fmla="*/ 208 h 256"/>
                <a:gd name="T42" fmla="*/ 82 w 240"/>
                <a:gd name="T43" fmla="*/ 208 h 256"/>
                <a:gd name="T44" fmla="*/ 78 w 240"/>
                <a:gd name="T45" fmla="*/ 215 h 256"/>
                <a:gd name="T46" fmla="*/ 71 w 240"/>
                <a:gd name="T47" fmla="*/ 224 h 256"/>
                <a:gd name="T48" fmla="*/ 72 w 240"/>
                <a:gd name="T49" fmla="*/ 240 h 256"/>
                <a:gd name="T50" fmla="*/ 86 w 240"/>
                <a:gd name="T51" fmla="*/ 252 h 256"/>
                <a:gd name="T52" fmla="*/ 104 w 240"/>
                <a:gd name="T53" fmla="*/ 250 h 256"/>
                <a:gd name="T54" fmla="*/ 114 w 240"/>
                <a:gd name="T55" fmla="*/ 239 h 256"/>
                <a:gd name="T56" fmla="*/ 114 w 240"/>
                <a:gd name="T57" fmla="*/ 227 h 256"/>
                <a:gd name="T58" fmla="*/ 115 w 240"/>
                <a:gd name="T59" fmla="*/ 219 h 256"/>
                <a:gd name="T60" fmla="*/ 116 w 240"/>
                <a:gd name="T61" fmla="*/ 219 h 256"/>
                <a:gd name="T62" fmla="*/ 177 w 240"/>
                <a:gd name="T63" fmla="*/ 240 h 256"/>
                <a:gd name="T64" fmla="*/ 186 w 240"/>
                <a:gd name="T65" fmla="*/ 235 h 256"/>
                <a:gd name="T66" fmla="*/ 207 w 240"/>
                <a:gd name="T67" fmla="*/ 173 h 256"/>
                <a:gd name="T68" fmla="*/ 206 w 240"/>
                <a:gd name="T69" fmla="*/ 173 h 256"/>
                <a:gd name="T70" fmla="*/ 199 w 240"/>
                <a:gd name="T71" fmla="*/ 172 h 256"/>
                <a:gd name="T72" fmla="*/ 175 w 240"/>
                <a:gd name="T73" fmla="*/ 162 h 256"/>
                <a:gd name="T74" fmla="*/ 173 w 240"/>
                <a:gd name="T75" fmla="*/ 144 h 256"/>
                <a:gd name="T76" fmla="*/ 173 w 240"/>
                <a:gd name="T77" fmla="*/ 143 h 256"/>
                <a:gd name="T78" fmla="*/ 174 w 240"/>
                <a:gd name="T79" fmla="*/ 143 h 256"/>
                <a:gd name="T80" fmla="*/ 186 w 240"/>
                <a:gd name="T81" fmla="*/ 130 h 256"/>
                <a:gd name="T82" fmla="*/ 211 w 240"/>
                <a:gd name="T83" fmla="*/ 136 h 256"/>
                <a:gd name="T84" fmla="*/ 217 w 240"/>
                <a:gd name="T85" fmla="*/ 140 h 256"/>
                <a:gd name="T86" fmla="*/ 218 w 240"/>
                <a:gd name="T87" fmla="*/ 139 h 256"/>
                <a:gd name="T88" fmla="*/ 238 w 240"/>
                <a:gd name="T89" fmla="*/ 78 h 256"/>
                <a:gd name="T90" fmla="*/ 234 w 240"/>
                <a:gd name="T91" fmla="*/ 69 h 256"/>
                <a:gd name="T92" fmla="*/ 172 w 240"/>
                <a:gd name="T93" fmla="*/ 48 h 256"/>
                <a:gd name="T94" fmla="*/ 172 w 240"/>
                <a:gd name="T95" fmla="*/ 48 h 256"/>
                <a:gd name="T96" fmla="*/ 176 w 240"/>
                <a:gd name="T97" fmla="*/ 41 h 256"/>
                <a:gd name="T98" fmla="*/ 182 w 240"/>
                <a:gd name="T99" fmla="*/ 31 h 256"/>
                <a:gd name="T100" fmla="*/ 182 w 240"/>
                <a:gd name="T101" fmla="*/ 16 h 256"/>
                <a:gd name="T102" fmla="*/ 168 w 240"/>
                <a:gd name="T103" fmla="*/ 4 h 256"/>
                <a:gd name="T104" fmla="*/ 150 w 240"/>
                <a:gd name="T105" fmla="*/ 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0" h="256">
                  <a:moveTo>
                    <a:pt x="150" y="6"/>
                  </a:moveTo>
                  <a:cubicBezTo>
                    <a:pt x="145" y="9"/>
                    <a:pt x="142" y="13"/>
                    <a:pt x="140" y="17"/>
                  </a:cubicBezTo>
                  <a:cubicBezTo>
                    <a:pt x="139" y="21"/>
                    <a:pt x="139" y="25"/>
                    <a:pt x="140" y="29"/>
                  </a:cubicBezTo>
                  <a:cubicBezTo>
                    <a:pt x="141" y="33"/>
                    <a:pt x="141" y="36"/>
                    <a:pt x="139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77" y="16"/>
                    <a:pt x="77" y="16"/>
                    <a:pt x="77" y="16"/>
                  </a:cubicBezTo>
                  <a:cubicBezTo>
                    <a:pt x="73" y="15"/>
                    <a:pt x="69" y="17"/>
                    <a:pt x="68" y="21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5" y="84"/>
                    <a:pt x="43" y="83"/>
                    <a:pt x="40" y="79"/>
                  </a:cubicBezTo>
                  <a:cubicBezTo>
                    <a:pt x="36" y="74"/>
                    <a:pt x="27" y="69"/>
                    <a:pt x="15" y="73"/>
                  </a:cubicBezTo>
                  <a:cubicBezTo>
                    <a:pt x="7" y="76"/>
                    <a:pt x="4" y="83"/>
                    <a:pt x="3" y="86"/>
                  </a:cubicBezTo>
                  <a:cubicBezTo>
                    <a:pt x="3" y="86"/>
                    <a:pt x="3" y="87"/>
                    <a:pt x="3" y="87"/>
                  </a:cubicBezTo>
                  <a:cubicBezTo>
                    <a:pt x="2" y="87"/>
                    <a:pt x="2" y="87"/>
                    <a:pt x="2" y="87"/>
                  </a:cubicBezTo>
                  <a:cubicBezTo>
                    <a:pt x="1" y="90"/>
                    <a:pt x="0" y="98"/>
                    <a:pt x="4" y="105"/>
                  </a:cubicBezTo>
                  <a:cubicBezTo>
                    <a:pt x="11" y="116"/>
                    <a:pt x="21" y="117"/>
                    <a:pt x="28" y="115"/>
                  </a:cubicBezTo>
                  <a:cubicBezTo>
                    <a:pt x="32" y="114"/>
                    <a:pt x="35" y="114"/>
                    <a:pt x="36" y="116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15" y="178"/>
                    <a:pt x="15" y="178"/>
                    <a:pt x="15" y="178"/>
                  </a:cubicBezTo>
                  <a:cubicBezTo>
                    <a:pt x="14" y="182"/>
                    <a:pt x="16" y="186"/>
                    <a:pt x="20" y="187"/>
                  </a:cubicBezTo>
                  <a:cubicBezTo>
                    <a:pt x="81" y="208"/>
                    <a:pt x="81" y="208"/>
                    <a:pt x="81" y="208"/>
                  </a:cubicBezTo>
                  <a:cubicBezTo>
                    <a:pt x="82" y="208"/>
                    <a:pt x="82" y="208"/>
                    <a:pt x="82" y="208"/>
                  </a:cubicBezTo>
                  <a:cubicBezTo>
                    <a:pt x="83" y="210"/>
                    <a:pt x="82" y="212"/>
                    <a:pt x="78" y="215"/>
                  </a:cubicBezTo>
                  <a:cubicBezTo>
                    <a:pt x="75" y="217"/>
                    <a:pt x="73" y="221"/>
                    <a:pt x="71" y="224"/>
                  </a:cubicBezTo>
                  <a:cubicBezTo>
                    <a:pt x="70" y="229"/>
                    <a:pt x="70" y="234"/>
                    <a:pt x="72" y="240"/>
                  </a:cubicBezTo>
                  <a:cubicBezTo>
                    <a:pt x="76" y="249"/>
                    <a:pt x="84" y="252"/>
                    <a:pt x="86" y="252"/>
                  </a:cubicBezTo>
                  <a:cubicBezTo>
                    <a:pt x="87" y="253"/>
                    <a:pt x="95" y="256"/>
                    <a:pt x="104" y="250"/>
                  </a:cubicBezTo>
                  <a:cubicBezTo>
                    <a:pt x="109" y="247"/>
                    <a:pt x="112" y="243"/>
                    <a:pt x="114" y="239"/>
                  </a:cubicBezTo>
                  <a:cubicBezTo>
                    <a:pt x="115" y="235"/>
                    <a:pt x="115" y="230"/>
                    <a:pt x="114" y="227"/>
                  </a:cubicBezTo>
                  <a:cubicBezTo>
                    <a:pt x="113" y="223"/>
                    <a:pt x="113" y="220"/>
                    <a:pt x="115" y="219"/>
                  </a:cubicBezTo>
                  <a:cubicBezTo>
                    <a:pt x="116" y="219"/>
                    <a:pt x="116" y="219"/>
                    <a:pt x="116" y="219"/>
                  </a:cubicBezTo>
                  <a:cubicBezTo>
                    <a:pt x="177" y="240"/>
                    <a:pt x="177" y="240"/>
                    <a:pt x="177" y="240"/>
                  </a:cubicBezTo>
                  <a:cubicBezTo>
                    <a:pt x="181" y="241"/>
                    <a:pt x="185" y="239"/>
                    <a:pt x="186" y="235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6" y="173"/>
                    <a:pt x="206" y="173"/>
                    <a:pt x="206" y="173"/>
                  </a:cubicBezTo>
                  <a:cubicBezTo>
                    <a:pt x="206" y="171"/>
                    <a:pt x="203" y="171"/>
                    <a:pt x="199" y="172"/>
                  </a:cubicBezTo>
                  <a:cubicBezTo>
                    <a:pt x="192" y="174"/>
                    <a:pt x="182" y="172"/>
                    <a:pt x="175" y="162"/>
                  </a:cubicBezTo>
                  <a:cubicBezTo>
                    <a:pt x="171" y="154"/>
                    <a:pt x="172" y="147"/>
                    <a:pt x="173" y="144"/>
                  </a:cubicBezTo>
                  <a:cubicBezTo>
                    <a:pt x="173" y="144"/>
                    <a:pt x="173" y="144"/>
                    <a:pt x="173" y="143"/>
                  </a:cubicBezTo>
                  <a:cubicBezTo>
                    <a:pt x="173" y="143"/>
                    <a:pt x="174" y="143"/>
                    <a:pt x="174" y="143"/>
                  </a:cubicBezTo>
                  <a:cubicBezTo>
                    <a:pt x="175" y="140"/>
                    <a:pt x="178" y="133"/>
                    <a:pt x="186" y="130"/>
                  </a:cubicBezTo>
                  <a:cubicBezTo>
                    <a:pt x="198" y="125"/>
                    <a:pt x="207" y="130"/>
                    <a:pt x="211" y="136"/>
                  </a:cubicBezTo>
                  <a:cubicBezTo>
                    <a:pt x="213" y="140"/>
                    <a:pt x="216" y="141"/>
                    <a:pt x="217" y="140"/>
                  </a:cubicBezTo>
                  <a:cubicBezTo>
                    <a:pt x="218" y="139"/>
                    <a:pt x="218" y="139"/>
                    <a:pt x="218" y="139"/>
                  </a:cubicBezTo>
                  <a:cubicBezTo>
                    <a:pt x="238" y="78"/>
                    <a:pt x="238" y="78"/>
                    <a:pt x="238" y="78"/>
                  </a:cubicBezTo>
                  <a:cubicBezTo>
                    <a:pt x="240" y="74"/>
                    <a:pt x="238" y="70"/>
                    <a:pt x="234" y="69"/>
                  </a:cubicBezTo>
                  <a:cubicBezTo>
                    <a:pt x="172" y="48"/>
                    <a:pt x="172" y="48"/>
                    <a:pt x="172" y="48"/>
                  </a:cubicBezTo>
                  <a:cubicBezTo>
                    <a:pt x="172" y="48"/>
                    <a:pt x="172" y="48"/>
                    <a:pt x="172" y="48"/>
                  </a:cubicBezTo>
                  <a:cubicBezTo>
                    <a:pt x="171" y="46"/>
                    <a:pt x="172" y="44"/>
                    <a:pt x="176" y="41"/>
                  </a:cubicBezTo>
                  <a:cubicBezTo>
                    <a:pt x="179" y="39"/>
                    <a:pt x="181" y="35"/>
                    <a:pt x="182" y="31"/>
                  </a:cubicBezTo>
                  <a:cubicBezTo>
                    <a:pt x="184" y="27"/>
                    <a:pt x="184" y="22"/>
                    <a:pt x="182" y="16"/>
                  </a:cubicBezTo>
                  <a:cubicBezTo>
                    <a:pt x="178" y="7"/>
                    <a:pt x="170" y="4"/>
                    <a:pt x="168" y="4"/>
                  </a:cubicBezTo>
                  <a:cubicBezTo>
                    <a:pt x="167" y="3"/>
                    <a:pt x="158" y="0"/>
                    <a:pt x="150" y="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5" name="Freeform 124">
              <a:extLst>
                <a:ext uri="{FF2B5EF4-FFF2-40B4-BE49-F238E27FC236}">
                  <a16:creationId xmlns:a16="http://schemas.microsoft.com/office/drawing/2014/main" id="{AB6A095A-3BBC-40DD-8E9D-4E3E7BFFA823}"/>
                </a:ext>
              </a:extLst>
            </p:cNvPr>
            <p:cNvSpPr>
              <a:spLocks/>
            </p:cNvSpPr>
            <p:nvPr/>
          </p:nvSpPr>
          <p:spPr bwMode="gray">
            <a:xfrm>
              <a:off x="1415125" y="4390071"/>
              <a:ext cx="19382" cy="54004"/>
            </a:xfrm>
            <a:custGeom>
              <a:avLst/>
              <a:gdLst>
                <a:gd name="T0" fmla="*/ 15 w 16"/>
                <a:gd name="T1" fmla="*/ 3 h 44"/>
                <a:gd name="T2" fmla="*/ 10 w 16"/>
                <a:gd name="T3" fmla="*/ 1 h 44"/>
                <a:gd name="T4" fmla="*/ 4 w 16"/>
                <a:gd name="T5" fmla="*/ 4 h 44"/>
                <a:gd name="T6" fmla="*/ 1 w 16"/>
                <a:gd name="T7" fmla="*/ 9 h 44"/>
                <a:gd name="T8" fmla="*/ 5 w 16"/>
                <a:gd name="T9" fmla="*/ 14 h 44"/>
                <a:gd name="T10" fmla="*/ 4 w 16"/>
                <a:gd name="T11" fmla="*/ 15 h 44"/>
                <a:gd name="T12" fmla="*/ 1 w 16"/>
                <a:gd name="T13" fmla="*/ 17 h 44"/>
                <a:gd name="T14" fmla="*/ 1 w 16"/>
                <a:gd name="T15" fmla="*/ 22 h 44"/>
                <a:gd name="T16" fmla="*/ 5 w 16"/>
                <a:gd name="T17" fmla="*/ 24 h 44"/>
                <a:gd name="T18" fmla="*/ 4 w 16"/>
                <a:gd name="T19" fmla="*/ 25 h 44"/>
                <a:gd name="T20" fmla="*/ 0 w 16"/>
                <a:gd name="T21" fmla="*/ 27 h 44"/>
                <a:gd name="T22" fmla="*/ 3 w 16"/>
                <a:gd name="T23" fmla="*/ 32 h 44"/>
                <a:gd name="T24" fmla="*/ 8 w 16"/>
                <a:gd name="T25" fmla="*/ 32 h 44"/>
                <a:gd name="T26" fmla="*/ 8 w 16"/>
                <a:gd name="T27" fmla="*/ 35 h 44"/>
                <a:gd name="T28" fmla="*/ 7 w 16"/>
                <a:gd name="T29" fmla="*/ 39 h 44"/>
                <a:gd name="T30" fmla="*/ 8 w 16"/>
                <a:gd name="T31" fmla="*/ 43 h 44"/>
                <a:gd name="T32" fmla="*/ 11 w 16"/>
                <a:gd name="T33" fmla="*/ 44 h 44"/>
                <a:gd name="T34" fmla="*/ 12 w 16"/>
                <a:gd name="T35" fmla="*/ 42 h 44"/>
                <a:gd name="T36" fmla="*/ 12 w 16"/>
                <a:gd name="T37" fmla="*/ 39 h 44"/>
                <a:gd name="T38" fmla="*/ 10 w 16"/>
                <a:gd name="T39" fmla="*/ 38 h 44"/>
                <a:gd name="T40" fmla="*/ 9 w 16"/>
                <a:gd name="T41" fmla="*/ 30 h 44"/>
                <a:gd name="T42" fmla="*/ 13 w 16"/>
                <a:gd name="T43" fmla="*/ 26 h 44"/>
                <a:gd name="T44" fmla="*/ 8 w 16"/>
                <a:gd name="T45" fmla="*/ 24 h 44"/>
                <a:gd name="T46" fmla="*/ 10 w 16"/>
                <a:gd name="T47" fmla="*/ 21 h 44"/>
                <a:gd name="T48" fmla="*/ 15 w 16"/>
                <a:gd name="T49" fmla="*/ 16 h 44"/>
                <a:gd name="T50" fmla="*/ 8 w 16"/>
                <a:gd name="T51" fmla="*/ 15 h 44"/>
                <a:gd name="T52" fmla="*/ 9 w 16"/>
                <a:gd name="T53" fmla="*/ 10 h 44"/>
                <a:gd name="T54" fmla="*/ 15 w 16"/>
                <a:gd name="T55" fmla="*/ 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" h="44">
                  <a:moveTo>
                    <a:pt x="15" y="3"/>
                  </a:moveTo>
                  <a:cubicBezTo>
                    <a:pt x="15" y="2"/>
                    <a:pt x="13" y="0"/>
                    <a:pt x="10" y="1"/>
                  </a:cubicBezTo>
                  <a:cubicBezTo>
                    <a:pt x="8" y="2"/>
                    <a:pt x="4" y="3"/>
                    <a:pt x="4" y="4"/>
                  </a:cubicBezTo>
                  <a:cubicBezTo>
                    <a:pt x="3" y="4"/>
                    <a:pt x="1" y="9"/>
                    <a:pt x="1" y="9"/>
                  </a:cubicBezTo>
                  <a:cubicBezTo>
                    <a:pt x="1" y="10"/>
                    <a:pt x="5" y="12"/>
                    <a:pt x="5" y="14"/>
                  </a:cubicBezTo>
                  <a:cubicBezTo>
                    <a:pt x="5" y="15"/>
                    <a:pt x="4" y="15"/>
                    <a:pt x="4" y="15"/>
                  </a:cubicBezTo>
                  <a:cubicBezTo>
                    <a:pt x="4" y="15"/>
                    <a:pt x="1" y="17"/>
                    <a:pt x="1" y="17"/>
                  </a:cubicBezTo>
                  <a:cubicBezTo>
                    <a:pt x="1" y="18"/>
                    <a:pt x="0" y="21"/>
                    <a:pt x="1" y="22"/>
                  </a:cubicBezTo>
                  <a:cubicBezTo>
                    <a:pt x="2" y="22"/>
                    <a:pt x="5" y="23"/>
                    <a:pt x="5" y="24"/>
                  </a:cubicBezTo>
                  <a:cubicBezTo>
                    <a:pt x="5" y="24"/>
                    <a:pt x="4" y="25"/>
                    <a:pt x="4" y="25"/>
                  </a:cubicBezTo>
                  <a:cubicBezTo>
                    <a:pt x="4" y="25"/>
                    <a:pt x="0" y="26"/>
                    <a:pt x="0" y="27"/>
                  </a:cubicBezTo>
                  <a:cubicBezTo>
                    <a:pt x="1" y="29"/>
                    <a:pt x="1" y="32"/>
                    <a:pt x="3" y="32"/>
                  </a:cubicBezTo>
                  <a:cubicBezTo>
                    <a:pt x="4" y="32"/>
                    <a:pt x="8" y="31"/>
                    <a:pt x="8" y="32"/>
                  </a:cubicBezTo>
                  <a:cubicBezTo>
                    <a:pt x="8" y="32"/>
                    <a:pt x="9" y="34"/>
                    <a:pt x="8" y="35"/>
                  </a:cubicBezTo>
                  <a:cubicBezTo>
                    <a:pt x="7" y="36"/>
                    <a:pt x="6" y="38"/>
                    <a:pt x="7" y="39"/>
                  </a:cubicBezTo>
                  <a:cubicBezTo>
                    <a:pt x="7" y="39"/>
                    <a:pt x="7" y="43"/>
                    <a:pt x="8" y="43"/>
                  </a:cubicBezTo>
                  <a:cubicBezTo>
                    <a:pt x="8" y="43"/>
                    <a:pt x="11" y="44"/>
                    <a:pt x="11" y="44"/>
                  </a:cubicBezTo>
                  <a:cubicBezTo>
                    <a:pt x="14" y="42"/>
                    <a:pt x="12" y="43"/>
                    <a:pt x="12" y="42"/>
                  </a:cubicBezTo>
                  <a:cubicBezTo>
                    <a:pt x="12" y="42"/>
                    <a:pt x="14" y="41"/>
                    <a:pt x="12" y="39"/>
                  </a:cubicBezTo>
                  <a:cubicBezTo>
                    <a:pt x="11" y="38"/>
                    <a:pt x="10" y="38"/>
                    <a:pt x="10" y="38"/>
                  </a:cubicBezTo>
                  <a:cubicBezTo>
                    <a:pt x="10" y="38"/>
                    <a:pt x="10" y="33"/>
                    <a:pt x="9" y="30"/>
                  </a:cubicBezTo>
                  <a:cubicBezTo>
                    <a:pt x="9" y="30"/>
                    <a:pt x="13" y="28"/>
                    <a:pt x="13" y="26"/>
                  </a:cubicBezTo>
                  <a:cubicBezTo>
                    <a:pt x="12" y="23"/>
                    <a:pt x="10" y="23"/>
                    <a:pt x="8" y="24"/>
                  </a:cubicBezTo>
                  <a:cubicBezTo>
                    <a:pt x="8" y="24"/>
                    <a:pt x="8" y="22"/>
                    <a:pt x="10" y="21"/>
                  </a:cubicBezTo>
                  <a:cubicBezTo>
                    <a:pt x="12" y="20"/>
                    <a:pt x="16" y="19"/>
                    <a:pt x="15" y="16"/>
                  </a:cubicBezTo>
                  <a:cubicBezTo>
                    <a:pt x="14" y="13"/>
                    <a:pt x="8" y="15"/>
                    <a:pt x="8" y="15"/>
                  </a:cubicBezTo>
                  <a:cubicBezTo>
                    <a:pt x="8" y="15"/>
                    <a:pt x="9" y="10"/>
                    <a:pt x="9" y="10"/>
                  </a:cubicBezTo>
                  <a:cubicBezTo>
                    <a:pt x="9" y="9"/>
                    <a:pt x="16" y="8"/>
                    <a:pt x="15" y="3"/>
                  </a:cubicBez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6" name="Freeform 125">
              <a:extLst>
                <a:ext uri="{FF2B5EF4-FFF2-40B4-BE49-F238E27FC236}">
                  <a16:creationId xmlns:a16="http://schemas.microsoft.com/office/drawing/2014/main" id="{2D2CACF5-DDC0-4101-9EE1-AF04FEF6771E}"/>
                </a:ext>
              </a:extLst>
            </p:cNvPr>
            <p:cNvSpPr>
              <a:spLocks/>
            </p:cNvSpPr>
            <p:nvPr/>
          </p:nvSpPr>
          <p:spPr bwMode="gray">
            <a:xfrm>
              <a:off x="1608950" y="4427458"/>
              <a:ext cx="45688" cy="20771"/>
            </a:xfrm>
            <a:custGeom>
              <a:avLst/>
              <a:gdLst>
                <a:gd name="T0" fmla="*/ 1 w 37"/>
                <a:gd name="T1" fmla="*/ 10 h 17"/>
                <a:gd name="T2" fmla="*/ 1 w 37"/>
                <a:gd name="T3" fmla="*/ 13 h 17"/>
                <a:gd name="T4" fmla="*/ 3 w 37"/>
                <a:gd name="T5" fmla="*/ 16 h 17"/>
                <a:gd name="T6" fmla="*/ 6 w 37"/>
                <a:gd name="T7" fmla="*/ 15 h 17"/>
                <a:gd name="T8" fmla="*/ 10 w 37"/>
                <a:gd name="T9" fmla="*/ 12 h 17"/>
                <a:gd name="T10" fmla="*/ 12 w 37"/>
                <a:gd name="T11" fmla="*/ 15 h 17"/>
                <a:gd name="T12" fmla="*/ 15 w 37"/>
                <a:gd name="T13" fmla="*/ 17 h 17"/>
                <a:gd name="T14" fmla="*/ 18 w 37"/>
                <a:gd name="T15" fmla="*/ 17 h 17"/>
                <a:gd name="T16" fmla="*/ 20 w 37"/>
                <a:gd name="T17" fmla="*/ 14 h 17"/>
                <a:gd name="T18" fmla="*/ 23 w 37"/>
                <a:gd name="T19" fmla="*/ 15 h 17"/>
                <a:gd name="T20" fmla="*/ 26 w 37"/>
                <a:gd name="T21" fmla="*/ 16 h 17"/>
                <a:gd name="T22" fmla="*/ 29 w 37"/>
                <a:gd name="T23" fmla="*/ 13 h 17"/>
                <a:gd name="T24" fmla="*/ 31 w 37"/>
                <a:gd name="T25" fmla="*/ 13 h 17"/>
                <a:gd name="T26" fmla="*/ 35 w 37"/>
                <a:gd name="T27" fmla="*/ 13 h 17"/>
                <a:gd name="T28" fmla="*/ 37 w 37"/>
                <a:gd name="T29" fmla="*/ 9 h 17"/>
                <a:gd name="T30" fmla="*/ 37 w 37"/>
                <a:gd name="T31" fmla="*/ 3 h 17"/>
                <a:gd name="T32" fmla="*/ 34 w 37"/>
                <a:gd name="T33" fmla="*/ 0 h 17"/>
                <a:gd name="T34" fmla="*/ 32 w 37"/>
                <a:gd name="T35" fmla="*/ 2 h 17"/>
                <a:gd name="T36" fmla="*/ 29 w 37"/>
                <a:gd name="T37" fmla="*/ 0 h 17"/>
                <a:gd name="T38" fmla="*/ 25 w 37"/>
                <a:gd name="T39" fmla="*/ 5 h 17"/>
                <a:gd name="T40" fmla="*/ 23 w 37"/>
                <a:gd name="T41" fmla="*/ 9 h 17"/>
                <a:gd name="T42" fmla="*/ 23 w 37"/>
                <a:gd name="T43" fmla="*/ 4 h 17"/>
                <a:gd name="T44" fmla="*/ 17 w 37"/>
                <a:gd name="T45" fmla="*/ 7 h 17"/>
                <a:gd name="T46" fmla="*/ 15 w 37"/>
                <a:gd name="T47" fmla="*/ 9 h 17"/>
                <a:gd name="T48" fmla="*/ 11 w 37"/>
                <a:gd name="T49" fmla="*/ 10 h 17"/>
                <a:gd name="T50" fmla="*/ 8 w 37"/>
                <a:gd name="T51" fmla="*/ 9 h 17"/>
                <a:gd name="T52" fmla="*/ 5 w 37"/>
                <a:gd name="T53" fmla="*/ 10 h 17"/>
                <a:gd name="T54" fmla="*/ 1 w 37"/>
                <a:gd name="T55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7" h="17">
                  <a:moveTo>
                    <a:pt x="1" y="10"/>
                  </a:moveTo>
                  <a:cubicBezTo>
                    <a:pt x="1" y="10"/>
                    <a:pt x="0" y="12"/>
                    <a:pt x="1" y="13"/>
                  </a:cubicBezTo>
                  <a:cubicBezTo>
                    <a:pt x="2" y="14"/>
                    <a:pt x="2" y="15"/>
                    <a:pt x="3" y="16"/>
                  </a:cubicBezTo>
                  <a:cubicBezTo>
                    <a:pt x="4" y="16"/>
                    <a:pt x="5" y="15"/>
                    <a:pt x="6" y="15"/>
                  </a:cubicBezTo>
                  <a:cubicBezTo>
                    <a:pt x="6" y="15"/>
                    <a:pt x="10" y="12"/>
                    <a:pt x="10" y="12"/>
                  </a:cubicBezTo>
                  <a:cubicBezTo>
                    <a:pt x="11" y="12"/>
                    <a:pt x="12" y="14"/>
                    <a:pt x="12" y="15"/>
                  </a:cubicBezTo>
                  <a:cubicBezTo>
                    <a:pt x="12" y="15"/>
                    <a:pt x="13" y="17"/>
                    <a:pt x="15" y="17"/>
                  </a:cubicBezTo>
                  <a:cubicBezTo>
                    <a:pt x="16" y="17"/>
                    <a:pt x="18" y="17"/>
                    <a:pt x="18" y="17"/>
                  </a:cubicBezTo>
                  <a:cubicBezTo>
                    <a:pt x="18" y="17"/>
                    <a:pt x="20" y="14"/>
                    <a:pt x="20" y="14"/>
                  </a:cubicBezTo>
                  <a:cubicBezTo>
                    <a:pt x="21" y="14"/>
                    <a:pt x="22" y="15"/>
                    <a:pt x="23" y="15"/>
                  </a:cubicBezTo>
                  <a:cubicBezTo>
                    <a:pt x="24" y="15"/>
                    <a:pt x="26" y="16"/>
                    <a:pt x="26" y="16"/>
                  </a:cubicBezTo>
                  <a:cubicBezTo>
                    <a:pt x="27" y="15"/>
                    <a:pt x="29" y="13"/>
                    <a:pt x="29" y="13"/>
                  </a:cubicBezTo>
                  <a:cubicBezTo>
                    <a:pt x="29" y="13"/>
                    <a:pt x="31" y="13"/>
                    <a:pt x="31" y="13"/>
                  </a:cubicBezTo>
                  <a:cubicBezTo>
                    <a:pt x="32" y="14"/>
                    <a:pt x="35" y="13"/>
                    <a:pt x="35" y="13"/>
                  </a:cubicBezTo>
                  <a:cubicBezTo>
                    <a:pt x="35" y="12"/>
                    <a:pt x="36" y="9"/>
                    <a:pt x="37" y="9"/>
                  </a:cubicBezTo>
                  <a:cubicBezTo>
                    <a:pt x="37" y="8"/>
                    <a:pt x="37" y="4"/>
                    <a:pt x="37" y="3"/>
                  </a:cubicBezTo>
                  <a:cubicBezTo>
                    <a:pt x="37" y="2"/>
                    <a:pt x="37" y="0"/>
                    <a:pt x="34" y="0"/>
                  </a:cubicBezTo>
                  <a:cubicBezTo>
                    <a:pt x="32" y="0"/>
                    <a:pt x="32" y="2"/>
                    <a:pt x="32" y="2"/>
                  </a:cubicBezTo>
                  <a:cubicBezTo>
                    <a:pt x="32" y="2"/>
                    <a:pt x="30" y="0"/>
                    <a:pt x="29" y="0"/>
                  </a:cubicBezTo>
                  <a:cubicBezTo>
                    <a:pt x="27" y="0"/>
                    <a:pt x="26" y="1"/>
                    <a:pt x="25" y="5"/>
                  </a:cubicBezTo>
                  <a:cubicBezTo>
                    <a:pt x="25" y="5"/>
                    <a:pt x="23" y="8"/>
                    <a:pt x="23" y="9"/>
                  </a:cubicBezTo>
                  <a:cubicBezTo>
                    <a:pt x="22" y="9"/>
                    <a:pt x="25" y="4"/>
                    <a:pt x="23" y="4"/>
                  </a:cubicBezTo>
                  <a:cubicBezTo>
                    <a:pt x="21" y="3"/>
                    <a:pt x="19" y="2"/>
                    <a:pt x="17" y="7"/>
                  </a:cubicBezTo>
                  <a:cubicBezTo>
                    <a:pt x="17" y="7"/>
                    <a:pt x="15" y="9"/>
                    <a:pt x="15" y="9"/>
                  </a:cubicBezTo>
                  <a:cubicBezTo>
                    <a:pt x="15" y="10"/>
                    <a:pt x="11" y="10"/>
                    <a:pt x="11" y="10"/>
                  </a:cubicBezTo>
                  <a:cubicBezTo>
                    <a:pt x="11" y="10"/>
                    <a:pt x="10" y="8"/>
                    <a:pt x="8" y="9"/>
                  </a:cubicBezTo>
                  <a:cubicBezTo>
                    <a:pt x="6" y="10"/>
                    <a:pt x="5" y="10"/>
                    <a:pt x="5" y="10"/>
                  </a:cubicBezTo>
                  <a:lnTo>
                    <a:pt x="1" y="10"/>
                  </a:ln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7" name="Freeform 126">
              <a:extLst>
                <a:ext uri="{FF2B5EF4-FFF2-40B4-BE49-F238E27FC236}">
                  <a16:creationId xmlns:a16="http://schemas.microsoft.com/office/drawing/2014/main" id="{FEF84782-90EC-4FDE-9B50-EE6AF9504E7B}"/>
                </a:ext>
              </a:extLst>
            </p:cNvPr>
            <p:cNvSpPr>
              <a:spLocks/>
            </p:cNvSpPr>
            <p:nvPr/>
          </p:nvSpPr>
          <p:spPr bwMode="gray">
            <a:xfrm>
              <a:off x="493068" y="4084053"/>
              <a:ext cx="279663" cy="801741"/>
            </a:xfrm>
            <a:custGeom>
              <a:avLst/>
              <a:gdLst>
                <a:gd name="T0" fmla="*/ 209 w 228"/>
                <a:gd name="T1" fmla="*/ 119 h 654"/>
                <a:gd name="T2" fmla="*/ 170 w 228"/>
                <a:gd name="T3" fmla="*/ 96 h 654"/>
                <a:gd name="T4" fmla="*/ 154 w 228"/>
                <a:gd name="T5" fmla="*/ 90 h 654"/>
                <a:gd name="T6" fmla="*/ 150 w 228"/>
                <a:gd name="T7" fmla="*/ 75 h 654"/>
                <a:gd name="T8" fmla="*/ 161 w 228"/>
                <a:gd name="T9" fmla="*/ 55 h 654"/>
                <a:gd name="T10" fmla="*/ 160 w 228"/>
                <a:gd name="T11" fmla="*/ 22 h 654"/>
                <a:gd name="T12" fmla="*/ 104 w 228"/>
                <a:gd name="T13" fmla="*/ 40 h 654"/>
                <a:gd name="T14" fmla="*/ 103 w 228"/>
                <a:gd name="T15" fmla="*/ 59 h 654"/>
                <a:gd name="T16" fmla="*/ 107 w 228"/>
                <a:gd name="T17" fmla="*/ 77 h 654"/>
                <a:gd name="T18" fmla="*/ 52 w 228"/>
                <a:gd name="T19" fmla="*/ 107 h 654"/>
                <a:gd name="T20" fmla="*/ 19 w 228"/>
                <a:gd name="T21" fmla="*/ 221 h 654"/>
                <a:gd name="T22" fmla="*/ 39 w 228"/>
                <a:gd name="T23" fmla="*/ 264 h 654"/>
                <a:gd name="T24" fmla="*/ 63 w 228"/>
                <a:gd name="T25" fmla="*/ 278 h 654"/>
                <a:gd name="T26" fmla="*/ 62 w 228"/>
                <a:gd name="T27" fmla="*/ 284 h 654"/>
                <a:gd name="T28" fmla="*/ 44 w 228"/>
                <a:gd name="T29" fmla="*/ 371 h 654"/>
                <a:gd name="T30" fmla="*/ 25 w 228"/>
                <a:gd name="T31" fmla="*/ 543 h 654"/>
                <a:gd name="T32" fmla="*/ 22 w 228"/>
                <a:gd name="T33" fmla="*/ 600 h 654"/>
                <a:gd name="T34" fmla="*/ 17 w 228"/>
                <a:gd name="T35" fmla="*/ 612 h 654"/>
                <a:gd name="T36" fmla="*/ 17 w 228"/>
                <a:gd name="T37" fmla="*/ 626 h 654"/>
                <a:gd name="T38" fmla="*/ 2 w 228"/>
                <a:gd name="T39" fmla="*/ 646 h 654"/>
                <a:gd name="T40" fmla="*/ 14 w 228"/>
                <a:gd name="T41" fmla="*/ 651 h 654"/>
                <a:gd name="T42" fmla="*/ 50 w 228"/>
                <a:gd name="T43" fmla="*/ 636 h 654"/>
                <a:gd name="T44" fmla="*/ 68 w 228"/>
                <a:gd name="T45" fmla="*/ 627 h 654"/>
                <a:gd name="T46" fmla="*/ 65 w 228"/>
                <a:gd name="T47" fmla="*/ 601 h 654"/>
                <a:gd name="T48" fmla="*/ 73 w 228"/>
                <a:gd name="T49" fmla="*/ 588 h 654"/>
                <a:gd name="T50" fmla="*/ 85 w 228"/>
                <a:gd name="T51" fmla="*/ 543 h 654"/>
                <a:gd name="T52" fmla="*/ 114 w 228"/>
                <a:gd name="T53" fmla="*/ 396 h 654"/>
                <a:gd name="T54" fmla="*/ 118 w 228"/>
                <a:gd name="T55" fmla="*/ 383 h 654"/>
                <a:gd name="T56" fmla="*/ 150 w 228"/>
                <a:gd name="T57" fmla="*/ 555 h 654"/>
                <a:gd name="T58" fmla="*/ 154 w 228"/>
                <a:gd name="T59" fmla="*/ 598 h 654"/>
                <a:gd name="T60" fmla="*/ 168 w 228"/>
                <a:gd name="T61" fmla="*/ 606 h 654"/>
                <a:gd name="T62" fmla="*/ 167 w 228"/>
                <a:gd name="T63" fmla="*/ 614 h 654"/>
                <a:gd name="T64" fmla="*/ 167 w 228"/>
                <a:gd name="T65" fmla="*/ 621 h 654"/>
                <a:gd name="T66" fmla="*/ 169 w 228"/>
                <a:gd name="T67" fmla="*/ 631 h 654"/>
                <a:gd name="T68" fmla="*/ 177 w 228"/>
                <a:gd name="T69" fmla="*/ 640 h 654"/>
                <a:gd name="T70" fmla="*/ 214 w 228"/>
                <a:gd name="T71" fmla="*/ 651 h 654"/>
                <a:gd name="T72" fmla="*/ 204 w 228"/>
                <a:gd name="T73" fmla="*/ 619 h 654"/>
                <a:gd name="T74" fmla="*/ 207 w 228"/>
                <a:gd name="T75" fmla="*/ 612 h 654"/>
                <a:gd name="T76" fmla="*/ 204 w 228"/>
                <a:gd name="T77" fmla="*/ 587 h 654"/>
                <a:gd name="T78" fmla="*/ 197 w 228"/>
                <a:gd name="T79" fmla="*/ 481 h 654"/>
                <a:gd name="T80" fmla="*/ 182 w 228"/>
                <a:gd name="T81" fmla="*/ 285 h 654"/>
                <a:gd name="T82" fmla="*/ 182 w 228"/>
                <a:gd name="T83" fmla="*/ 279 h 654"/>
                <a:gd name="T84" fmla="*/ 193 w 228"/>
                <a:gd name="T85" fmla="*/ 253 h 654"/>
                <a:gd name="T86" fmla="*/ 214 w 228"/>
                <a:gd name="T87" fmla="*/ 241 h 654"/>
                <a:gd name="T88" fmla="*/ 226 w 228"/>
                <a:gd name="T89" fmla="*/ 226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8" h="654">
                  <a:moveTo>
                    <a:pt x="226" y="214"/>
                  </a:moveTo>
                  <a:cubicBezTo>
                    <a:pt x="225" y="208"/>
                    <a:pt x="211" y="136"/>
                    <a:pt x="211" y="136"/>
                  </a:cubicBezTo>
                  <a:cubicBezTo>
                    <a:pt x="211" y="136"/>
                    <a:pt x="209" y="120"/>
                    <a:pt x="209" y="119"/>
                  </a:cubicBezTo>
                  <a:cubicBezTo>
                    <a:pt x="208" y="118"/>
                    <a:pt x="200" y="110"/>
                    <a:pt x="195" y="108"/>
                  </a:cubicBezTo>
                  <a:cubicBezTo>
                    <a:pt x="189" y="106"/>
                    <a:pt x="184" y="101"/>
                    <a:pt x="183" y="101"/>
                  </a:cubicBezTo>
                  <a:cubicBezTo>
                    <a:pt x="183" y="100"/>
                    <a:pt x="176" y="98"/>
                    <a:pt x="170" y="96"/>
                  </a:cubicBezTo>
                  <a:cubicBezTo>
                    <a:pt x="170" y="96"/>
                    <a:pt x="170" y="96"/>
                    <a:pt x="170" y="96"/>
                  </a:cubicBezTo>
                  <a:cubicBezTo>
                    <a:pt x="169" y="95"/>
                    <a:pt x="169" y="95"/>
                    <a:pt x="169" y="95"/>
                  </a:cubicBezTo>
                  <a:cubicBezTo>
                    <a:pt x="163" y="93"/>
                    <a:pt x="156" y="91"/>
                    <a:pt x="154" y="90"/>
                  </a:cubicBezTo>
                  <a:cubicBezTo>
                    <a:pt x="154" y="90"/>
                    <a:pt x="151" y="85"/>
                    <a:pt x="151" y="83"/>
                  </a:cubicBezTo>
                  <a:cubicBezTo>
                    <a:pt x="151" y="81"/>
                    <a:pt x="150" y="80"/>
                    <a:pt x="150" y="79"/>
                  </a:cubicBezTo>
                  <a:cubicBezTo>
                    <a:pt x="150" y="75"/>
                    <a:pt x="150" y="75"/>
                    <a:pt x="150" y="75"/>
                  </a:cubicBezTo>
                  <a:cubicBezTo>
                    <a:pt x="151" y="74"/>
                    <a:pt x="154" y="68"/>
                    <a:pt x="155" y="66"/>
                  </a:cubicBezTo>
                  <a:cubicBezTo>
                    <a:pt x="156" y="64"/>
                    <a:pt x="157" y="63"/>
                    <a:pt x="157" y="63"/>
                  </a:cubicBezTo>
                  <a:cubicBezTo>
                    <a:pt x="159" y="62"/>
                    <a:pt x="160" y="58"/>
                    <a:pt x="161" y="55"/>
                  </a:cubicBezTo>
                  <a:cubicBezTo>
                    <a:pt x="162" y="51"/>
                    <a:pt x="163" y="46"/>
                    <a:pt x="162" y="44"/>
                  </a:cubicBezTo>
                  <a:cubicBezTo>
                    <a:pt x="161" y="42"/>
                    <a:pt x="159" y="43"/>
                    <a:pt x="159" y="43"/>
                  </a:cubicBezTo>
                  <a:cubicBezTo>
                    <a:pt x="159" y="39"/>
                    <a:pt x="161" y="29"/>
                    <a:pt x="160" y="22"/>
                  </a:cubicBezTo>
                  <a:cubicBezTo>
                    <a:pt x="159" y="15"/>
                    <a:pt x="149" y="4"/>
                    <a:pt x="136" y="2"/>
                  </a:cubicBezTo>
                  <a:cubicBezTo>
                    <a:pt x="123" y="0"/>
                    <a:pt x="110" y="9"/>
                    <a:pt x="106" y="16"/>
                  </a:cubicBezTo>
                  <a:cubicBezTo>
                    <a:pt x="101" y="23"/>
                    <a:pt x="104" y="40"/>
                    <a:pt x="104" y="40"/>
                  </a:cubicBezTo>
                  <a:cubicBezTo>
                    <a:pt x="104" y="40"/>
                    <a:pt x="104" y="40"/>
                    <a:pt x="102" y="39"/>
                  </a:cubicBezTo>
                  <a:cubicBezTo>
                    <a:pt x="100" y="38"/>
                    <a:pt x="99" y="40"/>
                    <a:pt x="99" y="45"/>
                  </a:cubicBezTo>
                  <a:cubicBezTo>
                    <a:pt x="99" y="51"/>
                    <a:pt x="102" y="57"/>
                    <a:pt x="103" y="59"/>
                  </a:cubicBezTo>
                  <a:cubicBezTo>
                    <a:pt x="105" y="60"/>
                    <a:pt x="106" y="59"/>
                    <a:pt x="106" y="59"/>
                  </a:cubicBezTo>
                  <a:cubicBezTo>
                    <a:pt x="106" y="59"/>
                    <a:pt x="107" y="60"/>
                    <a:pt x="107" y="63"/>
                  </a:cubicBezTo>
                  <a:cubicBezTo>
                    <a:pt x="108" y="65"/>
                    <a:pt x="107" y="74"/>
                    <a:pt x="107" y="77"/>
                  </a:cubicBezTo>
                  <a:cubicBezTo>
                    <a:pt x="106" y="78"/>
                    <a:pt x="106" y="79"/>
                    <a:pt x="105" y="81"/>
                  </a:cubicBezTo>
                  <a:cubicBezTo>
                    <a:pt x="104" y="86"/>
                    <a:pt x="101" y="88"/>
                    <a:pt x="100" y="88"/>
                  </a:cubicBezTo>
                  <a:cubicBezTo>
                    <a:pt x="98" y="88"/>
                    <a:pt x="60" y="102"/>
                    <a:pt x="52" y="107"/>
                  </a:cubicBezTo>
                  <a:cubicBezTo>
                    <a:pt x="45" y="111"/>
                    <a:pt x="45" y="117"/>
                    <a:pt x="45" y="117"/>
                  </a:cubicBezTo>
                  <a:cubicBezTo>
                    <a:pt x="45" y="117"/>
                    <a:pt x="34" y="145"/>
                    <a:pt x="32" y="152"/>
                  </a:cubicBezTo>
                  <a:cubicBezTo>
                    <a:pt x="29" y="160"/>
                    <a:pt x="19" y="216"/>
                    <a:pt x="19" y="221"/>
                  </a:cubicBezTo>
                  <a:cubicBezTo>
                    <a:pt x="20" y="225"/>
                    <a:pt x="19" y="241"/>
                    <a:pt x="33" y="258"/>
                  </a:cubicBezTo>
                  <a:cubicBezTo>
                    <a:pt x="35" y="258"/>
                    <a:pt x="35" y="258"/>
                    <a:pt x="35" y="258"/>
                  </a:cubicBezTo>
                  <a:cubicBezTo>
                    <a:pt x="37" y="260"/>
                    <a:pt x="39" y="263"/>
                    <a:pt x="39" y="264"/>
                  </a:cubicBezTo>
                  <a:cubicBezTo>
                    <a:pt x="41" y="266"/>
                    <a:pt x="46" y="271"/>
                    <a:pt x="47" y="272"/>
                  </a:cubicBezTo>
                  <a:cubicBezTo>
                    <a:pt x="48" y="273"/>
                    <a:pt x="57" y="277"/>
                    <a:pt x="61" y="278"/>
                  </a:cubicBezTo>
                  <a:cubicBezTo>
                    <a:pt x="61" y="278"/>
                    <a:pt x="62" y="278"/>
                    <a:pt x="63" y="278"/>
                  </a:cubicBezTo>
                  <a:cubicBezTo>
                    <a:pt x="62" y="280"/>
                    <a:pt x="62" y="282"/>
                    <a:pt x="62" y="282"/>
                  </a:cubicBezTo>
                  <a:cubicBezTo>
                    <a:pt x="62" y="283"/>
                    <a:pt x="62" y="283"/>
                    <a:pt x="63" y="284"/>
                  </a:cubicBezTo>
                  <a:cubicBezTo>
                    <a:pt x="62" y="284"/>
                    <a:pt x="62" y="284"/>
                    <a:pt x="62" y="284"/>
                  </a:cubicBezTo>
                  <a:cubicBezTo>
                    <a:pt x="62" y="285"/>
                    <a:pt x="54" y="294"/>
                    <a:pt x="51" y="303"/>
                  </a:cubicBezTo>
                  <a:cubicBezTo>
                    <a:pt x="47" y="313"/>
                    <a:pt x="49" y="327"/>
                    <a:pt x="49" y="330"/>
                  </a:cubicBezTo>
                  <a:cubicBezTo>
                    <a:pt x="49" y="333"/>
                    <a:pt x="46" y="338"/>
                    <a:pt x="44" y="371"/>
                  </a:cubicBezTo>
                  <a:cubicBezTo>
                    <a:pt x="42" y="404"/>
                    <a:pt x="46" y="407"/>
                    <a:pt x="44" y="440"/>
                  </a:cubicBezTo>
                  <a:cubicBezTo>
                    <a:pt x="41" y="468"/>
                    <a:pt x="34" y="487"/>
                    <a:pt x="32" y="499"/>
                  </a:cubicBezTo>
                  <a:cubicBezTo>
                    <a:pt x="32" y="499"/>
                    <a:pt x="26" y="533"/>
                    <a:pt x="25" y="543"/>
                  </a:cubicBezTo>
                  <a:cubicBezTo>
                    <a:pt x="25" y="552"/>
                    <a:pt x="27" y="579"/>
                    <a:pt x="28" y="585"/>
                  </a:cubicBezTo>
                  <a:cubicBezTo>
                    <a:pt x="25" y="589"/>
                    <a:pt x="24" y="593"/>
                    <a:pt x="23" y="596"/>
                  </a:cubicBezTo>
                  <a:cubicBezTo>
                    <a:pt x="22" y="598"/>
                    <a:pt x="22" y="599"/>
                    <a:pt x="22" y="600"/>
                  </a:cubicBezTo>
                  <a:cubicBezTo>
                    <a:pt x="22" y="600"/>
                    <a:pt x="22" y="600"/>
                    <a:pt x="22" y="601"/>
                  </a:cubicBezTo>
                  <a:cubicBezTo>
                    <a:pt x="21" y="603"/>
                    <a:pt x="21" y="604"/>
                    <a:pt x="21" y="604"/>
                  </a:cubicBezTo>
                  <a:cubicBezTo>
                    <a:pt x="21" y="604"/>
                    <a:pt x="17" y="608"/>
                    <a:pt x="17" y="612"/>
                  </a:cubicBezTo>
                  <a:cubicBezTo>
                    <a:pt x="18" y="615"/>
                    <a:pt x="19" y="617"/>
                    <a:pt x="23" y="617"/>
                  </a:cubicBezTo>
                  <a:cubicBezTo>
                    <a:pt x="23" y="617"/>
                    <a:pt x="24" y="618"/>
                    <a:pt x="24" y="618"/>
                  </a:cubicBezTo>
                  <a:cubicBezTo>
                    <a:pt x="24" y="618"/>
                    <a:pt x="22" y="622"/>
                    <a:pt x="17" y="626"/>
                  </a:cubicBezTo>
                  <a:cubicBezTo>
                    <a:pt x="13" y="631"/>
                    <a:pt x="9" y="634"/>
                    <a:pt x="7" y="636"/>
                  </a:cubicBezTo>
                  <a:cubicBezTo>
                    <a:pt x="6" y="638"/>
                    <a:pt x="3" y="639"/>
                    <a:pt x="2" y="641"/>
                  </a:cubicBezTo>
                  <a:cubicBezTo>
                    <a:pt x="2" y="643"/>
                    <a:pt x="2" y="646"/>
                    <a:pt x="2" y="646"/>
                  </a:cubicBezTo>
                  <a:cubicBezTo>
                    <a:pt x="0" y="646"/>
                    <a:pt x="0" y="646"/>
                    <a:pt x="0" y="646"/>
                  </a:cubicBezTo>
                  <a:cubicBezTo>
                    <a:pt x="0" y="649"/>
                    <a:pt x="0" y="649"/>
                    <a:pt x="0" y="649"/>
                  </a:cubicBezTo>
                  <a:cubicBezTo>
                    <a:pt x="0" y="649"/>
                    <a:pt x="6" y="651"/>
                    <a:pt x="14" y="651"/>
                  </a:cubicBezTo>
                  <a:cubicBezTo>
                    <a:pt x="22" y="652"/>
                    <a:pt x="28" y="653"/>
                    <a:pt x="32" y="652"/>
                  </a:cubicBezTo>
                  <a:cubicBezTo>
                    <a:pt x="37" y="651"/>
                    <a:pt x="44" y="647"/>
                    <a:pt x="45" y="645"/>
                  </a:cubicBezTo>
                  <a:cubicBezTo>
                    <a:pt x="47" y="643"/>
                    <a:pt x="48" y="636"/>
                    <a:pt x="50" y="636"/>
                  </a:cubicBezTo>
                  <a:cubicBezTo>
                    <a:pt x="53" y="635"/>
                    <a:pt x="55" y="636"/>
                    <a:pt x="55" y="636"/>
                  </a:cubicBezTo>
                  <a:cubicBezTo>
                    <a:pt x="56" y="636"/>
                    <a:pt x="61" y="635"/>
                    <a:pt x="68" y="630"/>
                  </a:cubicBezTo>
                  <a:cubicBezTo>
                    <a:pt x="68" y="627"/>
                    <a:pt x="68" y="627"/>
                    <a:pt x="68" y="627"/>
                  </a:cubicBezTo>
                  <a:cubicBezTo>
                    <a:pt x="68" y="626"/>
                    <a:pt x="68" y="626"/>
                    <a:pt x="68" y="626"/>
                  </a:cubicBezTo>
                  <a:cubicBezTo>
                    <a:pt x="68" y="626"/>
                    <a:pt x="70" y="621"/>
                    <a:pt x="70" y="619"/>
                  </a:cubicBezTo>
                  <a:cubicBezTo>
                    <a:pt x="69" y="617"/>
                    <a:pt x="63" y="605"/>
                    <a:pt x="65" y="601"/>
                  </a:cubicBezTo>
                  <a:cubicBezTo>
                    <a:pt x="66" y="600"/>
                    <a:pt x="67" y="600"/>
                    <a:pt x="68" y="599"/>
                  </a:cubicBezTo>
                  <a:cubicBezTo>
                    <a:pt x="68" y="598"/>
                    <a:pt x="69" y="597"/>
                    <a:pt x="69" y="597"/>
                  </a:cubicBezTo>
                  <a:cubicBezTo>
                    <a:pt x="71" y="594"/>
                    <a:pt x="73" y="591"/>
                    <a:pt x="73" y="588"/>
                  </a:cubicBezTo>
                  <a:cubicBezTo>
                    <a:pt x="72" y="583"/>
                    <a:pt x="69" y="583"/>
                    <a:pt x="69" y="583"/>
                  </a:cubicBezTo>
                  <a:cubicBezTo>
                    <a:pt x="69" y="583"/>
                    <a:pt x="70" y="577"/>
                    <a:pt x="73" y="574"/>
                  </a:cubicBezTo>
                  <a:cubicBezTo>
                    <a:pt x="75" y="570"/>
                    <a:pt x="78" y="568"/>
                    <a:pt x="85" y="543"/>
                  </a:cubicBezTo>
                  <a:cubicBezTo>
                    <a:pt x="91" y="518"/>
                    <a:pt x="86" y="516"/>
                    <a:pt x="89" y="500"/>
                  </a:cubicBezTo>
                  <a:cubicBezTo>
                    <a:pt x="91" y="485"/>
                    <a:pt x="98" y="452"/>
                    <a:pt x="100" y="445"/>
                  </a:cubicBezTo>
                  <a:cubicBezTo>
                    <a:pt x="101" y="439"/>
                    <a:pt x="108" y="423"/>
                    <a:pt x="114" y="396"/>
                  </a:cubicBezTo>
                  <a:cubicBezTo>
                    <a:pt x="116" y="391"/>
                    <a:pt x="118" y="384"/>
                    <a:pt x="118" y="384"/>
                  </a:cubicBezTo>
                  <a:cubicBezTo>
                    <a:pt x="118" y="384"/>
                    <a:pt x="118" y="384"/>
                    <a:pt x="118" y="384"/>
                  </a:cubicBezTo>
                  <a:cubicBezTo>
                    <a:pt x="118" y="383"/>
                    <a:pt x="118" y="383"/>
                    <a:pt x="118" y="383"/>
                  </a:cubicBezTo>
                  <a:cubicBezTo>
                    <a:pt x="118" y="383"/>
                    <a:pt x="125" y="394"/>
                    <a:pt x="130" y="418"/>
                  </a:cubicBezTo>
                  <a:cubicBezTo>
                    <a:pt x="135" y="441"/>
                    <a:pt x="139" y="470"/>
                    <a:pt x="141" y="484"/>
                  </a:cubicBezTo>
                  <a:cubicBezTo>
                    <a:pt x="142" y="498"/>
                    <a:pt x="148" y="547"/>
                    <a:pt x="150" y="555"/>
                  </a:cubicBezTo>
                  <a:cubicBezTo>
                    <a:pt x="152" y="563"/>
                    <a:pt x="158" y="580"/>
                    <a:pt x="159" y="582"/>
                  </a:cubicBezTo>
                  <a:cubicBezTo>
                    <a:pt x="161" y="584"/>
                    <a:pt x="161" y="592"/>
                    <a:pt x="159" y="594"/>
                  </a:cubicBezTo>
                  <a:cubicBezTo>
                    <a:pt x="157" y="595"/>
                    <a:pt x="154" y="595"/>
                    <a:pt x="154" y="598"/>
                  </a:cubicBezTo>
                  <a:cubicBezTo>
                    <a:pt x="154" y="599"/>
                    <a:pt x="154" y="599"/>
                    <a:pt x="154" y="600"/>
                  </a:cubicBezTo>
                  <a:cubicBezTo>
                    <a:pt x="156" y="603"/>
                    <a:pt x="158" y="604"/>
                    <a:pt x="159" y="604"/>
                  </a:cubicBezTo>
                  <a:cubicBezTo>
                    <a:pt x="160" y="605"/>
                    <a:pt x="166" y="605"/>
                    <a:pt x="168" y="606"/>
                  </a:cubicBezTo>
                  <a:cubicBezTo>
                    <a:pt x="168" y="607"/>
                    <a:pt x="168" y="607"/>
                    <a:pt x="168" y="607"/>
                  </a:cubicBezTo>
                  <a:cubicBezTo>
                    <a:pt x="168" y="608"/>
                    <a:pt x="168" y="609"/>
                    <a:pt x="168" y="610"/>
                  </a:cubicBezTo>
                  <a:cubicBezTo>
                    <a:pt x="168" y="612"/>
                    <a:pt x="167" y="614"/>
                    <a:pt x="167" y="614"/>
                  </a:cubicBezTo>
                  <a:cubicBezTo>
                    <a:pt x="167" y="614"/>
                    <a:pt x="167" y="614"/>
                    <a:pt x="168" y="614"/>
                  </a:cubicBezTo>
                  <a:cubicBezTo>
                    <a:pt x="167" y="615"/>
                    <a:pt x="167" y="615"/>
                    <a:pt x="167" y="615"/>
                  </a:cubicBezTo>
                  <a:cubicBezTo>
                    <a:pt x="166" y="617"/>
                    <a:pt x="166" y="620"/>
                    <a:pt x="167" y="621"/>
                  </a:cubicBezTo>
                  <a:cubicBezTo>
                    <a:pt x="167" y="621"/>
                    <a:pt x="167" y="621"/>
                    <a:pt x="167" y="621"/>
                  </a:cubicBezTo>
                  <a:cubicBezTo>
                    <a:pt x="169" y="621"/>
                    <a:pt x="169" y="621"/>
                    <a:pt x="169" y="621"/>
                  </a:cubicBezTo>
                  <a:cubicBezTo>
                    <a:pt x="169" y="621"/>
                    <a:pt x="168" y="629"/>
                    <a:pt x="169" y="631"/>
                  </a:cubicBezTo>
                  <a:cubicBezTo>
                    <a:pt x="171" y="633"/>
                    <a:pt x="175" y="636"/>
                    <a:pt x="175" y="636"/>
                  </a:cubicBezTo>
                  <a:cubicBezTo>
                    <a:pt x="178" y="637"/>
                    <a:pt x="178" y="637"/>
                    <a:pt x="178" y="637"/>
                  </a:cubicBezTo>
                  <a:cubicBezTo>
                    <a:pt x="178" y="637"/>
                    <a:pt x="177" y="640"/>
                    <a:pt x="177" y="640"/>
                  </a:cubicBezTo>
                  <a:cubicBezTo>
                    <a:pt x="176" y="641"/>
                    <a:pt x="175" y="644"/>
                    <a:pt x="177" y="647"/>
                  </a:cubicBezTo>
                  <a:cubicBezTo>
                    <a:pt x="179" y="650"/>
                    <a:pt x="184" y="654"/>
                    <a:pt x="186" y="653"/>
                  </a:cubicBezTo>
                  <a:cubicBezTo>
                    <a:pt x="189" y="653"/>
                    <a:pt x="214" y="651"/>
                    <a:pt x="214" y="651"/>
                  </a:cubicBezTo>
                  <a:cubicBezTo>
                    <a:pt x="214" y="651"/>
                    <a:pt x="215" y="648"/>
                    <a:pt x="215" y="644"/>
                  </a:cubicBezTo>
                  <a:cubicBezTo>
                    <a:pt x="215" y="640"/>
                    <a:pt x="215" y="636"/>
                    <a:pt x="213" y="633"/>
                  </a:cubicBezTo>
                  <a:cubicBezTo>
                    <a:pt x="211" y="630"/>
                    <a:pt x="205" y="622"/>
                    <a:pt x="204" y="619"/>
                  </a:cubicBezTo>
                  <a:cubicBezTo>
                    <a:pt x="204" y="617"/>
                    <a:pt x="204" y="615"/>
                    <a:pt x="204" y="615"/>
                  </a:cubicBezTo>
                  <a:cubicBezTo>
                    <a:pt x="204" y="615"/>
                    <a:pt x="205" y="614"/>
                    <a:pt x="205" y="614"/>
                  </a:cubicBezTo>
                  <a:cubicBezTo>
                    <a:pt x="206" y="613"/>
                    <a:pt x="207" y="613"/>
                    <a:pt x="207" y="612"/>
                  </a:cubicBezTo>
                  <a:cubicBezTo>
                    <a:pt x="207" y="610"/>
                    <a:pt x="206" y="598"/>
                    <a:pt x="206" y="598"/>
                  </a:cubicBezTo>
                  <a:cubicBezTo>
                    <a:pt x="206" y="598"/>
                    <a:pt x="210" y="596"/>
                    <a:pt x="210" y="592"/>
                  </a:cubicBezTo>
                  <a:cubicBezTo>
                    <a:pt x="210" y="587"/>
                    <a:pt x="207" y="589"/>
                    <a:pt x="204" y="587"/>
                  </a:cubicBezTo>
                  <a:cubicBezTo>
                    <a:pt x="201" y="585"/>
                    <a:pt x="201" y="578"/>
                    <a:pt x="204" y="571"/>
                  </a:cubicBezTo>
                  <a:cubicBezTo>
                    <a:pt x="207" y="564"/>
                    <a:pt x="204" y="557"/>
                    <a:pt x="202" y="539"/>
                  </a:cubicBezTo>
                  <a:cubicBezTo>
                    <a:pt x="200" y="521"/>
                    <a:pt x="198" y="490"/>
                    <a:pt x="197" y="481"/>
                  </a:cubicBezTo>
                  <a:cubicBezTo>
                    <a:pt x="195" y="473"/>
                    <a:pt x="195" y="414"/>
                    <a:pt x="195" y="394"/>
                  </a:cubicBezTo>
                  <a:cubicBezTo>
                    <a:pt x="195" y="375"/>
                    <a:pt x="196" y="326"/>
                    <a:pt x="191" y="313"/>
                  </a:cubicBezTo>
                  <a:cubicBezTo>
                    <a:pt x="187" y="301"/>
                    <a:pt x="182" y="289"/>
                    <a:pt x="182" y="285"/>
                  </a:cubicBezTo>
                  <a:cubicBezTo>
                    <a:pt x="183" y="284"/>
                    <a:pt x="183" y="284"/>
                    <a:pt x="183" y="284"/>
                  </a:cubicBezTo>
                  <a:cubicBezTo>
                    <a:pt x="182" y="279"/>
                    <a:pt x="182" y="279"/>
                    <a:pt x="182" y="279"/>
                  </a:cubicBezTo>
                  <a:cubicBezTo>
                    <a:pt x="182" y="279"/>
                    <a:pt x="182" y="279"/>
                    <a:pt x="182" y="279"/>
                  </a:cubicBezTo>
                  <a:cubicBezTo>
                    <a:pt x="183" y="278"/>
                    <a:pt x="191" y="280"/>
                    <a:pt x="192" y="279"/>
                  </a:cubicBezTo>
                  <a:cubicBezTo>
                    <a:pt x="193" y="278"/>
                    <a:pt x="191" y="261"/>
                    <a:pt x="189" y="252"/>
                  </a:cubicBezTo>
                  <a:cubicBezTo>
                    <a:pt x="190" y="252"/>
                    <a:pt x="192" y="253"/>
                    <a:pt x="193" y="253"/>
                  </a:cubicBezTo>
                  <a:cubicBezTo>
                    <a:pt x="196" y="253"/>
                    <a:pt x="206" y="246"/>
                    <a:pt x="206" y="246"/>
                  </a:cubicBezTo>
                  <a:cubicBezTo>
                    <a:pt x="206" y="246"/>
                    <a:pt x="209" y="244"/>
                    <a:pt x="212" y="242"/>
                  </a:cubicBezTo>
                  <a:cubicBezTo>
                    <a:pt x="213" y="241"/>
                    <a:pt x="214" y="241"/>
                    <a:pt x="214" y="241"/>
                  </a:cubicBezTo>
                  <a:cubicBezTo>
                    <a:pt x="215" y="241"/>
                    <a:pt x="219" y="241"/>
                    <a:pt x="220" y="240"/>
                  </a:cubicBezTo>
                  <a:cubicBezTo>
                    <a:pt x="222" y="238"/>
                    <a:pt x="223" y="235"/>
                    <a:pt x="224" y="232"/>
                  </a:cubicBezTo>
                  <a:cubicBezTo>
                    <a:pt x="224" y="229"/>
                    <a:pt x="224" y="230"/>
                    <a:pt x="226" y="226"/>
                  </a:cubicBezTo>
                  <a:cubicBezTo>
                    <a:pt x="227" y="222"/>
                    <a:pt x="228" y="219"/>
                    <a:pt x="226" y="214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" name="Freeform 127">
              <a:extLst>
                <a:ext uri="{FF2B5EF4-FFF2-40B4-BE49-F238E27FC236}">
                  <a16:creationId xmlns:a16="http://schemas.microsoft.com/office/drawing/2014/main" id="{9D3F3C97-4D87-4A06-8B03-1864195AB47E}"/>
                </a:ext>
              </a:extLst>
            </p:cNvPr>
            <p:cNvSpPr>
              <a:spLocks/>
            </p:cNvSpPr>
            <p:nvPr/>
          </p:nvSpPr>
          <p:spPr bwMode="gray">
            <a:xfrm>
              <a:off x="484762" y="4176827"/>
              <a:ext cx="279663" cy="236784"/>
            </a:xfrm>
            <a:custGeom>
              <a:avLst/>
              <a:gdLst>
                <a:gd name="T0" fmla="*/ 110 w 228"/>
                <a:gd name="T1" fmla="*/ 42 h 194"/>
                <a:gd name="T2" fmla="*/ 103 w 228"/>
                <a:gd name="T3" fmla="*/ 28 h 194"/>
                <a:gd name="T4" fmla="*/ 106 w 228"/>
                <a:gd name="T5" fmla="*/ 17 h 194"/>
                <a:gd name="T6" fmla="*/ 106 w 228"/>
                <a:gd name="T7" fmla="*/ 9 h 194"/>
                <a:gd name="T8" fmla="*/ 106 w 228"/>
                <a:gd name="T9" fmla="*/ 9 h 194"/>
                <a:gd name="T10" fmla="*/ 41 w 228"/>
                <a:gd name="T11" fmla="*/ 15 h 194"/>
                <a:gd name="T12" fmla="*/ 35 w 228"/>
                <a:gd name="T13" fmla="*/ 22 h 194"/>
                <a:gd name="T14" fmla="*/ 40 w 228"/>
                <a:gd name="T15" fmla="*/ 87 h 194"/>
                <a:gd name="T16" fmla="*/ 40 w 228"/>
                <a:gd name="T17" fmla="*/ 87 h 194"/>
                <a:gd name="T18" fmla="*/ 32 w 228"/>
                <a:gd name="T19" fmla="*/ 87 h 194"/>
                <a:gd name="T20" fmla="*/ 7 w 228"/>
                <a:gd name="T21" fmla="*/ 91 h 194"/>
                <a:gd name="T22" fmla="*/ 1 w 228"/>
                <a:gd name="T23" fmla="*/ 108 h 194"/>
                <a:gd name="T24" fmla="*/ 1 w 228"/>
                <a:gd name="T25" fmla="*/ 108 h 194"/>
                <a:gd name="T26" fmla="*/ 1 w 228"/>
                <a:gd name="T27" fmla="*/ 109 h 194"/>
                <a:gd name="T28" fmla="*/ 10 w 228"/>
                <a:gd name="T29" fmla="*/ 125 h 194"/>
                <a:gd name="T30" fmla="*/ 35 w 228"/>
                <a:gd name="T31" fmla="*/ 124 h 194"/>
                <a:gd name="T32" fmla="*/ 43 w 228"/>
                <a:gd name="T33" fmla="*/ 122 h 194"/>
                <a:gd name="T34" fmla="*/ 43 w 228"/>
                <a:gd name="T35" fmla="*/ 123 h 194"/>
                <a:gd name="T36" fmla="*/ 49 w 228"/>
                <a:gd name="T37" fmla="*/ 188 h 194"/>
                <a:gd name="T38" fmla="*/ 56 w 228"/>
                <a:gd name="T39" fmla="*/ 194 h 194"/>
                <a:gd name="T40" fmla="*/ 121 w 228"/>
                <a:gd name="T41" fmla="*/ 188 h 194"/>
                <a:gd name="T42" fmla="*/ 121 w 228"/>
                <a:gd name="T43" fmla="*/ 188 h 194"/>
                <a:gd name="T44" fmla="*/ 120 w 228"/>
                <a:gd name="T45" fmla="*/ 181 h 194"/>
                <a:gd name="T46" fmla="*/ 115 w 228"/>
                <a:gd name="T47" fmla="*/ 170 h 194"/>
                <a:gd name="T48" fmla="*/ 119 w 228"/>
                <a:gd name="T49" fmla="*/ 155 h 194"/>
                <a:gd name="T50" fmla="*/ 136 w 228"/>
                <a:gd name="T51" fmla="*/ 146 h 194"/>
                <a:gd name="T52" fmla="*/ 153 w 228"/>
                <a:gd name="T53" fmla="*/ 152 h 194"/>
                <a:gd name="T54" fmla="*/ 160 w 228"/>
                <a:gd name="T55" fmla="*/ 166 h 194"/>
                <a:gd name="T56" fmla="*/ 157 w 228"/>
                <a:gd name="T57" fmla="*/ 177 h 194"/>
                <a:gd name="T58" fmla="*/ 156 w 228"/>
                <a:gd name="T59" fmla="*/ 185 h 194"/>
                <a:gd name="T60" fmla="*/ 157 w 228"/>
                <a:gd name="T61" fmla="*/ 185 h 194"/>
                <a:gd name="T62" fmla="*/ 222 w 228"/>
                <a:gd name="T63" fmla="*/ 180 h 194"/>
                <a:gd name="T64" fmla="*/ 228 w 228"/>
                <a:gd name="T65" fmla="*/ 172 h 194"/>
                <a:gd name="T66" fmla="*/ 223 w 228"/>
                <a:gd name="T67" fmla="*/ 107 h 194"/>
                <a:gd name="T68" fmla="*/ 222 w 228"/>
                <a:gd name="T69" fmla="*/ 107 h 194"/>
                <a:gd name="T70" fmla="*/ 215 w 228"/>
                <a:gd name="T71" fmla="*/ 109 h 194"/>
                <a:gd name="T72" fmla="*/ 189 w 228"/>
                <a:gd name="T73" fmla="*/ 109 h 194"/>
                <a:gd name="T74" fmla="*/ 180 w 228"/>
                <a:gd name="T75" fmla="*/ 94 h 194"/>
                <a:gd name="T76" fmla="*/ 180 w 228"/>
                <a:gd name="T77" fmla="*/ 93 h 194"/>
                <a:gd name="T78" fmla="*/ 180 w 228"/>
                <a:gd name="T79" fmla="*/ 92 h 194"/>
                <a:gd name="T80" fmla="*/ 186 w 228"/>
                <a:gd name="T81" fmla="*/ 76 h 194"/>
                <a:gd name="T82" fmla="*/ 212 w 228"/>
                <a:gd name="T83" fmla="*/ 71 h 194"/>
                <a:gd name="T84" fmla="*/ 219 w 228"/>
                <a:gd name="T85" fmla="*/ 72 h 194"/>
                <a:gd name="T86" fmla="*/ 219 w 228"/>
                <a:gd name="T87" fmla="*/ 72 h 194"/>
                <a:gd name="T88" fmla="*/ 214 w 228"/>
                <a:gd name="T89" fmla="*/ 7 h 194"/>
                <a:gd name="T90" fmla="*/ 206 w 228"/>
                <a:gd name="T91" fmla="*/ 0 h 194"/>
                <a:gd name="T92" fmla="*/ 142 w 228"/>
                <a:gd name="T93" fmla="*/ 6 h 194"/>
                <a:gd name="T94" fmla="*/ 141 w 228"/>
                <a:gd name="T95" fmla="*/ 6 h 194"/>
                <a:gd name="T96" fmla="*/ 143 w 228"/>
                <a:gd name="T97" fmla="*/ 14 h 194"/>
                <a:gd name="T98" fmla="*/ 147 w 228"/>
                <a:gd name="T99" fmla="*/ 25 h 194"/>
                <a:gd name="T100" fmla="*/ 143 w 228"/>
                <a:gd name="T101" fmla="*/ 39 h 194"/>
                <a:gd name="T102" fmla="*/ 127 w 228"/>
                <a:gd name="T103" fmla="*/ 48 h 194"/>
                <a:gd name="T104" fmla="*/ 110 w 228"/>
                <a:gd name="T105" fmla="*/ 4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8" h="194">
                  <a:moveTo>
                    <a:pt x="110" y="42"/>
                  </a:moveTo>
                  <a:cubicBezTo>
                    <a:pt x="106" y="38"/>
                    <a:pt x="103" y="33"/>
                    <a:pt x="103" y="28"/>
                  </a:cubicBezTo>
                  <a:cubicBezTo>
                    <a:pt x="103" y="24"/>
                    <a:pt x="104" y="20"/>
                    <a:pt x="106" y="17"/>
                  </a:cubicBezTo>
                  <a:cubicBezTo>
                    <a:pt x="108" y="13"/>
                    <a:pt x="108" y="10"/>
                    <a:pt x="106" y="9"/>
                  </a:cubicBezTo>
                  <a:cubicBezTo>
                    <a:pt x="106" y="9"/>
                    <a:pt x="106" y="9"/>
                    <a:pt x="106" y="9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37" y="15"/>
                    <a:pt x="34" y="18"/>
                    <a:pt x="35" y="22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40" y="87"/>
                    <a:pt x="40" y="87"/>
                    <a:pt x="40" y="87"/>
                  </a:cubicBezTo>
                  <a:cubicBezTo>
                    <a:pt x="39" y="89"/>
                    <a:pt x="36" y="89"/>
                    <a:pt x="32" y="87"/>
                  </a:cubicBezTo>
                  <a:cubicBezTo>
                    <a:pt x="26" y="83"/>
                    <a:pt x="16" y="82"/>
                    <a:pt x="7" y="91"/>
                  </a:cubicBezTo>
                  <a:cubicBezTo>
                    <a:pt x="1" y="97"/>
                    <a:pt x="0" y="105"/>
                    <a:pt x="1" y="108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1" y="109"/>
                    <a:pt x="1" y="109"/>
                    <a:pt x="1" y="109"/>
                  </a:cubicBezTo>
                  <a:cubicBezTo>
                    <a:pt x="1" y="112"/>
                    <a:pt x="3" y="119"/>
                    <a:pt x="10" y="125"/>
                  </a:cubicBezTo>
                  <a:cubicBezTo>
                    <a:pt x="20" y="132"/>
                    <a:pt x="30" y="129"/>
                    <a:pt x="35" y="124"/>
                  </a:cubicBezTo>
                  <a:cubicBezTo>
                    <a:pt x="39" y="122"/>
                    <a:pt x="41" y="121"/>
                    <a:pt x="43" y="122"/>
                  </a:cubicBezTo>
                  <a:cubicBezTo>
                    <a:pt x="43" y="123"/>
                    <a:pt x="43" y="123"/>
                    <a:pt x="43" y="123"/>
                  </a:cubicBezTo>
                  <a:cubicBezTo>
                    <a:pt x="49" y="188"/>
                    <a:pt x="49" y="188"/>
                    <a:pt x="49" y="188"/>
                  </a:cubicBezTo>
                  <a:cubicBezTo>
                    <a:pt x="49" y="191"/>
                    <a:pt x="53" y="194"/>
                    <a:pt x="56" y="194"/>
                  </a:cubicBezTo>
                  <a:cubicBezTo>
                    <a:pt x="121" y="188"/>
                    <a:pt x="121" y="188"/>
                    <a:pt x="121" y="188"/>
                  </a:cubicBezTo>
                  <a:cubicBezTo>
                    <a:pt x="121" y="188"/>
                    <a:pt x="121" y="188"/>
                    <a:pt x="121" y="188"/>
                  </a:cubicBezTo>
                  <a:cubicBezTo>
                    <a:pt x="123" y="187"/>
                    <a:pt x="122" y="184"/>
                    <a:pt x="120" y="181"/>
                  </a:cubicBezTo>
                  <a:cubicBezTo>
                    <a:pt x="117" y="178"/>
                    <a:pt x="116" y="174"/>
                    <a:pt x="115" y="170"/>
                  </a:cubicBezTo>
                  <a:cubicBezTo>
                    <a:pt x="115" y="165"/>
                    <a:pt x="116" y="160"/>
                    <a:pt x="119" y="155"/>
                  </a:cubicBezTo>
                  <a:cubicBezTo>
                    <a:pt x="125" y="147"/>
                    <a:pt x="134" y="146"/>
                    <a:pt x="136" y="146"/>
                  </a:cubicBezTo>
                  <a:cubicBezTo>
                    <a:pt x="137" y="146"/>
                    <a:pt x="146" y="145"/>
                    <a:pt x="153" y="152"/>
                  </a:cubicBezTo>
                  <a:cubicBezTo>
                    <a:pt x="157" y="156"/>
                    <a:pt x="159" y="161"/>
                    <a:pt x="160" y="166"/>
                  </a:cubicBezTo>
                  <a:cubicBezTo>
                    <a:pt x="160" y="170"/>
                    <a:pt x="159" y="174"/>
                    <a:pt x="157" y="177"/>
                  </a:cubicBezTo>
                  <a:cubicBezTo>
                    <a:pt x="155" y="181"/>
                    <a:pt x="155" y="184"/>
                    <a:pt x="156" y="185"/>
                  </a:cubicBezTo>
                  <a:cubicBezTo>
                    <a:pt x="157" y="185"/>
                    <a:pt x="157" y="185"/>
                    <a:pt x="157" y="185"/>
                  </a:cubicBezTo>
                  <a:cubicBezTo>
                    <a:pt x="222" y="180"/>
                    <a:pt x="222" y="180"/>
                    <a:pt x="222" y="180"/>
                  </a:cubicBezTo>
                  <a:cubicBezTo>
                    <a:pt x="226" y="179"/>
                    <a:pt x="228" y="176"/>
                    <a:pt x="228" y="172"/>
                  </a:cubicBezTo>
                  <a:cubicBezTo>
                    <a:pt x="223" y="107"/>
                    <a:pt x="223" y="107"/>
                    <a:pt x="223" y="107"/>
                  </a:cubicBezTo>
                  <a:cubicBezTo>
                    <a:pt x="222" y="107"/>
                    <a:pt x="222" y="107"/>
                    <a:pt x="222" y="107"/>
                  </a:cubicBezTo>
                  <a:cubicBezTo>
                    <a:pt x="221" y="105"/>
                    <a:pt x="218" y="106"/>
                    <a:pt x="215" y="109"/>
                  </a:cubicBezTo>
                  <a:cubicBezTo>
                    <a:pt x="209" y="113"/>
                    <a:pt x="199" y="116"/>
                    <a:pt x="189" y="109"/>
                  </a:cubicBezTo>
                  <a:cubicBezTo>
                    <a:pt x="182" y="104"/>
                    <a:pt x="180" y="97"/>
                    <a:pt x="180" y="94"/>
                  </a:cubicBezTo>
                  <a:cubicBezTo>
                    <a:pt x="180" y="93"/>
                    <a:pt x="180" y="93"/>
                    <a:pt x="180" y="93"/>
                  </a:cubicBezTo>
                  <a:cubicBezTo>
                    <a:pt x="180" y="93"/>
                    <a:pt x="180" y="93"/>
                    <a:pt x="180" y="92"/>
                  </a:cubicBezTo>
                  <a:cubicBezTo>
                    <a:pt x="180" y="89"/>
                    <a:pt x="180" y="82"/>
                    <a:pt x="186" y="76"/>
                  </a:cubicBezTo>
                  <a:cubicBezTo>
                    <a:pt x="195" y="67"/>
                    <a:pt x="206" y="68"/>
                    <a:pt x="212" y="71"/>
                  </a:cubicBezTo>
                  <a:cubicBezTo>
                    <a:pt x="215" y="74"/>
                    <a:pt x="218" y="74"/>
                    <a:pt x="219" y="72"/>
                  </a:cubicBezTo>
                  <a:cubicBezTo>
                    <a:pt x="219" y="72"/>
                    <a:pt x="219" y="72"/>
                    <a:pt x="219" y="7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14" y="3"/>
                    <a:pt x="210" y="0"/>
                    <a:pt x="206" y="0"/>
                  </a:cubicBezTo>
                  <a:cubicBezTo>
                    <a:pt x="142" y="6"/>
                    <a:pt x="142" y="6"/>
                    <a:pt x="142" y="6"/>
                  </a:cubicBezTo>
                  <a:cubicBezTo>
                    <a:pt x="141" y="6"/>
                    <a:pt x="141" y="6"/>
                    <a:pt x="141" y="6"/>
                  </a:cubicBezTo>
                  <a:cubicBezTo>
                    <a:pt x="140" y="8"/>
                    <a:pt x="140" y="10"/>
                    <a:pt x="143" y="14"/>
                  </a:cubicBezTo>
                  <a:cubicBezTo>
                    <a:pt x="146" y="17"/>
                    <a:pt x="147" y="21"/>
                    <a:pt x="147" y="25"/>
                  </a:cubicBezTo>
                  <a:cubicBezTo>
                    <a:pt x="148" y="30"/>
                    <a:pt x="146" y="35"/>
                    <a:pt x="143" y="39"/>
                  </a:cubicBezTo>
                  <a:cubicBezTo>
                    <a:pt x="138" y="48"/>
                    <a:pt x="129" y="48"/>
                    <a:pt x="127" y="48"/>
                  </a:cubicBezTo>
                  <a:cubicBezTo>
                    <a:pt x="125" y="49"/>
                    <a:pt x="117" y="49"/>
                    <a:pt x="110" y="4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9" name="Freeform 128">
              <a:extLst>
                <a:ext uri="{FF2B5EF4-FFF2-40B4-BE49-F238E27FC236}">
                  <a16:creationId xmlns:a16="http://schemas.microsoft.com/office/drawing/2014/main" id="{0DD3238A-A903-4ADF-91D9-22A96C7BD6C9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602" y="4391456"/>
              <a:ext cx="73377" cy="36002"/>
            </a:xfrm>
            <a:custGeom>
              <a:avLst/>
              <a:gdLst>
                <a:gd name="T0" fmla="*/ 3 w 59"/>
                <a:gd name="T1" fmla="*/ 18 h 30"/>
                <a:gd name="T2" fmla="*/ 1 w 59"/>
                <a:gd name="T3" fmla="*/ 3 h 30"/>
                <a:gd name="T4" fmla="*/ 14 w 59"/>
                <a:gd name="T5" fmla="*/ 15 h 30"/>
                <a:gd name="T6" fmla="*/ 19 w 59"/>
                <a:gd name="T7" fmla="*/ 11 h 30"/>
                <a:gd name="T8" fmla="*/ 28 w 59"/>
                <a:gd name="T9" fmla="*/ 5 h 30"/>
                <a:gd name="T10" fmla="*/ 36 w 59"/>
                <a:gd name="T11" fmla="*/ 0 h 30"/>
                <a:gd name="T12" fmla="*/ 38 w 59"/>
                <a:gd name="T13" fmla="*/ 4 h 30"/>
                <a:gd name="T14" fmla="*/ 32 w 59"/>
                <a:gd name="T15" fmla="*/ 10 h 30"/>
                <a:gd name="T16" fmla="*/ 27 w 59"/>
                <a:gd name="T17" fmla="*/ 14 h 30"/>
                <a:gd name="T18" fmla="*/ 25 w 59"/>
                <a:gd name="T19" fmla="*/ 18 h 30"/>
                <a:gd name="T20" fmla="*/ 23 w 59"/>
                <a:gd name="T21" fmla="*/ 20 h 30"/>
                <a:gd name="T22" fmla="*/ 27 w 59"/>
                <a:gd name="T23" fmla="*/ 19 h 30"/>
                <a:gd name="T24" fmla="*/ 32 w 59"/>
                <a:gd name="T25" fmla="*/ 17 h 30"/>
                <a:gd name="T26" fmla="*/ 38 w 59"/>
                <a:gd name="T27" fmla="*/ 12 h 30"/>
                <a:gd name="T28" fmla="*/ 41 w 59"/>
                <a:gd name="T29" fmla="*/ 8 h 30"/>
                <a:gd name="T30" fmla="*/ 48 w 59"/>
                <a:gd name="T31" fmla="*/ 3 h 30"/>
                <a:gd name="T32" fmla="*/ 50 w 59"/>
                <a:gd name="T33" fmla="*/ 6 h 30"/>
                <a:gd name="T34" fmla="*/ 44 w 59"/>
                <a:gd name="T35" fmla="*/ 15 h 30"/>
                <a:gd name="T36" fmla="*/ 50 w 59"/>
                <a:gd name="T37" fmla="*/ 13 h 30"/>
                <a:gd name="T38" fmla="*/ 57 w 59"/>
                <a:gd name="T39" fmla="*/ 9 h 30"/>
                <a:gd name="T40" fmla="*/ 59 w 59"/>
                <a:gd name="T41" fmla="*/ 12 h 30"/>
                <a:gd name="T42" fmla="*/ 58 w 59"/>
                <a:gd name="T43" fmla="*/ 14 h 30"/>
                <a:gd name="T44" fmla="*/ 53 w 59"/>
                <a:gd name="T45" fmla="*/ 17 h 30"/>
                <a:gd name="T46" fmla="*/ 48 w 59"/>
                <a:gd name="T47" fmla="*/ 21 h 30"/>
                <a:gd name="T48" fmla="*/ 43 w 59"/>
                <a:gd name="T49" fmla="*/ 24 h 30"/>
                <a:gd name="T50" fmla="*/ 39 w 59"/>
                <a:gd name="T51" fmla="*/ 25 h 30"/>
                <a:gd name="T52" fmla="*/ 26 w 59"/>
                <a:gd name="T53" fmla="*/ 30 h 30"/>
                <a:gd name="T54" fmla="*/ 21 w 59"/>
                <a:gd name="T55" fmla="*/ 29 h 30"/>
                <a:gd name="T56" fmla="*/ 18 w 59"/>
                <a:gd name="T57" fmla="*/ 29 h 30"/>
                <a:gd name="T58" fmla="*/ 10 w 59"/>
                <a:gd name="T59" fmla="*/ 26 h 30"/>
                <a:gd name="T60" fmla="*/ 3 w 59"/>
                <a:gd name="T61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9" h="30">
                  <a:moveTo>
                    <a:pt x="3" y="18"/>
                  </a:moveTo>
                  <a:cubicBezTo>
                    <a:pt x="0" y="9"/>
                    <a:pt x="0" y="4"/>
                    <a:pt x="1" y="3"/>
                  </a:cubicBezTo>
                  <a:cubicBezTo>
                    <a:pt x="1" y="3"/>
                    <a:pt x="5" y="17"/>
                    <a:pt x="14" y="15"/>
                  </a:cubicBezTo>
                  <a:cubicBezTo>
                    <a:pt x="14" y="15"/>
                    <a:pt x="17" y="12"/>
                    <a:pt x="19" y="11"/>
                  </a:cubicBezTo>
                  <a:cubicBezTo>
                    <a:pt x="21" y="10"/>
                    <a:pt x="27" y="5"/>
                    <a:pt x="28" y="5"/>
                  </a:cubicBezTo>
                  <a:cubicBezTo>
                    <a:pt x="29" y="4"/>
                    <a:pt x="34" y="0"/>
                    <a:pt x="36" y="0"/>
                  </a:cubicBezTo>
                  <a:cubicBezTo>
                    <a:pt x="38" y="1"/>
                    <a:pt x="39" y="3"/>
                    <a:pt x="38" y="4"/>
                  </a:cubicBezTo>
                  <a:cubicBezTo>
                    <a:pt x="37" y="5"/>
                    <a:pt x="33" y="9"/>
                    <a:pt x="32" y="10"/>
                  </a:cubicBezTo>
                  <a:cubicBezTo>
                    <a:pt x="32" y="11"/>
                    <a:pt x="28" y="13"/>
                    <a:pt x="27" y="14"/>
                  </a:cubicBezTo>
                  <a:cubicBezTo>
                    <a:pt x="26" y="15"/>
                    <a:pt x="25" y="18"/>
                    <a:pt x="25" y="18"/>
                  </a:cubicBezTo>
                  <a:cubicBezTo>
                    <a:pt x="25" y="18"/>
                    <a:pt x="23" y="20"/>
                    <a:pt x="23" y="20"/>
                  </a:cubicBezTo>
                  <a:cubicBezTo>
                    <a:pt x="23" y="20"/>
                    <a:pt x="25" y="20"/>
                    <a:pt x="27" y="19"/>
                  </a:cubicBezTo>
                  <a:cubicBezTo>
                    <a:pt x="29" y="18"/>
                    <a:pt x="32" y="17"/>
                    <a:pt x="32" y="17"/>
                  </a:cubicBezTo>
                  <a:cubicBezTo>
                    <a:pt x="33" y="16"/>
                    <a:pt x="35" y="13"/>
                    <a:pt x="38" y="12"/>
                  </a:cubicBezTo>
                  <a:cubicBezTo>
                    <a:pt x="40" y="11"/>
                    <a:pt x="40" y="9"/>
                    <a:pt x="41" y="8"/>
                  </a:cubicBezTo>
                  <a:cubicBezTo>
                    <a:pt x="42" y="7"/>
                    <a:pt x="45" y="2"/>
                    <a:pt x="48" y="3"/>
                  </a:cubicBezTo>
                  <a:cubicBezTo>
                    <a:pt x="50" y="3"/>
                    <a:pt x="52" y="4"/>
                    <a:pt x="50" y="6"/>
                  </a:cubicBezTo>
                  <a:cubicBezTo>
                    <a:pt x="49" y="8"/>
                    <a:pt x="45" y="14"/>
                    <a:pt x="44" y="15"/>
                  </a:cubicBezTo>
                  <a:cubicBezTo>
                    <a:pt x="44" y="15"/>
                    <a:pt x="48" y="13"/>
                    <a:pt x="50" y="13"/>
                  </a:cubicBezTo>
                  <a:cubicBezTo>
                    <a:pt x="51" y="12"/>
                    <a:pt x="55" y="9"/>
                    <a:pt x="57" y="9"/>
                  </a:cubicBezTo>
                  <a:cubicBezTo>
                    <a:pt x="58" y="9"/>
                    <a:pt x="59" y="10"/>
                    <a:pt x="59" y="12"/>
                  </a:cubicBezTo>
                  <a:cubicBezTo>
                    <a:pt x="59" y="13"/>
                    <a:pt x="59" y="13"/>
                    <a:pt x="58" y="14"/>
                  </a:cubicBezTo>
                  <a:cubicBezTo>
                    <a:pt x="56" y="15"/>
                    <a:pt x="54" y="16"/>
                    <a:pt x="53" y="17"/>
                  </a:cubicBezTo>
                  <a:cubicBezTo>
                    <a:pt x="52" y="18"/>
                    <a:pt x="49" y="20"/>
                    <a:pt x="48" y="21"/>
                  </a:cubicBezTo>
                  <a:cubicBezTo>
                    <a:pt x="46" y="22"/>
                    <a:pt x="44" y="23"/>
                    <a:pt x="43" y="24"/>
                  </a:cubicBezTo>
                  <a:cubicBezTo>
                    <a:pt x="42" y="24"/>
                    <a:pt x="39" y="25"/>
                    <a:pt x="39" y="25"/>
                  </a:cubicBezTo>
                  <a:cubicBezTo>
                    <a:pt x="39" y="25"/>
                    <a:pt x="28" y="30"/>
                    <a:pt x="26" y="30"/>
                  </a:cubicBezTo>
                  <a:cubicBezTo>
                    <a:pt x="25" y="30"/>
                    <a:pt x="22" y="29"/>
                    <a:pt x="21" y="29"/>
                  </a:cubicBezTo>
                  <a:cubicBezTo>
                    <a:pt x="20" y="29"/>
                    <a:pt x="19" y="29"/>
                    <a:pt x="18" y="29"/>
                  </a:cubicBezTo>
                  <a:cubicBezTo>
                    <a:pt x="16" y="28"/>
                    <a:pt x="13" y="27"/>
                    <a:pt x="10" y="26"/>
                  </a:cubicBezTo>
                  <a:cubicBezTo>
                    <a:pt x="6" y="25"/>
                    <a:pt x="3" y="18"/>
                    <a:pt x="3" y="18"/>
                  </a:cubicBez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0" name="Freeform 129">
              <a:extLst>
                <a:ext uri="{FF2B5EF4-FFF2-40B4-BE49-F238E27FC236}">
                  <a16:creationId xmlns:a16="http://schemas.microsoft.com/office/drawing/2014/main" id="{6C970A93-EB92-492A-AAD2-5D35F533D89E}"/>
                </a:ext>
              </a:extLst>
            </p:cNvPr>
            <p:cNvSpPr>
              <a:spLocks/>
            </p:cNvSpPr>
            <p:nvPr/>
          </p:nvSpPr>
          <p:spPr bwMode="gray">
            <a:xfrm>
              <a:off x="725659" y="4362376"/>
              <a:ext cx="48457" cy="45695"/>
            </a:xfrm>
            <a:custGeom>
              <a:avLst/>
              <a:gdLst>
                <a:gd name="T0" fmla="*/ 6 w 40"/>
                <a:gd name="T1" fmla="*/ 6 h 37"/>
                <a:gd name="T2" fmla="*/ 10 w 40"/>
                <a:gd name="T3" fmla="*/ 3 h 37"/>
                <a:gd name="T4" fmla="*/ 16 w 40"/>
                <a:gd name="T5" fmla="*/ 7 h 37"/>
                <a:gd name="T6" fmla="*/ 19 w 40"/>
                <a:gd name="T7" fmla="*/ 5 h 37"/>
                <a:gd name="T8" fmla="*/ 27 w 40"/>
                <a:gd name="T9" fmla="*/ 8 h 37"/>
                <a:gd name="T10" fmla="*/ 31 w 40"/>
                <a:gd name="T11" fmla="*/ 10 h 37"/>
                <a:gd name="T12" fmla="*/ 30 w 40"/>
                <a:gd name="T13" fmla="*/ 5 h 37"/>
                <a:gd name="T14" fmla="*/ 31 w 40"/>
                <a:gd name="T15" fmla="*/ 0 h 37"/>
                <a:gd name="T16" fmla="*/ 38 w 40"/>
                <a:gd name="T17" fmla="*/ 3 h 37"/>
                <a:gd name="T18" fmla="*/ 40 w 40"/>
                <a:gd name="T19" fmla="*/ 8 h 37"/>
                <a:gd name="T20" fmla="*/ 40 w 40"/>
                <a:gd name="T21" fmla="*/ 12 h 37"/>
                <a:gd name="T22" fmla="*/ 39 w 40"/>
                <a:gd name="T23" fmla="*/ 14 h 37"/>
                <a:gd name="T24" fmla="*/ 36 w 40"/>
                <a:gd name="T25" fmla="*/ 13 h 37"/>
                <a:gd name="T26" fmla="*/ 38 w 40"/>
                <a:gd name="T27" fmla="*/ 19 h 37"/>
                <a:gd name="T28" fmla="*/ 36 w 40"/>
                <a:gd name="T29" fmla="*/ 22 h 37"/>
                <a:gd name="T30" fmla="*/ 32 w 40"/>
                <a:gd name="T31" fmla="*/ 25 h 37"/>
                <a:gd name="T32" fmla="*/ 30 w 40"/>
                <a:gd name="T33" fmla="*/ 30 h 37"/>
                <a:gd name="T34" fmla="*/ 26 w 40"/>
                <a:gd name="T35" fmla="*/ 31 h 37"/>
                <a:gd name="T36" fmla="*/ 24 w 40"/>
                <a:gd name="T37" fmla="*/ 35 h 37"/>
                <a:gd name="T38" fmla="*/ 19 w 40"/>
                <a:gd name="T39" fmla="*/ 35 h 37"/>
                <a:gd name="T40" fmla="*/ 14 w 40"/>
                <a:gd name="T41" fmla="*/ 37 h 37"/>
                <a:gd name="T42" fmla="*/ 5 w 40"/>
                <a:gd name="T43" fmla="*/ 34 h 37"/>
                <a:gd name="T44" fmla="*/ 2 w 40"/>
                <a:gd name="T45" fmla="*/ 30 h 37"/>
                <a:gd name="T46" fmla="*/ 6 w 40"/>
                <a:gd name="T47" fmla="*/ 29 h 37"/>
                <a:gd name="T48" fmla="*/ 1 w 40"/>
                <a:gd name="T49" fmla="*/ 17 h 37"/>
                <a:gd name="T50" fmla="*/ 5 w 40"/>
                <a:gd name="T51" fmla="*/ 15 h 37"/>
                <a:gd name="T52" fmla="*/ 3 w 40"/>
                <a:gd name="T53" fmla="*/ 7 h 37"/>
                <a:gd name="T54" fmla="*/ 6 w 40"/>
                <a:gd name="T55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0" h="37">
                  <a:moveTo>
                    <a:pt x="6" y="6"/>
                  </a:moveTo>
                  <a:cubicBezTo>
                    <a:pt x="6" y="6"/>
                    <a:pt x="6" y="2"/>
                    <a:pt x="10" y="3"/>
                  </a:cubicBezTo>
                  <a:cubicBezTo>
                    <a:pt x="13" y="4"/>
                    <a:pt x="16" y="7"/>
                    <a:pt x="16" y="7"/>
                  </a:cubicBezTo>
                  <a:cubicBezTo>
                    <a:pt x="16" y="7"/>
                    <a:pt x="16" y="5"/>
                    <a:pt x="19" y="5"/>
                  </a:cubicBezTo>
                  <a:cubicBezTo>
                    <a:pt x="21" y="4"/>
                    <a:pt x="26" y="7"/>
                    <a:pt x="27" y="8"/>
                  </a:cubicBezTo>
                  <a:cubicBezTo>
                    <a:pt x="28" y="9"/>
                    <a:pt x="31" y="10"/>
                    <a:pt x="31" y="10"/>
                  </a:cubicBezTo>
                  <a:cubicBezTo>
                    <a:pt x="31" y="10"/>
                    <a:pt x="31" y="7"/>
                    <a:pt x="30" y="5"/>
                  </a:cubicBezTo>
                  <a:cubicBezTo>
                    <a:pt x="30" y="2"/>
                    <a:pt x="30" y="0"/>
                    <a:pt x="31" y="0"/>
                  </a:cubicBezTo>
                  <a:cubicBezTo>
                    <a:pt x="32" y="0"/>
                    <a:pt x="37" y="2"/>
                    <a:pt x="38" y="3"/>
                  </a:cubicBezTo>
                  <a:cubicBezTo>
                    <a:pt x="39" y="4"/>
                    <a:pt x="40" y="7"/>
                    <a:pt x="40" y="8"/>
                  </a:cubicBezTo>
                  <a:cubicBezTo>
                    <a:pt x="39" y="10"/>
                    <a:pt x="40" y="11"/>
                    <a:pt x="40" y="12"/>
                  </a:cubicBezTo>
                  <a:cubicBezTo>
                    <a:pt x="40" y="13"/>
                    <a:pt x="40" y="14"/>
                    <a:pt x="39" y="14"/>
                  </a:cubicBezTo>
                  <a:cubicBezTo>
                    <a:pt x="37" y="14"/>
                    <a:pt x="36" y="13"/>
                    <a:pt x="36" y="13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7" y="22"/>
                    <a:pt x="36" y="22"/>
                  </a:cubicBezTo>
                  <a:cubicBezTo>
                    <a:pt x="36" y="23"/>
                    <a:pt x="33" y="24"/>
                    <a:pt x="32" y="25"/>
                  </a:cubicBezTo>
                  <a:cubicBezTo>
                    <a:pt x="32" y="26"/>
                    <a:pt x="31" y="29"/>
                    <a:pt x="30" y="30"/>
                  </a:cubicBezTo>
                  <a:cubicBezTo>
                    <a:pt x="29" y="30"/>
                    <a:pt x="26" y="30"/>
                    <a:pt x="26" y="31"/>
                  </a:cubicBezTo>
                  <a:cubicBezTo>
                    <a:pt x="25" y="32"/>
                    <a:pt x="25" y="34"/>
                    <a:pt x="24" y="35"/>
                  </a:cubicBezTo>
                  <a:cubicBezTo>
                    <a:pt x="22" y="35"/>
                    <a:pt x="20" y="35"/>
                    <a:pt x="19" y="35"/>
                  </a:cubicBezTo>
                  <a:cubicBezTo>
                    <a:pt x="18" y="36"/>
                    <a:pt x="16" y="37"/>
                    <a:pt x="14" y="37"/>
                  </a:cubicBezTo>
                  <a:cubicBezTo>
                    <a:pt x="11" y="37"/>
                    <a:pt x="6" y="35"/>
                    <a:pt x="5" y="34"/>
                  </a:cubicBezTo>
                  <a:cubicBezTo>
                    <a:pt x="3" y="33"/>
                    <a:pt x="2" y="30"/>
                    <a:pt x="2" y="30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6" y="29"/>
                    <a:pt x="1" y="20"/>
                    <a:pt x="1" y="17"/>
                  </a:cubicBezTo>
                  <a:cubicBezTo>
                    <a:pt x="2" y="15"/>
                    <a:pt x="4" y="15"/>
                    <a:pt x="5" y="15"/>
                  </a:cubicBezTo>
                  <a:cubicBezTo>
                    <a:pt x="5" y="15"/>
                    <a:pt x="0" y="10"/>
                    <a:pt x="3" y="7"/>
                  </a:cubicBezTo>
                  <a:cubicBezTo>
                    <a:pt x="5" y="5"/>
                    <a:pt x="6" y="6"/>
                    <a:pt x="6" y="6"/>
                  </a:cubicBez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1" name="Freeform 130">
              <a:extLst>
                <a:ext uri="{FF2B5EF4-FFF2-40B4-BE49-F238E27FC236}">
                  <a16:creationId xmlns:a16="http://schemas.microsoft.com/office/drawing/2014/main" id="{CBBEFD1F-132D-4501-910F-B3C9C52E31A1}"/>
                </a:ext>
              </a:extLst>
            </p:cNvPr>
            <p:cNvSpPr>
              <a:spLocks/>
            </p:cNvSpPr>
            <p:nvPr/>
          </p:nvSpPr>
          <p:spPr bwMode="gray">
            <a:xfrm>
              <a:off x="812880" y="4453766"/>
              <a:ext cx="29074" cy="29079"/>
            </a:xfrm>
            <a:custGeom>
              <a:avLst/>
              <a:gdLst>
                <a:gd name="T0" fmla="*/ 0 w 24"/>
                <a:gd name="T1" fmla="*/ 10 h 24"/>
                <a:gd name="T2" fmla="*/ 0 w 24"/>
                <a:gd name="T3" fmla="*/ 12 h 24"/>
                <a:gd name="T4" fmla="*/ 1 w 24"/>
                <a:gd name="T5" fmla="*/ 17 h 24"/>
                <a:gd name="T6" fmla="*/ 5 w 24"/>
                <a:gd name="T7" fmla="*/ 21 h 24"/>
                <a:gd name="T8" fmla="*/ 9 w 24"/>
                <a:gd name="T9" fmla="*/ 22 h 24"/>
                <a:gd name="T10" fmla="*/ 16 w 24"/>
                <a:gd name="T11" fmla="*/ 23 h 24"/>
                <a:gd name="T12" fmla="*/ 20 w 24"/>
                <a:gd name="T13" fmla="*/ 23 h 24"/>
                <a:gd name="T14" fmla="*/ 24 w 24"/>
                <a:gd name="T15" fmla="*/ 20 h 24"/>
                <a:gd name="T16" fmla="*/ 23 w 24"/>
                <a:gd name="T17" fmla="*/ 10 h 24"/>
                <a:gd name="T18" fmla="*/ 20 w 24"/>
                <a:gd name="T19" fmla="*/ 9 h 24"/>
                <a:gd name="T20" fmla="*/ 21 w 24"/>
                <a:gd name="T21" fmla="*/ 4 h 24"/>
                <a:gd name="T22" fmla="*/ 19 w 24"/>
                <a:gd name="T23" fmla="*/ 2 h 24"/>
                <a:gd name="T24" fmla="*/ 17 w 24"/>
                <a:gd name="T25" fmla="*/ 3 h 24"/>
                <a:gd name="T26" fmla="*/ 15 w 24"/>
                <a:gd name="T27" fmla="*/ 0 h 24"/>
                <a:gd name="T28" fmla="*/ 11 w 24"/>
                <a:gd name="T29" fmla="*/ 2 h 24"/>
                <a:gd name="T30" fmla="*/ 6 w 24"/>
                <a:gd name="T31" fmla="*/ 9 h 24"/>
                <a:gd name="T32" fmla="*/ 4 w 24"/>
                <a:gd name="T33" fmla="*/ 11 h 24"/>
                <a:gd name="T34" fmla="*/ 0 w 24"/>
                <a:gd name="T35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4" h="24">
                  <a:moveTo>
                    <a:pt x="0" y="10"/>
                  </a:moveTo>
                  <a:cubicBezTo>
                    <a:pt x="0" y="10"/>
                    <a:pt x="0" y="10"/>
                    <a:pt x="0" y="12"/>
                  </a:cubicBezTo>
                  <a:cubicBezTo>
                    <a:pt x="0" y="13"/>
                    <a:pt x="0" y="16"/>
                    <a:pt x="1" y="17"/>
                  </a:cubicBezTo>
                  <a:cubicBezTo>
                    <a:pt x="1" y="17"/>
                    <a:pt x="4" y="20"/>
                    <a:pt x="5" y="21"/>
                  </a:cubicBezTo>
                  <a:cubicBezTo>
                    <a:pt x="7" y="21"/>
                    <a:pt x="8" y="22"/>
                    <a:pt x="9" y="22"/>
                  </a:cubicBezTo>
                  <a:cubicBezTo>
                    <a:pt x="10" y="22"/>
                    <a:pt x="15" y="23"/>
                    <a:pt x="16" y="23"/>
                  </a:cubicBezTo>
                  <a:cubicBezTo>
                    <a:pt x="17" y="23"/>
                    <a:pt x="19" y="24"/>
                    <a:pt x="20" y="23"/>
                  </a:cubicBezTo>
                  <a:cubicBezTo>
                    <a:pt x="21" y="23"/>
                    <a:pt x="23" y="22"/>
                    <a:pt x="24" y="20"/>
                  </a:cubicBezTo>
                  <a:cubicBezTo>
                    <a:pt x="24" y="18"/>
                    <a:pt x="24" y="12"/>
                    <a:pt x="23" y="10"/>
                  </a:cubicBezTo>
                  <a:cubicBezTo>
                    <a:pt x="22" y="9"/>
                    <a:pt x="21" y="8"/>
                    <a:pt x="20" y="9"/>
                  </a:cubicBezTo>
                  <a:cubicBezTo>
                    <a:pt x="20" y="9"/>
                    <a:pt x="22" y="5"/>
                    <a:pt x="21" y="4"/>
                  </a:cubicBezTo>
                  <a:cubicBezTo>
                    <a:pt x="21" y="4"/>
                    <a:pt x="21" y="3"/>
                    <a:pt x="19" y="2"/>
                  </a:cubicBezTo>
                  <a:cubicBezTo>
                    <a:pt x="17" y="2"/>
                    <a:pt x="17" y="3"/>
                    <a:pt x="17" y="3"/>
                  </a:cubicBezTo>
                  <a:cubicBezTo>
                    <a:pt x="17" y="3"/>
                    <a:pt x="16" y="0"/>
                    <a:pt x="15" y="0"/>
                  </a:cubicBezTo>
                  <a:cubicBezTo>
                    <a:pt x="13" y="0"/>
                    <a:pt x="13" y="1"/>
                    <a:pt x="11" y="2"/>
                  </a:cubicBezTo>
                  <a:cubicBezTo>
                    <a:pt x="9" y="3"/>
                    <a:pt x="7" y="8"/>
                    <a:pt x="6" y="9"/>
                  </a:cubicBezTo>
                  <a:cubicBezTo>
                    <a:pt x="4" y="11"/>
                    <a:pt x="4" y="11"/>
                    <a:pt x="4" y="11"/>
                  </a:cubicBezTo>
                  <a:lnTo>
                    <a:pt x="0" y="10"/>
                  </a:ln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2" name="Freeform 131">
              <a:extLst>
                <a:ext uri="{FF2B5EF4-FFF2-40B4-BE49-F238E27FC236}">
                  <a16:creationId xmlns:a16="http://schemas.microsoft.com/office/drawing/2014/main" id="{0E8C2CC0-0CE1-4CB0-90D3-D57C6315EBF9}"/>
                </a:ext>
              </a:extLst>
            </p:cNvPr>
            <p:cNvSpPr>
              <a:spLocks/>
            </p:cNvSpPr>
            <p:nvPr/>
          </p:nvSpPr>
          <p:spPr bwMode="gray">
            <a:xfrm>
              <a:off x="981785" y="4423303"/>
              <a:ext cx="48457" cy="36002"/>
            </a:xfrm>
            <a:custGeom>
              <a:avLst/>
              <a:gdLst>
                <a:gd name="T0" fmla="*/ 14 w 39"/>
                <a:gd name="T1" fmla="*/ 25 h 30"/>
                <a:gd name="T2" fmla="*/ 17 w 39"/>
                <a:gd name="T3" fmla="*/ 29 h 30"/>
                <a:gd name="T4" fmla="*/ 23 w 39"/>
                <a:gd name="T5" fmla="*/ 26 h 30"/>
                <a:gd name="T6" fmla="*/ 28 w 39"/>
                <a:gd name="T7" fmla="*/ 24 h 30"/>
                <a:gd name="T8" fmla="*/ 30 w 39"/>
                <a:gd name="T9" fmla="*/ 23 h 30"/>
                <a:gd name="T10" fmla="*/ 32 w 39"/>
                <a:gd name="T11" fmla="*/ 21 h 30"/>
                <a:gd name="T12" fmla="*/ 33 w 39"/>
                <a:gd name="T13" fmla="*/ 22 h 30"/>
                <a:gd name="T14" fmla="*/ 30 w 39"/>
                <a:gd name="T15" fmla="*/ 24 h 30"/>
                <a:gd name="T16" fmla="*/ 26 w 39"/>
                <a:gd name="T17" fmla="*/ 26 h 30"/>
                <a:gd name="T18" fmla="*/ 27 w 39"/>
                <a:gd name="T19" fmla="*/ 29 h 30"/>
                <a:gd name="T20" fmla="*/ 34 w 39"/>
                <a:gd name="T21" fmla="*/ 28 h 30"/>
                <a:gd name="T22" fmla="*/ 37 w 39"/>
                <a:gd name="T23" fmla="*/ 27 h 30"/>
                <a:gd name="T24" fmla="*/ 38 w 39"/>
                <a:gd name="T25" fmla="*/ 24 h 30"/>
                <a:gd name="T26" fmla="*/ 38 w 39"/>
                <a:gd name="T27" fmla="*/ 21 h 30"/>
                <a:gd name="T28" fmla="*/ 37 w 39"/>
                <a:gd name="T29" fmla="*/ 19 h 30"/>
                <a:gd name="T30" fmla="*/ 36 w 39"/>
                <a:gd name="T31" fmla="*/ 10 h 30"/>
                <a:gd name="T32" fmla="*/ 34 w 39"/>
                <a:gd name="T33" fmla="*/ 5 h 30"/>
                <a:gd name="T34" fmla="*/ 31 w 39"/>
                <a:gd name="T35" fmla="*/ 2 h 30"/>
                <a:gd name="T36" fmla="*/ 25 w 39"/>
                <a:gd name="T37" fmla="*/ 1 h 30"/>
                <a:gd name="T38" fmla="*/ 23 w 39"/>
                <a:gd name="T39" fmla="*/ 1 h 30"/>
                <a:gd name="T40" fmla="*/ 16 w 39"/>
                <a:gd name="T41" fmla="*/ 3 h 30"/>
                <a:gd name="T42" fmla="*/ 13 w 39"/>
                <a:gd name="T43" fmla="*/ 5 h 30"/>
                <a:gd name="T44" fmla="*/ 13 w 39"/>
                <a:gd name="T45" fmla="*/ 5 h 30"/>
                <a:gd name="T46" fmla="*/ 11 w 39"/>
                <a:gd name="T47" fmla="*/ 8 h 30"/>
                <a:gd name="T48" fmla="*/ 3 w 39"/>
                <a:gd name="T49" fmla="*/ 17 h 30"/>
                <a:gd name="T50" fmla="*/ 2 w 39"/>
                <a:gd name="T51" fmla="*/ 22 h 30"/>
                <a:gd name="T52" fmla="*/ 6 w 39"/>
                <a:gd name="T53" fmla="*/ 21 h 30"/>
                <a:gd name="T54" fmla="*/ 15 w 39"/>
                <a:gd name="T55" fmla="*/ 14 h 30"/>
                <a:gd name="T56" fmla="*/ 16 w 39"/>
                <a:gd name="T57" fmla="*/ 13 h 30"/>
                <a:gd name="T58" fmla="*/ 10 w 39"/>
                <a:gd name="T59" fmla="*/ 19 h 30"/>
                <a:gd name="T60" fmla="*/ 6 w 39"/>
                <a:gd name="T61" fmla="*/ 23 h 30"/>
                <a:gd name="T62" fmla="*/ 6 w 39"/>
                <a:gd name="T63" fmla="*/ 26 h 30"/>
                <a:gd name="T64" fmla="*/ 11 w 39"/>
                <a:gd name="T65" fmla="*/ 25 h 30"/>
                <a:gd name="T66" fmla="*/ 19 w 39"/>
                <a:gd name="T67" fmla="*/ 19 h 30"/>
                <a:gd name="T68" fmla="*/ 24 w 39"/>
                <a:gd name="T69" fmla="*/ 16 h 30"/>
                <a:gd name="T70" fmla="*/ 26 w 39"/>
                <a:gd name="T71" fmla="*/ 17 h 30"/>
                <a:gd name="T72" fmla="*/ 24 w 39"/>
                <a:gd name="T73" fmla="*/ 19 h 30"/>
                <a:gd name="T74" fmla="*/ 18 w 39"/>
                <a:gd name="T75" fmla="*/ 23 h 30"/>
                <a:gd name="T76" fmla="*/ 14 w 39"/>
                <a:gd name="T77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9" h="30">
                  <a:moveTo>
                    <a:pt x="14" y="25"/>
                  </a:moveTo>
                  <a:cubicBezTo>
                    <a:pt x="12" y="28"/>
                    <a:pt x="16" y="30"/>
                    <a:pt x="17" y="29"/>
                  </a:cubicBezTo>
                  <a:cubicBezTo>
                    <a:pt x="19" y="28"/>
                    <a:pt x="22" y="27"/>
                    <a:pt x="23" y="26"/>
                  </a:cubicBezTo>
                  <a:cubicBezTo>
                    <a:pt x="24" y="26"/>
                    <a:pt x="27" y="24"/>
                    <a:pt x="28" y="24"/>
                  </a:cubicBezTo>
                  <a:cubicBezTo>
                    <a:pt x="29" y="24"/>
                    <a:pt x="30" y="23"/>
                    <a:pt x="30" y="23"/>
                  </a:cubicBezTo>
                  <a:cubicBezTo>
                    <a:pt x="31" y="22"/>
                    <a:pt x="32" y="21"/>
                    <a:pt x="32" y="21"/>
                  </a:cubicBezTo>
                  <a:cubicBezTo>
                    <a:pt x="32" y="21"/>
                    <a:pt x="33" y="21"/>
                    <a:pt x="33" y="22"/>
                  </a:cubicBezTo>
                  <a:cubicBezTo>
                    <a:pt x="33" y="23"/>
                    <a:pt x="32" y="24"/>
                    <a:pt x="30" y="24"/>
                  </a:cubicBezTo>
                  <a:cubicBezTo>
                    <a:pt x="29" y="25"/>
                    <a:pt x="27" y="24"/>
                    <a:pt x="26" y="26"/>
                  </a:cubicBezTo>
                  <a:cubicBezTo>
                    <a:pt x="26" y="27"/>
                    <a:pt x="25" y="28"/>
                    <a:pt x="27" y="29"/>
                  </a:cubicBezTo>
                  <a:cubicBezTo>
                    <a:pt x="29" y="29"/>
                    <a:pt x="33" y="28"/>
                    <a:pt x="34" y="28"/>
                  </a:cubicBezTo>
                  <a:cubicBezTo>
                    <a:pt x="35" y="28"/>
                    <a:pt x="36" y="27"/>
                    <a:pt x="37" y="27"/>
                  </a:cubicBezTo>
                  <a:cubicBezTo>
                    <a:pt x="37" y="26"/>
                    <a:pt x="38" y="24"/>
                    <a:pt x="38" y="24"/>
                  </a:cubicBezTo>
                  <a:cubicBezTo>
                    <a:pt x="38" y="23"/>
                    <a:pt x="39" y="22"/>
                    <a:pt x="38" y="21"/>
                  </a:cubicBezTo>
                  <a:cubicBezTo>
                    <a:pt x="38" y="20"/>
                    <a:pt x="37" y="19"/>
                    <a:pt x="37" y="19"/>
                  </a:cubicBezTo>
                  <a:cubicBezTo>
                    <a:pt x="37" y="18"/>
                    <a:pt x="37" y="12"/>
                    <a:pt x="36" y="10"/>
                  </a:cubicBezTo>
                  <a:cubicBezTo>
                    <a:pt x="36" y="8"/>
                    <a:pt x="35" y="7"/>
                    <a:pt x="34" y="5"/>
                  </a:cubicBezTo>
                  <a:cubicBezTo>
                    <a:pt x="33" y="4"/>
                    <a:pt x="33" y="3"/>
                    <a:pt x="31" y="2"/>
                  </a:cubicBezTo>
                  <a:cubicBezTo>
                    <a:pt x="29" y="2"/>
                    <a:pt x="26" y="1"/>
                    <a:pt x="25" y="1"/>
                  </a:cubicBezTo>
                  <a:cubicBezTo>
                    <a:pt x="24" y="1"/>
                    <a:pt x="24" y="0"/>
                    <a:pt x="23" y="1"/>
                  </a:cubicBezTo>
                  <a:cubicBezTo>
                    <a:pt x="21" y="1"/>
                    <a:pt x="17" y="2"/>
                    <a:pt x="16" y="3"/>
                  </a:cubicBezTo>
                  <a:cubicBezTo>
                    <a:pt x="15" y="4"/>
                    <a:pt x="14" y="3"/>
                    <a:pt x="13" y="5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4" y="15"/>
                    <a:pt x="3" y="17"/>
                  </a:cubicBezTo>
                  <a:cubicBezTo>
                    <a:pt x="1" y="19"/>
                    <a:pt x="0" y="20"/>
                    <a:pt x="2" y="22"/>
                  </a:cubicBezTo>
                  <a:cubicBezTo>
                    <a:pt x="2" y="22"/>
                    <a:pt x="4" y="23"/>
                    <a:pt x="6" y="21"/>
                  </a:cubicBezTo>
                  <a:cubicBezTo>
                    <a:pt x="8" y="19"/>
                    <a:pt x="13" y="15"/>
                    <a:pt x="15" y="1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6" y="13"/>
                    <a:pt x="11" y="18"/>
                    <a:pt x="10" y="19"/>
                  </a:cubicBezTo>
                  <a:cubicBezTo>
                    <a:pt x="9" y="20"/>
                    <a:pt x="7" y="22"/>
                    <a:pt x="6" y="23"/>
                  </a:cubicBezTo>
                  <a:cubicBezTo>
                    <a:pt x="6" y="23"/>
                    <a:pt x="5" y="24"/>
                    <a:pt x="6" y="26"/>
                  </a:cubicBezTo>
                  <a:cubicBezTo>
                    <a:pt x="7" y="27"/>
                    <a:pt x="9" y="26"/>
                    <a:pt x="11" y="25"/>
                  </a:cubicBezTo>
                  <a:cubicBezTo>
                    <a:pt x="12" y="24"/>
                    <a:pt x="18" y="20"/>
                    <a:pt x="19" y="19"/>
                  </a:cubicBezTo>
                  <a:cubicBezTo>
                    <a:pt x="20" y="19"/>
                    <a:pt x="24" y="17"/>
                    <a:pt x="24" y="16"/>
                  </a:cubicBezTo>
                  <a:cubicBezTo>
                    <a:pt x="25" y="16"/>
                    <a:pt x="26" y="17"/>
                    <a:pt x="26" y="17"/>
                  </a:cubicBezTo>
                  <a:cubicBezTo>
                    <a:pt x="26" y="17"/>
                    <a:pt x="25" y="19"/>
                    <a:pt x="24" y="19"/>
                  </a:cubicBezTo>
                  <a:cubicBezTo>
                    <a:pt x="24" y="20"/>
                    <a:pt x="19" y="23"/>
                    <a:pt x="18" y="23"/>
                  </a:cubicBezTo>
                  <a:cubicBezTo>
                    <a:pt x="17" y="24"/>
                    <a:pt x="15" y="25"/>
                    <a:pt x="14" y="25"/>
                  </a:cubicBez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3" name="Freeform 132">
              <a:extLst>
                <a:ext uri="{FF2B5EF4-FFF2-40B4-BE49-F238E27FC236}">
                  <a16:creationId xmlns:a16="http://schemas.microsoft.com/office/drawing/2014/main" id="{55403838-7F9F-4124-8815-B9796A1E10BD}"/>
                </a:ext>
              </a:extLst>
            </p:cNvPr>
            <p:cNvSpPr>
              <a:spLocks/>
            </p:cNvSpPr>
            <p:nvPr/>
          </p:nvSpPr>
          <p:spPr bwMode="gray">
            <a:xfrm>
              <a:off x="1084236" y="4088206"/>
              <a:ext cx="293507" cy="790663"/>
            </a:xfrm>
            <a:custGeom>
              <a:avLst/>
              <a:gdLst>
                <a:gd name="T0" fmla="*/ 217 w 240"/>
                <a:gd name="T1" fmla="*/ 612 h 645"/>
                <a:gd name="T2" fmla="*/ 211 w 240"/>
                <a:gd name="T3" fmla="*/ 582 h 645"/>
                <a:gd name="T4" fmla="*/ 209 w 240"/>
                <a:gd name="T5" fmla="*/ 517 h 645"/>
                <a:gd name="T6" fmla="*/ 198 w 240"/>
                <a:gd name="T7" fmla="*/ 406 h 645"/>
                <a:gd name="T8" fmla="*/ 206 w 240"/>
                <a:gd name="T9" fmla="*/ 345 h 645"/>
                <a:gd name="T10" fmla="*/ 197 w 240"/>
                <a:gd name="T11" fmla="*/ 282 h 645"/>
                <a:gd name="T12" fmla="*/ 204 w 240"/>
                <a:gd name="T13" fmla="*/ 243 h 645"/>
                <a:gd name="T14" fmla="*/ 236 w 240"/>
                <a:gd name="T15" fmla="*/ 235 h 645"/>
                <a:gd name="T16" fmla="*/ 234 w 240"/>
                <a:gd name="T17" fmla="*/ 215 h 645"/>
                <a:gd name="T18" fmla="*/ 208 w 240"/>
                <a:gd name="T19" fmla="*/ 176 h 645"/>
                <a:gd name="T20" fmla="*/ 205 w 240"/>
                <a:gd name="T21" fmla="*/ 134 h 645"/>
                <a:gd name="T22" fmla="*/ 179 w 240"/>
                <a:gd name="T23" fmla="*/ 109 h 645"/>
                <a:gd name="T24" fmla="*/ 144 w 240"/>
                <a:gd name="T25" fmla="*/ 90 h 645"/>
                <a:gd name="T26" fmla="*/ 144 w 240"/>
                <a:gd name="T27" fmla="*/ 68 h 645"/>
                <a:gd name="T28" fmla="*/ 153 w 240"/>
                <a:gd name="T29" fmla="*/ 39 h 645"/>
                <a:gd name="T30" fmla="*/ 120 w 240"/>
                <a:gd name="T31" fmla="*/ 0 h 645"/>
                <a:gd name="T32" fmla="*/ 92 w 240"/>
                <a:gd name="T33" fmla="*/ 43 h 645"/>
                <a:gd name="T34" fmla="*/ 95 w 240"/>
                <a:gd name="T35" fmla="*/ 61 h 645"/>
                <a:gd name="T36" fmla="*/ 101 w 240"/>
                <a:gd name="T37" fmla="*/ 87 h 645"/>
                <a:gd name="T38" fmla="*/ 86 w 240"/>
                <a:gd name="T39" fmla="*/ 99 h 645"/>
                <a:gd name="T40" fmla="*/ 47 w 240"/>
                <a:gd name="T41" fmla="*/ 114 h 645"/>
                <a:gd name="T42" fmla="*/ 38 w 240"/>
                <a:gd name="T43" fmla="*/ 169 h 645"/>
                <a:gd name="T44" fmla="*/ 18 w 240"/>
                <a:gd name="T45" fmla="*/ 215 h 645"/>
                <a:gd name="T46" fmla="*/ 6 w 240"/>
                <a:gd name="T47" fmla="*/ 248 h 645"/>
                <a:gd name="T48" fmla="*/ 32 w 240"/>
                <a:gd name="T49" fmla="*/ 249 h 645"/>
                <a:gd name="T50" fmla="*/ 50 w 240"/>
                <a:gd name="T51" fmla="*/ 279 h 645"/>
                <a:gd name="T52" fmla="*/ 50 w 240"/>
                <a:gd name="T53" fmla="*/ 343 h 645"/>
                <a:gd name="T54" fmla="*/ 49 w 240"/>
                <a:gd name="T55" fmla="*/ 462 h 645"/>
                <a:gd name="T56" fmla="*/ 42 w 240"/>
                <a:gd name="T57" fmla="*/ 578 h 645"/>
                <a:gd name="T58" fmla="*/ 43 w 240"/>
                <a:gd name="T59" fmla="*/ 608 h 645"/>
                <a:gd name="T60" fmla="*/ 36 w 240"/>
                <a:gd name="T61" fmla="*/ 638 h 645"/>
                <a:gd name="T62" fmla="*/ 75 w 240"/>
                <a:gd name="T63" fmla="*/ 638 h 645"/>
                <a:gd name="T64" fmla="*/ 76 w 240"/>
                <a:gd name="T65" fmla="*/ 613 h 645"/>
                <a:gd name="T66" fmla="*/ 79 w 240"/>
                <a:gd name="T67" fmla="*/ 600 h 645"/>
                <a:gd name="T68" fmla="*/ 89 w 240"/>
                <a:gd name="T69" fmla="*/ 543 h 645"/>
                <a:gd name="T70" fmla="*/ 87 w 240"/>
                <a:gd name="T71" fmla="*/ 486 h 645"/>
                <a:gd name="T72" fmla="*/ 97 w 240"/>
                <a:gd name="T73" fmla="*/ 441 h 645"/>
                <a:gd name="T74" fmla="*/ 100 w 240"/>
                <a:gd name="T75" fmla="*/ 432 h 645"/>
                <a:gd name="T76" fmla="*/ 108 w 240"/>
                <a:gd name="T77" fmla="*/ 412 h 645"/>
                <a:gd name="T78" fmla="*/ 122 w 240"/>
                <a:gd name="T79" fmla="*/ 372 h 645"/>
                <a:gd name="T80" fmla="*/ 123 w 240"/>
                <a:gd name="T81" fmla="*/ 370 h 645"/>
                <a:gd name="T82" fmla="*/ 129 w 240"/>
                <a:gd name="T83" fmla="*/ 375 h 645"/>
                <a:gd name="T84" fmla="*/ 148 w 240"/>
                <a:gd name="T85" fmla="*/ 438 h 645"/>
                <a:gd name="T86" fmla="*/ 156 w 240"/>
                <a:gd name="T87" fmla="*/ 492 h 645"/>
                <a:gd name="T88" fmla="*/ 170 w 240"/>
                <a:gd name="T89" fmla="*/ 584 h 645"/>
                <a:gd name="T90" fmla="*/ 168 w 240"/>
                <a:gd name="T91" fmla="*/ 605 h 645"/>
                <a:gd name="T92" fmla="*/ 186 w 240"/>
                <a:gd name="T93" fmla="*/ 625 h 645"/>
                <a:gd name="T94" fmla="*/ 239 w 240"/>
                <a:gd name="T95" fmla="*/ 640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0" h="645">
                  <a:moveTo>
                    <a:pt x="239" y="635"/>
                  </a:moveTo>
                  <a:cubicBezTo>
                    <a:pt x="237" y="632"/>
                    <a:pt x="237" y="632"/>
                    <a:pt x="237" y="632"/>
                  </a:cubicBezTo>
                  <a:cubicBezTo>
                    <a:pt x="237" y="625"/>
                    <a:pt x="222" y="615"/>
                    <a:pt x="217" y="612"/>
                  </a:cubicBezTo>
                  <a:cubicBezTo>
                    <a:pt x="213" y="610"/>
                    <a:pt x="208" y="600"/>
                    <a:pt x="208" y="600"/>
                  </a:cubicBezTo>
                  <a:cubicBezTo>
                    <a:pt x="208" y="600"/>
                    <a:pt x="208" y="600"/>
                    <a:pt x="208" y="600"/>
                  </a:cubicBezTo>
                  <a:cubicBezTo>
                    <a:pt x="210" y="592"/>
                    <a:pt x="211" y="583"/>
                    <a:pt x="211" y="582"/>
                  </a:cubicBezTo>
                  <a:cubicBezTo>
                    <a:pt x="211" y="580"/>
                    <a:pt x="209" y="572"/>
                    <a:pt x="209" y="569"/>
                  </a:cubicBezTo>
                  <a:cubicBezTo>
                    <a:pt x="208" y="565"/>
                    <a:pt x="207" y="562"/>
                    <a:pt x="209" y="551"/>
                  </a:cubicBezTo>
                  <a:cubicBezTo>
                    <a:pt x="211" y="539"/>
                    <a:pt x="210" y="523"/>
                    <a:pt x="209" y="517"/>
                  </a:cubicBezTo>
                  <a:cubicBezTo>
                    <a:pt x="208" y="510"/>
                    <a:pt x="202" y="486"/>
                    <a:pt x="200" y="479"/>
                  </a:cubicBezTo>
                  <a:cubicBezTo>
                    <a:pt x="198" y="472"/>
                    <a:pt x="199" y="454"/>
                    <a:pt x="198" y="445"/>
                  </a:cubicBezTo>
                  <a:cubicBezTo>
                    <a:pt x="197" y="437"/>
                    <a:pt x="197" y="416"/>
                    <a:pt x="198" y="406"/>
                  </a:cubicBezTo>
                  <a:cubicBezTo>
                    <a:pt x="199" y="397"/>
                    <a:pt x="200" y="377"/>
                    <a:pt x="201" y="370"/>
                  </a:cubicBezTo>
                  <a:cubicBezTo>
                    <a:pt x="202" y="363"/>
                    <a:pt x="202" y="350"/>
                    <a:pt x="202" y="350"/>
                  </a:cubicBezTo>
                  <a:cubicBezTo>
                    <a:pt x="202" y="349"/>
                    <a:pt x="205" y="347"/>
                    <a:pt x="206" y="345"/>
                  </a:cubicBezTo>
                  <a:cubicBezTo>
                    <a:pt x="206" y="344"/>
                    <a:pt x="206" y="341"/>
                    <a:pt x="204" y="329"/>
                  </a:cubicBezTo>
                  <a:cubicBezTo>
                    <a:pt x="202" y="317"/>
                    <a:pt x="196" y="283"/>
                    <a:pt x="196" y="283"/>
                  </a:cubicBezTo>
                  <a:cubicBezTo>
                    <a:pt x="196" y="283"/>
                    <a:pt x="196" y="282"/>
                    <a:pt x="197" y="282"/>
                  </a:cubicBezTo>
                  <a:cubicBezTo>
                    <a:pt x="198" y="281"/>
                    <a:pt x="195" y="267"/>
                    <a:pt x="193" y="263"/>
                  </a:cubicBezTo>
                  <a:cubicBezTo>
                    <a:pt x="192" y="259"/>
                    <a:pt x="189" y="250"/>
                    <a:pt x="189" y="250"/>
                  </a:cubicBezTo>
                  <a:cubicBezTo>
                    <a:pt x="204" y="243"/>
                    <a:pt x="204" y="243"/>
                    <a:pt x="204" y="243"/>
                  </a:cubicBezTo>
                  <a:cubicBezTo>
                    <a:pt x="204" y="243"/>
                    <a:pt x="210" y="244"/>
                    <a:pt x="213" y="245"/>
                  </a:cubicBezTo>
                  <a:cubicBezTo>
                    <a:pt x="217" y="246"/>
                    <a:pt x="223" y="249"/>
                    <a:pt x="226" y="249"/>
                  </a:cubicBezTo>
                  <a:cubicBezTo>
                    <a:pt x="228" y="249"/>
                    <a:pt x="235" y="237"/>
                    <a:pt x="236" y="235"/>
                  </a:cubicBezTo>
                  <a:cubicBezTo>
                    <a:pt x="236" y="234"/>
                    <a:pt x="235" y="222"/>
                    <a:pt x="235" y="217"/>
                  </a:cubicBezTo>
                  <a:cubicBezTo>
                    <a:pt x="235" y="217"/>
                    <a:pt x="235" y="217"/>
                    <a:pt x="234" y="217"/>
                  </a:cubicBezTo>
                  <a:cubicBezTo>
                    <a:pt x="234" y="216"/>
                    <a:pt x="234" y="216"/>
                    <a:pt x="234" y="215"/>
                  </a:cubicBezTo>
                  <a:cubicBezTo>
                    <a:pt x="234" y="213"/>
                    <a:pt x="224" y="212"/>
                    <a:pt x="221" y="210"/>
                  </a:cubicBezTo>
                  <a:cubicBezTo>
                    <a:pt x="217" y="208"/>
                    <a:pt x="210" y="207"/>
                    <a:pt x="210" y="204"/>
                  </a:cubicBezTo>
                  <a:cubicBezTo>
                    <a:pt x="210" y="201"/>
                    <a:pt x="208" y="182"/>
                    <a:pt x="208" y="176"/>
                  </a:cubicBezTo>
                  <a:cubicBezTo>
                    <a:pt x="208" y="170"/>
                    <a:pt x="210" y="164"/>
                    <a:pt x="209" y="160"/>
                  </a:cubicBezTo>
                  <a:cubicBezTo>
                    <a:pt x="207" y="157"/>
                    <a:pt x="207" y="146"/>
                    <a:pt x="207" y="141"/>
                  </a:cubicBezTo>
                  <a:cubicBezTo>
                    <a:pt x="206" y="135"/>
                    <a:pt x="204" y="135"/>
                    <a:pt x="205" y="134"/>
                  </a:cubicBezTo>
                  <a:cubicBezTo>
                    <a:pt x="205" y="132"/>
                    <a:pt x="202" y="120"/>
                    <a:pt x="202" y="117"/>
                  </a:cubicBezTo>
                  <a:cubicBezTo>
                    <a:pt x="201" y="113"/>
                    <a:pt x="197" y="112"/>
                    <a:pt x="197" y="112"/>
                  </a:cubicBezTo>
                  <a:cubicBezTo>
                    <a:pt x="197" y="112"/>
                    <a:pt x="189" y="110"/>
                    <a:pt x="179" y="109"/>
                  </a:cubicBezTo>
                  <a:cubicBezTo>
                    <a:pt x="170" y="107"/>
                    <a:pt x="157" y="102"/>
                    <a:pt x="155" y="101"/>
                  </a:cubicBezTo>
                  <a:cubicBezTo>
                    <a:pt x="154" y="100"/>
                    <a:pt x="151" y="100"/>
                    <a:pt x="150" y="98"/>
                  </a:cubicBezTo>
                  <a:cubicBezTo>
                    <a:pt x="149" y="96"/>
                    <a:pt x="146" y="93"/>
                    <a:pt x="144" y="90"/>
                  </a:cubicBezTo>
                  <a:cubicBezTo>
                    <a:pt x="143" y="89"/>
                    <a:pt x="143" y="88"/>
                    <a:pt x="142" y="87"/>
                  </a:cubicBezTo>
                  <a:cubicBezTo>
                    <a:pt x="142" y="85"/>
                    <a:pt x="142" y="82"/>
                    <a:pt x="142" y="80"/>
                  </a:cubicBezTo>
                  <a:cubicBezTo>
                    <a:pt x="143" y="73"/>
                    <a:pt x="143" y="73"/>
                    <a:pt x="144" y="68"/>
                  </a:cubicBezTo>
                  <a:cubicBezTo>
                    <a:pt x="145" y="63"/>
                    <a:pt x="145" y="62"/>
                    <a:pt x="145" y="61"/>
                  </a:cubicBezTo>
                  <a:cubicBezTo>
                    <a:pt x="146" y="61"/>
                    <a:pt x="151" y="58"/>
                    <a:pt x="152" y="54"/>
                  </a:cubicBezTo>
                  <a:cubicBezTo>
                    <a:pt x="152" y="50"/>
                    <a:pt x="154" y="40"/>
                    <a:pt x="153" y="39"/>
                  </a:cubicBezTo>
                  <a:cubicBezTo>
                    <a:pt x="152" y="38"/>
                    <a:pt x="151" y="38"/>
                    <a:pt x="151" y="38"/>
                  </a:cubicBezTo>
                  <a:cubicBezTo>
                    <a:pt x="151" y="38"/>
                    <a:pt x="151" y="23"/>
                    <a:pt x="149" y="18"/>
                  </a:cubicBezTo>
                  <a:cubicBezTo>
                    <a:pt x="147" y="12"/>
                    <a:pt x="140" y="0"/>
                    <a:pt x="120" y="0"/>
                  </a:cubicBezTo>
                  <a:cubicBezTo>
                    <a:pt x="100" y="1"/>
                    <a:pt x="94" y="18"/>
                    <a:pt x="93" y="27"/>
                  </a:cubicBezTo>
                  <a:cubicBezTo>
                    <a:pt x="92" y="35"/>
                    <a:pt x="93" y="41"/>
                    <a:pt x="93" y="41"/>
                  </a:cubicBezTo>
                  <a:cubicBezTo>
                    <a:pt x="93" y="41"/>
                    <a:pt x="92" y="41"/>
                    <a:pt x="92" y="43"/>
                  </a:cubicBezTo>
                  <a:cubicBezTo>
                    <a:pt x="92" y="46"/>
                    <a:pt x="92" y="49"/>
                    <a:pt x="93" y="50"/>
                  </a:cubicBezTo>
                  <a:cubicBezTo>
                    <a:pt x="93" y="52"/>
                    <a:pt x="92" y="54"/>
                    <a:pt x="93" y="56"/>
                  </a:cubicBezTo>
                  <a:cubicBezTo>
                    <a:pt x="94" y="57"/>
                    <a:pt x="95" y="61"/>
                    <a:pt x="95" y="61"/>
                  </a:cubicBezTo>
                  <a:cubicBezTo>
                    <a:pt x="96" y="62"/>
                    <a:pt x="98" y="64"/>
                    <a:pt x="98" y="64"/>
                  </a:cubicBezTo>
                  <a:cubicBezTo>
                    <a:pt x="98" y="64"/>
                    <a:pt x="99" y="72"/>
                    <a:pt x="102" y="76"/>
                  </a:cubicBezTo>
                  <a:cubicBezTo>
                    <a:pt x="102" y="76"/>
                    <a:pt x="102" y="82"/>
                    <a:pt x="101" y="87"/>
                  </a:cubicBezTo>
                  <a:cubicBezTo>
                    <a:pt x="99" y="88"/>
                    <a:pt x="98" y="90"/>
                    <a:pt x="97" y="92"/>
                  </a:cubicBezTo>
                  <a:cubicBezTo>
                    <a:pt x="97" y="93"/>
                    <a:pt x="95" y="95"/>
                    <a:pt x="94" y="96"/>
                  </a:cubicBezTo>
                  <a:cubicBezTo>
                    <a:pt x="92" y="97"/>
                    <a:pt x="87" y="99"/>
                    <a:pt x="86" y="99"/>
                  </a:cubicBezTo>
                  <a:cubicBezTo>
                    <a:pt x="85" y="99"/>
                    <a:pt x="74" y="105"/>
                    <a:pt x="71" y="106"/>
                  </a:cubicBezTo>
                  <a:cubicBezTo>
                    <a:pt x="68" y="106"/>
                    <a:pt x="54" y="111"/>
                    <a:pt x="52" y="111"/>
                  </a:cubicBezTo>
                  <a:cubicBezTo>
                    <a:pt x="49" y="111"/>
                    <a:pt x="50" y="112"/>
                    <a:pt x="47" y="114"/>
                  </a:cubicBezTo>
                  <a:cubicBezTo>
                    <a:pt x="43" y="116"/>
                    <a:pt x="40" y="130"/>
                    <a:pt x="41" y="134"/>
                  </a:cubicBezTo>
                  <a:cubicBezTo>
                    <a:pt x="41" y="138"/>
                    <a:pt x="41" y="148"/>
                    <a:pt x="41" y="151"/>
                  </a:cubicBezTo>
                  <a:cubicBezTo>
                    <a:pt x="40" y="154"/>
                    <a:pt x="39" y="167"/>
                    <a:pt x="38" y="169"/>
                  </a:cubicBezTo>
                  <a:cubicBezTo>
                    <a:pt x="37" y="171"/>
                    <a:pt x="37" y="175"/>
                    <a:pt x="35" y="179"/>
                  </a:cubicBezTo>
                  <a:cubicBezTo>
                    <a:pt x="34" y="183"/>
                    <a:pt x="34" y="192"/>
                    <a:pt x="32" y="195"/>
                  </a:cubicBezTo>
                  <a:cubicBezTo>
                    <a:pt x="30" y="199"/>
                    <a:pt x="21" y="213"/>
                    <a:pt x="18" y="215"/>
                  </a:cubicBezTo>
                  <a:cubicBezTo>
                    <a:pt x="15" y="218"/>
                    <a:pt x="0" y="226"/>
                    <a:pt x="0" y="227"/>
                  </a:cubicBezTo>
                  <a:cubicBezTo>
                    <a:pt x="0" y="228"/>
                    <a:pt x="3" y="235"/>
                    <a:pt x="3" y="237"/>
                  </a:cubicBezTo>
                  <a:cubicBezTo>
                    <a:pt x="3" y="240"/>
                    <a:pt x="3" y="244"/>
                    <a:pt x="6" y="248"/>
                  </a:cubicBezTo>
                  <a:cubicBezTo>
                    <a:pt x="8" y="251"/>
                    <a:pt x="20" y="254"/>
                    <a:pt x="21" y="254"/>
                  </a:cubicBezTo>
                  <a:cubicBezTo>
                    <a:pt x="22" y="255"/>
                    <a:pt x="27" y="251"/>
                    <a:pt x="28" y="251"/>
                  </a:cubicBezTo>
                  <a:cubicBezTo>
                    <a:pt x="29" y="251"/>
                    <a:pt x="31" y="250"/>
                    <a:pt x="32" y="249"/>
                  </a:cubicBezTo>
                  <a:cubicBezTo>
                    <a:pt x="33" y="249"/>
                    <a:pt x="54" y="240"/>
                    <a:pt x="55" y="240"/>
                  </a:cubicBezTo>
                  <a:cubicBezTo>
                    <a:pt x="56" y="240"/>
                    <a:pt x="56" y="250"/>
                    <a:pt x="54" y="257"/>
                  </a:cubicBezTo>
                  <a:cubicBezTo>
                    <a:pt x="53" y="263"/>
                    <a:pt x="50" y="279"/>
                    <a:pt x="50" y="279"/>
                  </a:cubicBezTo>
                  <a:cubicBezTo>
                    <a:pt x="52" y="280"/>
                    <a:pt x="52" y="280"/>
                    <a:pt x="52" y="280"/>
                  </a:cubicBezTo>
                  <a:cubicBezTo>
                    <a:pt x="51" y="283"/>
                    <a:pt x="47" y="336"/>
                    <a:pt x="47" y="338"/>
                  </a:cubicBezTo>
                  <a:cubicBezTo>
                    <a:pt x="47" y="340"/>
                    <a:pt x="50" y="343"/>
                    <a:pt x="50" y="343"/>
                  </a:cubicBezTo>
                  <a:cubicBezTo>
                    <a:pt x="50" y="344"/>
                    <a:pt x="49" y="376"/>
                    <a:pt x="50" y="389"/>
                  </a:cubicBezTo>
                  <a:cubicBezTo>
                    <a:pt x="50" y="401"/>
                    <a:pt x="51" y="413"/>
                    <a:pt x="52" y="415"/>
                  </a:cubicBezTo>
                  <a:cubicBezTo>
                    <a:pt x="52" y="417"/>
                    <a:pt x="49" y="456"/>
                    <a:pt x="49" y="462"/>
                  </a:cubicBezTo>
                  <a:cubicBezTo>
                    <a:pt x="48" y="467"/>
                    <a:pt x="45" y="486"/>
                    <a:pt x="44" y="514"/>
                  </a:cubicBezTo>
                  <a:cubicBezTo>
                    <a:pt x="42" y="542"/>
                    <a:pt x="45" y="551"/>
                    <a:pt x="46" y="553"/>
                  </a:cubicBezTo>
                  <a:cubicBezTo>
                    <a:pt x="46" y="555"/>
                    <a:pt x="42" y="576"/>
                    <a:pt x="42" y="578"/>
                  </a:cubicBezTo>
                  <a:cubicBezTo>
                    <a:pt x="42" y="580"/>
                    <a:pt x="47" y="592"/>
                    <a:pt x="47" y="596"/>
                  </a:cubicBezTo>
                  <a:cubicBezTo>
                    <a:pt x="48" y="596"/>
                    <a:pt x="48" y="597"/>
                    <a:pt x="48" y="597"/>
                  </a:cubicBezTo>
                  <a:cubicBezTo>
                    <a:pt x="47" y="599"/>
                    <a:pt x="43" y="606"/>
                    <a:pt x="43" y="608"/>
                  </a:cubicBezTo>
                  <a:cubicBezTo>
                    <a:pt x="42" y="610"/>
                    <a:pt x="41" y="614"/>
                    <a:pt x="39" y="618"/>
                  </a:cubicBezTo>
                  <a:cubicBezTo>
                    <a:pt x="37" y="621"/>
                    <a:pt x="36" y="627"/>
                    <a:pt x="36" y="627"/>
                  </a:cubicBezTo>
                  <a:cubicBezTo>
                    <a:pt x="34" y="629"/>
                    <a:pt x="35" y="636"/>
                    <a:pt x="36" y="638"/>
                  </a:cubicBezTo>
                  <a:cubicBezTo>
                    <a:pt x="37" y="640"/>
                    <a:pt x="42" y="642"/>
                    <a:pt x="46" y="643"/>
                  </a:cubicBezTo>
                  <a:cubicBezTo>
                    <a:pt x="50" y="644"/>
                    <a:pt x="66" y="645"/>
                    <a:pt x="69" y="644"/>
                  </a:cubicBezTo>
                  <a:cubicBezTo>
                    <a:pt x="71" y="643"/>
                    <a:pt x="75" y="639"/>
                    <a:pt x="75" y="638"/>
                  </a:cubicBezTo>
                  <a:cubicBezTo>
                    <a:pt x="75" y="636"/>
                    <a:pt x="74" y="632"/>
                    <a:pt x="74" y="630"/>
                  </a:cubicBezTo>
                  <a:cubicBezTo>
                    <a:pt x="74" y="628"/>
                    <a:pt x="74" y="623"/>
                    <a:pt x="74" y="623"/>
                  </a:cubicBezTo>
                  <a:cubicBezTo>
                    <a:pt x="75" y="621"/>
                    <a:pt x="75" y="617"/>
                    <a:pt x="76" y="613"/>
                  </a:cubicBezTo>
                  <a:cubicBezTo>
                    <a:pt x="76" y="609"/>
                    <a:pt x="75" y="605"/>
                    <a:pt x="75" y="605"/>
                  </a:cubicBezTo>
                  <a:cubicBezTo>
                    <a:pt x="75" y="604"/>
                    <a:pt x="76" y="604"/>
                    <a:pt x="76" y="604"/>
                  </a:cubicBezTo>
                  <a:cubicBezTo>
                    <a:pt x="76" y="603"/>
                    <a:pt x="78" y="602"/>
                    <a:pt x="79" y="600"/>
                  </a:cubicBezTo>
                  <a:cubicBezTo>
                    <a:pt x="80" y="598"/>
                    <a:pt x="85" y="589"/>
                    <a:pt x="86" y="586"/>
                  </a:cubicBezTo>
                  <a:cubicBezTo>
                    <a:pt x="87" y="583"/>
                    <a:pt x="86" y="572"/>
                    <a:pt x="86" y="566"/>
                  </a:cubicBezTo>
                  <a:cubicBezTo>
                    <a:pt x="87" y="559"/>
                    <a:pt x="89" y="547"/>
                    <a:pt x="89" y="543"/>
                  </a:cubicBezTo>
                  <a:cubicBezTo>
                    <a:pt x="90" y="539"/>
                    <a:pt x="90" y="526"/>
                    <a:pt x="91" y="521"/>
                  </a:cubicBezTo>
                  <a:cubicBezTo>
                    <a:pt x="91" y="517"/>
                    <a:pt x="87" y="494"/>
                    <a:pt x="86" y="494"/>
                  </a:cubicBezTo>
                  <a:cubicBezTo>
                    <a:pt x="85" y="493"/>
                    <a:pt x="87" y="490"/>
                    <a:pt x="87" y="486"/>
                  </a:cubicBezTo>
                  <a:cubicBezTo>
                    <a:pt x="88" y="482"/>
                    <a:pt x="88" y="473"/>
                    <a:pt x="88" y="472"/>
                  </a:cubicBezTo>
                  <a:cubicBezTo>
                    <a:pt x="88" y="470"/>
                    <a:pt x="92" y="462"/>
                    <a:pt x="94" y="459"/>
                  </a:cubicBezTo>
                  <a:cubicBezTo>
                    <a:pt x="95" y="456"/>
                    <a:pt x="95" y="447"/>
                    <a:pt x="97" y="441"/>
                  </a:cubicBezTo>
                  <a:cubicBezTo>
                    <a:pt x="97" y="440"/>
                    <a:pt x="97" y="439"/>
                    <a:pt x="98" y="438"/>
                  </a:cubicBezTo>
                  <a:cubicBezTo>
                    <a:pt x="98" y="438"/>
                    <a:pt x="98" y="438"/>
                    <a:pt x="98" y="438"/>
                  </a:cubicBezTo>
                  <a:cubicBezTo>
                    <a:pt x="98" y="438"/>
                    <a:pt x="100" y="434"/>
                    <a:pt x="100" y="432"/>
                  </a:cubicBezTo>
                  <a:cubicBezTo>
                    <a:pt x="100" y="431"/>
                    <a:pt x="101" y="429"/>
                    <a:pt x="101" y="428"/>
                  </a:cubicBezTo>
                  <a:cubicBezTo>
                    <a:pt x="103" y="424"/>
                    <a:pt x="106" y="419"/>
                    <a:pt x="107" y="417"/>
                  </a:cubicBezTo>
                  <a:cubicBezTo>
                    <a:pt x="107" y="416"/>
                    <a:pt x="108" y="414"/>
                    <a:pt x="108" y="412"/>
                  </a:cubicBezTo>
                  <a:cubicBezTo>
                    <a:pt x="110" y="408"/>
                    <a:pt x="111" y="403"/>
                    <a:pt x="112" y="399"/>
                  </a:cubicBezTo>
                  <a:cubicBezTo>
                    <a:pt x="113" y="394"/>
                    <a:pt x="119" y="379"/>
                    <a:pt x="120" y="377"/>
                  </a:cubicBezTo>
                  <a:cubicBezTo>
                    <a:pt x="121" y="375"/>
                    <a:pt x="122" y="373"/>
                    <a:pt x="122" y="372"/>
                  </a:cubicBezTo>
                  <a:cubicBezTo>
                    <a:pt x="122" y="372"/>
                    <a:pt x="122" y="372"/>
                    <a:pt x="122" y="372"/>
                  </a:cubicBezTo>
                  <a:cubicBezTo>
                    <a:pt x="122" y="372"/>
                    <a:pt x="122" y="372"/>
                    <a:pt x="122" y="372"/>
                  </a:cubicBezTo>
                  <a:cubicBezTo>
                    <a:pt x="122" y="371"/>
                    <a:pt x="123" y="371"/>
                    <a:pt x="123" y="370"/>
                  </a:cubicBezTo>
                  <a:cubicBezTo>
                    <a:pt x="124" y="369"/>
                    <a:pt x="125" y="366"/>
                    <a:pt x="126" y="366"/>
                  </a:cubicBezTo>
                  <a:cubicBezTo>
                    <a:pt x="126" y="366"/>
                    <a:pt x="128" y="370"/>
                    <a:pt x="129" y="374"/>
                  </a:cubicBezTo>
                  <a:cubicBezTo>
                    <a:pt x="129" y="375"/>
                    <a:pt x="129" y="375"/>
                    <a:pt x="129" y="375"/>
                  </a:cubicBezTo>
                  <a:cubicBezTo>
                    <a:pt x="130" y="378"/>
                    <a:pt x="135" y="399"/>
                    <a:pt x="137" y="403"/>
                  </a:cubicBezTo>
                  <a:cubicBezTo>
                    <a:pt x="138" y="407"/>
                    <a:pt x="141" y="416"/>
                    <a:pt x="142" y="419"/>
                  </a:cubicBezTo>
                  <a:cubicBezTo>
                    <a:pt x="143" y="422"/>
                    <a:pt x="145" y="431"/>
                    <a:pt x="148" y="438"/>
                  </a:cubicBezTo>
                  <a:cubicBezTo>
                    <a:pt x="152" y="445"/>
                    <a:pt x="152" y="455"/>
                    <a:pt x="152" y="459"/>
                  </a:cubicBezTo>
                  <a:cubicBezTo>
                    <a:pt x="152" y="463"/>
                    <a:pt x="161" y="473"/>
                    <a:pt x="159" y="477"/>
                  </a:cubicBezTo>
                  <a:cubicBezTo>
                    <a:pt x="157" y="481"/>
                    <a:pt x="157" y="485"/>
                    <a:pt x="156" y="492"/>
                  </a:cubicBezTo>
                  <a:cubicBezTo>
                    <a:pt x="156" y="500"/>
                    <a:pt x="162" y="520"/>
                    <a:pt x="161" y="525"/>
                  </a:cubicBezTo>
                  <a:cubicBezTo>
                    <a:pt x="160" y="529"/>
                    <a:pt x="159" y="541"/>
                    <a:pt x="162" y="558"/>
                  </a:cubicBezTo>
                  <a:cubicBezTo>
                    <a:pt x="164" y="576"/>
                    <a:pt x="170" y="584"/>
                    <a:pt x="170" y="584"/>
                  </a:cubicBezTo>
                  <a:cubicBezTo>
                    <a:pt x="168" y="590"/>
                    <a:pt x="169" y="594"/>
                    <a:pt x="170" y="596"/>
                  </a:cubicBezTo>
                  <a:cubicBezTo>
                    <a:pt x="170" y="596"/>
                    <a:pt x="170" y="596"/>
                    <a:pt x="170" y="596"/>
                  </a:cubicBezTo>
                  <a:cubicBezTo>
                    <a:pt x="170" y="596"/>
                    <a:pt x="170" y="602"/>
                    <a:pt x="168" y="605"/>
                  </a:cubicBezTo>
                  <a:cubicBezTo>
                    <a:pt x="167" y="608"/>
                    <a:pt x="166" y="615"/>
                    <a:pt x="167" y="618"/>
                  </a:cubicBezTo>
                  <a:cubicBezTo>
                    <a:pt x="169" y="621"/>
                    <a:pt x="183" y="626"/>
                    <a:pt x="183" y="626"/>
                  </a:cubicBezTo>
                  <a:cubicBezTo>
                    <a:pt x="183" y="626"/>
                    <a:pt x="185" y="625"/>
                    <a:pt x="186" y="625"/>
                  </a:cubicBezTo>
                  <a:cubicBezTo>
                    <a:pt x="187" y="625"/>
                    <a:pt x="190" y="630"/>
                    <a:pt x="193" y="634"/>
                  </a:cubicBezTo>
                  <a:cubicBezTo>
                    <a:pt x="197" y="639"/>
                    <a:pt x="211" y="644"/>
                    <a:pt x="222" y="644"/>
                  </a:cubicBezTo>
                  <a:cubicBezTo>
                    <a:pt x="233" y="644"/>
                    <a:pt x="239" y="641"/>
                    <a:pt x="239" y="640"/>
                  </a:cubicBezTo>
                  <a:cubicBezTo>
                    <a:pt x="240" y="640"/>
                    <a:pt x="239" y="635"/>
                    <a:pt x="239" y="635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4" name="Freeform 133">
              <a:extLst>
                <a:ext uri="{FF2B5EF4-FFF2-40B4-BE49-F238E27FC236}">
                  <a16:creationId xmlns:a16="http://schemas.microsoft.com/office/drawing/2014/main" id="{B82877E6-770E-4D38-8B36-210C71A39D0E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8699" y="4178213"/>
              <a:ext cx="297662" cy="329558"/>
            </a:xfrm>
            <a:custGeom>
              <a:avLst/>
              <a:gdLst>
                <a:gd name="T0" fmla="*/ 144 w 243"/>
                <a:gd name="T1" fmla="*/ 262 h 268"/>
                <a:gd name="T2" fmla="*/ 135 w 243"/>
                <a:gd name="T3" fmla="*/ 249 h 268"/>
                <a:gd name="T4" fmla="*/ 136 w 243"/>
                <a:gd name="T5" fmla="*/ 237 h 268"/>
                <a:gd name="T6" fmla="*/ 136 w 243"/>
                <a:gd name="T7" fmla="*/ 229 h 268"/>
                <a:gd name="T8" fmla="*/ 135 w 243"/>
                <a:gd name="T9" fmla="*/ 229 h 268"/>
                <a:gd name="T10" fmla="*/ 70 w 243"/>
                <a:gd name="T11" fmla="*/ 243 h 268"/>
                <a:gd name="T12" fmla="*/ 61 w 243"/>
                <a:gd name="T13" fmla="*/ 238 h 268"/>
                <a:gd name="T14" fmla="*/ 47 w 243"/>
                <a:gd name="T15" fmla="*/ 173 h 268"/>
                <a:gd name="T16" fmla="*/ 46 w 243"/>
                <a:gd name="T17" fmla="*/ 172 h 268"/>
                <a:gd name="T18" fmla="*/ 39 w 243"/>
                <a:gd name="T19" fmla="*/ 175 h 268"/>
                <a:gd name="T20" fmla="*/ 13 w 243"/>
                <a:gd name="T21" fmla="*/ 179 h 268"/>
                <a:gd name="T22" fmla="*/ 2 w 243"/>
                <a:gd name="T23" fmla="*/ 165 h 268"/>
                <a:gd name="T24" fmla="*/ 1 w 243"/>
                <a:gd name="T25" fmla="*/ 164 h 268"/>
                <a:gd name="T26" fmla="*/ 1 w 243"/>
                <a:gd name="T27" fmla="*/ 163 h 268"/>
                <a:gd name="T28" fmla="*/ 5 w 243"/>
                <a:gd name="T29" fmla="*/ 145 h 268"/>
                <a:gd name="T30" fmla="*/ 30 w 243"/>
                <a:gd name="T31" fmla="*/ 137 h 268"/>
                <a:gd name="T32" fmla="*/ 38 w 243"/>
                <a:gd name="T33" fmla="*/ 137 h 268"/>
                <a:gd name="T34" fmla="*/ 38 w 243"/>
                <a:gd name="T35" fmla="*/ 136 h 268"/>
                <a:gd name="T36" fmla="*/ 24 w 243"/>
                <a:gd name="T37" fmla="*/ 71 h 268"/>
                <a:gd name="T38" fmla="*/ 29 w 243"/>
                <a:gd name="T39" fmla="*/ 63 h 268"/>
                <a:gd name="T40" fmla="*/ 95 w 243"/>
                <a:gd name="T41" fmla="*/ 48 h 268"/>
                <a:gd name="T42" fmla="*/ 95 w 243"/>
                <a:gd name="T43" fmla="*/ 47 h 268"/>
                <a:gd name="T44" fmla="*/ 92 w 243"/>
                <a:gd name="T45" fmla="*/ 40 h 268"/>
                <a:gd name="T46" fmla="*/ 86 w 243"/>
                <a:gd name="T47" fmla="*/ 30 h 268"/>
                <a:gd name="T48" fmla="*/ 88 w 243"/>
                <a:gd name="T49" fmla="*/ 14 h 268"/>
                <a:gd name="T50" fmla="*/ 103 w 243"/>
                <a:gd name="T51" fmla="*/ 3 h 268"/>
                <a:gd name="T52" fmla="*/ 122 w 243"/>
                <a:gd name="T53" fmla="*/ 7 h 268"/>
                <a:gd name="T54" fmla="*/ 131 w 243"/>
                <a:gd name="T55" fmla="*/ 20 h 268"/>
                <a:gd name="T56" fmla="*/ 130 w 243"/>
                <a:gd name="T57" fmla="*/ 32 h 268"/>
                <a:gd name="T58" fmla="*/ 130 w 243"/>
                <a:gd name="T59" fmla="*/ 39 h 268"/>
                <a:gd name="T60" fmla="*/ 131 w 243"/>
                <a:gd name="T61" fmla="*/ 40 h 268"/>
                <a:gd name="T62" fmla="*/ 196 w 243"/>
                <a:gd name="T63" fmla="*/ 25 h 268"/>
                <a:gd name="T64" fmla="*/ 205 w 243"/>
                <a:gd name="T65" fmla="*/ 31 h 268"/>
                <a:gd name="T66" fmla="*/ 219 w 243"/>
                <a:gd name="T67" fmla="*/ 96 h 268"/>
                <a:gd name="T68" fmla="*/ 219 w 243"/>
                <a:gd name="T69" fmla="*/ 96 h 268"/>
                <a:gd name="T70" fmla="*/ 211 w 243"/>
                <a:gd name="T71" fmla="*/ 97 h 268"/>
                <a:gd name="T72" fmla="*/ 186 w 243"/>
                <a:gd name="T73" fmla="*/ 105 h 268"/>
                <a:gd name="T74" fmla="*/ 182 w 243"/>
                <a:gd name="T75" fmla="*/ 122 h 268"/>
                <a:gd name="T76" fmla="*/ 182 w 243"/>
                <a:gd name="T77" fmla="*/ 123 h 268"/>
                <a:gd name="T78" fmla="*/ 182 w 243"/>
                <a:gd name="T79" fmla="*/ 124 h 268"/>
                <a:gd name="T80" fmla="*/ 194 w 243"/>
                <a:gd name="T81" fmla="*/ 138 h 268"/>
                <a:gd name="T82" fmla="*/ 220 w 243"/>
                <a:gd name="T83" fmla="*/ 135 h 268"/>
                <a:gd name="T84" fmla="*/ 227 w 243"/>
                <a:gd name="T85" fmla="*/ 132 h 268"/>
                <a:gd name="T86" fmla="*/ 228 w 243"/>
                <a:gd name="T87" fmla="*/ 132 h 268"/>
                <a:gd name="T88" fmla="*/ 242 w 243"/>
                <a:gd name="T89" fmla="*/ 197 h 268"/>
                <a:gd name="T90" fmla="*/ 237 w 243"/>
                <a:gd name="T91" fmla="*/ 206 h 268"/>
                <a:gd name="T92" fmla="*/ 171 w 243"/>
                <a:gd name="T93" fmla="*/ 221 h 268"/>
                <a:gd name="T94" fmla="*/ 171 w 243"/>
                <a:gd name="T95" fmla="*/ 221 h 268"/>
                <a:gd name="T96" fmla="*/ 174 w 243"/>
                <a:gd name="T97" fmla="*/ 228 h 268"/>
                <a:gd name="T98" fmla="*/ 180 w 243"/>
                <a:gd name="T99" fmla="*/ 239 h 268"/>
                <a:gd name="T100" fmla="*/ 178 w 243"/>
                <a:gd name="T101" fmla="*/ 254 h 268"/>
                <a:gd name="T102" fmla="*/ 163 w 243"/>
                <a:gd name="T103" fmla="*/ 266 h 268"/>
                <a:gd name="T104" fmla="*/ 144 w 243"/>
                <a:gd name="T105" fmla="*/ 262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3" h="268">
                  <a:moveTo>
                    <a:pt x="144" y="262"/>
                  </a:moveTo>
                  <a:cubicBezTo>
                    <a:pt x="139" y="258"/>
                    <a:pt x="136" y="254"/>
                    <a:pt x="135" y="249"/>
                  </a:cubicBezTo>
                  <a:cubicBezTo>
                    <a:pt x="134" y="245"/>
                    <a:pt x="135" y="241"/>
                    <a:pt x="136" y="237"/>
                  </a:cubicBezTo>
                  <a:cubicBezTo>
                    <a:pt x="138" y="233"/>
                    <a:pt x="138" y="230"/>
                    <a:pt x="136" y="229"/>
                  </a:cubicBezTo>
                  <a:cubicBezTo>
                    <a:pt x="135" y="229"/>
                    <a:pt x="135" y="229"/>
                    <a:pt x="135" y="229"/>
                  </a:cubicBezTo>
                  <a:cubicBezTo>
                    <a:pt x="70" y="243"/>
                    <a:pt x="70" y="243"/>
                    <a:pt x="70" y="243"/>
                  </a:cubicBezTo>
                  <a:cubicBezTo>
                    <a:pt x="66" y="244"/>
                    <a:pt x="62" y="242"/>
                    <a:pt x="61" y="238"/>
                  </a:cubicBezTo>
                  <a:cubicBezTo>
                    <a:pt x="47" y="173"/>
                    <a:pt x="47" y="173"/>
                    <a:pt x="47" y="173"/>
                  </a:cubicBezTo>
                  <a:cubicBezTo>
                    <a:pt x="46" y="172"/>
                    <a:pt x="46" y="172"/>
                    <a:pt x="46" y="172"/>
                  </a:cubicBezTo>
                  <a:cubicBezTo>
                    <a:pt x="45" y="171"/>
                    <a:pt x="42" y="172"/>
                    <a:pt x="39" y="175"/>
                  </a:cubicBezTo>
                  <a:cubicBezTo>
                    <a:pt x="34" y="181"/>
                    <a:pt x="24" y="185"/>
                    <a:pt x="13" y="179"/>
                  </a:cubicBezTo>
                  <a:cubicBezTo>
                    <a:pt x="5" y="175"/>
                    <a:pt x="2" y="168"/>
                    <a:pt x="2" y="165"/>
                  </a:cubicBezTo>
                  <a:cubicBezTo>
                    <a:pt x="1" y="164"/>
                    <a:pt x="1" y="164"/>
                    <a:pt x="1" y="164"/>
                  </a:cubicBezTo>
                  <a:cubicBezTo>
                    <a:pt x="1" y="164"/>
                    <a:pt x="1" y="163"/>
                    <a:pt x="1" y="163"/>
                  </a:cubicBezTo>
                  <a:cubicBezTo>
                    <a:pt x="1" y="160"/>
                    <a:pt x="0" y="153"/>
                    <a:pt x="5" y="145"/>
                  </a:cubicBezTo>
                  <a:cubicBezTo>
                    <a:pt x="13" y="135"/>
                    <a:pt x="24" y="135"/>
                    <a:pt x="30" y="137"/>
                  </a:cubicBezTo>
                  <a:cubicBezTo>
                    <a:pt x="35" y="139"/>
                    <a:pt x="37" y="139"/>
                    <a:pt x="38" y="137"/>
                  </a:cubicBezTo>
                  <a:cubicBezTo>
                    <a:pt x="38" y="136"/>
                    <a:pt x="38" y="136"/>
                    <a:pt x="38" y="136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3" y="67"/>
                    <a:pt x="25" y="63"/>
                    <a:pt x="29" y="63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6" y="46"/>
                    <a:pt x="95" y="43"/>
                    <a:pt x="92" y="40"/>
                  </a:cubicBezTo>
                  <a:cubicBezTo>
                    <a:pt x="89" y="38"/>
                    <a:pt x="87" y="34"/>
                    <a:pt x="86" y="30"/>
                  </a:cubicBezTo>
                  <a:cubicBezTo>
                    <a:pt x="85" y="25"/>
                    <a:pt x="86" y="19"/>
                    <a:pt x="88" y="14"/>
                  </a:cubicBezTo>
                  <a:cubicBezTo>
                    <a:pt x="93" y="5"/>
                    <a:pt x="102" y="3"/>
                    <a:pt x="103" y="3"/>
                  </a:cubicBezTo>
                  <a:cubicBezTo>
                    <a:pt x="105" y="2"/>
                    <a:pt x="114" y="0"/>
                    <a:pt x="122" y="7"/>
                  </a:cubicBezTo>
                  <a:cubicBezTo>
                    <a:pt x="127" y="10"/>
                    <a:pt x="130" y="15"/>
                    <a:pt x="131" y="20"/>
                  </a:cubicBezTo>
                  <a:cubicBezTo>
                    <a:pt x="132" y="24"/>
                    <a:pt x="131" y="28"/>
                    <a:pt x="130" y="32"/>
                  </a:cubicBezTo>
                  <a:cubicBezTo>
                    <a:pt x="128" y="36"/>
                    <a:pt x="128" y="39"/>
                    <a:pt x="130" y="39"/>
                  </a:cubicBezTo>
                  <a:cubicBezTo>
                    <a:pt x="131" y="40"/>
                    <a:pt x="131" y="40"/>
                    <a:pt x="131" y="40"/>
                  </a:cubicBezTo>
                  <a:cubicBezTo>
                    <a:pt x="196" y="25"/>
                    <a:pt x="196" y="25"/>
                    <a:pt x="196" y="25"/>
                  </a:cubicBezTo>
                  <a:cubicBezTo>
                    <a:pt x="200" y="24"/>
                    <a:pt x="204" y="27"/>
                    <a:pt x="205" y="31"/>
                  </a:cubicBezTo>
                  <a:cubicBezTo>
                    <a:pt x="219" y="96"/>
                    <a:pt x="219" y="96"/>
                    <a:pt x="219" y="96"/>
                  </a:cubicBezTo>
                  <a:cubicBezTo>
                    <a:pt x="219" y="96"/>
                    <a:pt x="219" y="96"/>
                    <a:pt x="219" y="96"/>
                  </a:cubicBezTo>
                  <a:cubicBezTo>
                    <a:pt x="218" y="98"/>
                    <a:pt x="216" y="98"/>
                    <a:pt x="211" y="97"/>
                  </a:cubicBezTo>
                  <a:cubicBezTo>
                    <a:pt x="205" y="94"/>
                    <a:pt x="194" y="94"/>
                    <a:pt x="186" y="105"/>
                  </a:cubicBezTo>
                  <a:cubicBezTo>
                    <a:pt x="181" y="112"/>
                    <a:pt x="181" y="119"/>
                    <a:pt x="182" y="122"/>
                  </a:cubicBezTo>
                  <a:cubicBezTo>
                    <a:pt x="182" y="123"/>
                    <a:pt x="182" y="123"/>
                    <a:pt x="182" y="123"/>
                  </a:cubicBezTo>
                  <a:cubicBezTo>
                    <a:pt x="182" y="123"/>
                    <a:pt x="182" y="124"/>
                    <a:pt x="182" y="124"/>
                  </a:cubicBezTo>
                  <a:cubicBezTo>
                    <a:pt x="183" y="127"/>
                    <a:pt x="186" y="134"/>
                    <a:pt x="194" y="138"/>
                  </a:cubicBezTo>
                  <a:cubicBezTo>
                    <a:pt x="205" y="144"/>
                    <a:pt x="215" y="140"/>
                    <a:pt x="220" y="135"/>
                  </a:cubicBezTo>
                  <a:cubicBezTo>
                    <a:pt x="223" y="131"/>
                    <a:pt x="226" y="130"/>
                    <a:pt x="227" y="132"/>
                  </a:cubicBezTo>
                  <a:cubicBezTo>
                    <a:pt x="228" y="132"/>
                    <a:pt x="228" y="132"/>
                    <a:pt x="228" y="132"/>
                  </a:cubicBezTo>
                  <a:cubicBezTo>
                    <a:pt x="242" y="197"/>
                    <a:pt x="242" y="197"/>
                    <a:pt x="242" y="197"/>
                  </a:cubicBezTo>
                  <a:cubicBezTo>
                    <a:pt x="243" y="201"/>
                    <a:pt x="241" y="205"/>
                    <a:pt x="237" y="206"/>
                  </a:cubicBezTo>
                  <a:cubicBezTo>
                    <a:pt x="171" y="221"/>
                    <a:pt x="171" y="221"/>
                    <a:pt x="171" y="221"/>
                  </a:cubicBezTo>
                  <a:cubicBezTo>
                    <a:pt x="171" y="221"/>
                    <a:pt x="171" y="221"/>
                    <a:pt x="171" y="221"/>
                  </a:cubicBezTo>
                  <a:cubicBezTo>
                    <a:pt x="170" y="223"/>
                    <a:pt x="171" y="225"/>
                    <a:pt x="174" y="228"/>
                  </a:cubicBezTo>
                  <a:cubicBezTo>
                    <a:pt x="177" y="231"/>
                    <a:pt x="179" y="235"/>
                    <a:pt x="180" y="239"/>
                  </a:cubicBezTo>
                  <a:cubicBezTo>
                    <a:pt x="181" y="244"/>
                    <a:pt x="180" y="249"/>
                    <a:pt x="178" y="254"/>
                  </a:cubicBezTo>
                  <a:cubicBezTo>
                    <a:pt x="173" y="264"/>
                    <a:pt x="164" y="266"/>
                    <a:pt x="163" y="266"/>
                  </a:cubicBezTo>
                  <a:cubicBezTo>
                    <a:pt x="161" y="266"/>
                    <a:pt x="152" y="268"/>
                    <a:pt x="144" y="26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5" name="Freeform 134">
              <a:extLst>
                <a:ext uri="{FF2B5EF4-FFF2-40B4-BE49-F238E27FC236}">
                  <a16:creationId xmlns:a16="http://schemas.microsoft.com/office/drawing/2014/main" id="{A16DD9E9-ACD9-4436-A775-1B902D9F74DF}"/>
                </a:ext>
              </a:extLst>
            </p:cNvPr>
            <p:cNvSpPr>
              <a:spLocks/>
            </p:cNvSpPr>
            <p:nvPr/>
          </p:nvSpPr>
          <p:spPr bwMode="gray">
            <a:xfrm>
              <a:off x="1338979" y="4356838"/>
              <a:ext cx="47072" cy="48465"/>
            </a:xfrm>
            <a:custGeom>
              <a:avLst/>
              <a:gdLst>
                <a:gd name="T0" fmla="*/ 34 w 39"/>
                <a:gd name="T1" fmla="*/ 8 h 40"/>
                <a:gd name="T2" fmla="*/ 32 w 39"/>
                <a:gd name="T3" fmla="*/ 1 h 40"/>
                <a:gd name="T4" fmla="*/ 23 w 39"/>
                <a:gd name="T5" fmla="*/ 1 h 40"/>
                <a:gd name="T6" fmla="*/ 15 w 39"/>
                <a:gd name="T7" fmla="*/ 6 h 40"/>
                <a:gd name="T8" fmla="*/ 6 w 39"/>
                <a:gd name="T9" fmla="*/ 9 h 40"/>
                <a:gd name="T10" fmla="*/ 4 w 39"/>
                <a:gd name="T11" fmla="*/ 16 h 40"/>
                <a:gd name="T12" fmla="*/ 5 w 39"/>
                <a:gd name="T13" fmla="*/ 16 h 40"/>
                <a:gd name="T14" fmla="*/ 1 w 39"/>
                <a:gd name="T15" fmla="*/ 21 h 40"/>
                <a:gd name="T16" fmla="*/ 4 w 39"/>
                <a:gd name="T17" fmla="*/ 24 h 40"/>
                <a:gd name="T18" fmla="*/ 8 w 39"/>
                <a:gd name="T19" fmla="*/ 22 h 40"/>
                <a:gd name="T20" fmla="*/ 14 w 39"/>
                <a:gd name="T21" fmla="*/ 22 h 40"/>
                <a:gd name="T22" fmla="*/ 16 w 39"/>
                <a:gd name="T23" fmla="*/ 21 h 40"/>
                <a:gd name="T24" fmla="*/ 22 w 39"/>
                <a:gd name="T25" fmla="*/ 21 h 40"/>
                <a:gd name="T26" fmla="*/ 25 w 39"/>
                <a:gd name="T27" fmla="*/ 21 h 40"/>
                <a:gd name="T28" fmla="*/ 27 w 39"/>
                <a:gd name="T29" fmla="*/ 21 h 40"/>
                <a:gd name="T30" fmla="*/ 28 w 39"/>
                <a:gd name="T31" fmla="*/ 21 h 40"/>
                <a:gd name="T32" fmla="*/ 25 w 39"/>
                <a:gd name="T33" fmla="*/ 22 h 40"/>
                <a:gd name="T34" fmla="*/ 22 w 39"/>
                <a:gd name="T35" fmla="*/ 23 h 40"/>
                <a:gd name="T36" fmla="*/ 16 w 39"/>
                <a:gd name="T37" fmla="*/ 23 h 40"/>
                <a:gd name="T38" fmla="*/ 13 w 39"/>
                <a:gd name="T39" fmla="*/ 23 h 40"/>
                <a:gd name="T40" fmla="*/ 11 w 39"/>
                <a:gd name="T41" fmla="*/ 23 h 40"/>
                <a:gd name="T42" fmla="*/ 9 w 39"/>
                <a:gd name="T43" fmla="*/ 23 h 40"/>
                <a:gd name="T44" fmla="*/ 6 w 39"/>
                <a:gd name="T45" fmla="*/ 23 h 40"/>
                <a:gd name="T46" fmla="*/ 4 w 39"/>
                <a:gd name="T47" fmla="*/ 26 h 40"/>
                <a:gd name="T48" fmla="*/ 8 w 39"/>
                <a:gd name="T49" fmla="*/ 30 h 40"/>
                <a:gd name="T50" fmla="*/ 14 w 39"/>
                <a:gd name="T51" fmla="*/ 29 h 40"/>
                <a:gd name="T52" fmla="*/ 16 w 39"/>
                <a:gd name="T53" fmla="*/ 30 h 40"/>
                <a:gd name="T54" fmla="*/ 18 w 39"/>
                <a:gd name="T55" fmla="*/ 29 h 40"/>
                <a:gd name="T56" fmla="*/ 23 w 39"/>
                <a:gd name="T57" fmla="*/ 30 h 40"/>
                <a:gd name="T58" fmla="*/ 25 w 39"/>
                <a:gd name="T59" fmla="*/ 30 h 40"/>
                <a:gd name="T60" fmla="*/ 27 w 39"/>
                <a:gd name="T61" fmla="*/ 30 h 40"/>
                <a:gd name="T62" fmla="*/ 26 w 39"/>
                <a:gd name="T63" fmla="*/ 32 h 40"/>
                <a:gd name="T64" fmla="*/ 23 w 39"/>
                <a:gd name="T65" fmla="*/ 33 h 40"/>
                <a:gd name="T66" fmla="*/ 17 w 39"/>
                <a:gd name="T67" fmla="*/ 32 h 40"/>
                <a:gd name="T68" fmla="*/ 14 w 39"/>
                <a:gd name="T69" fmla="*/ 31 h 40"/>
                <a:gd name="T70" fmla="*/ 12 w 39"/>
                <a:gd name="T71" fmla="*/ 31 h 40"/>
                <a:gd name="T72" fmla="*/ 10 w 39"/>
                <a:gd name="T73" fmla="*/ 33 h 40"/>
                <a:gd name="T74" fmla="*/ 13 w 39"/>
                <a:gd name="T75" fmla="*/ 36 h 40"/>
                <a:gd name="T76" fmla="*/ 22 w 39"/>
                <a:gd name="T77" fmla="*/ 40 h 40"/>
                <a:gd name="T78" fmla="*/ 30 w 39"/>
                <a:gd name="T79" fmla="*/ 39 h 40"/>
                <a:gd name="T80" fmla="*/ 35 w 39"/>
                <a:gd name="T81" fmla="*/ 33 h 40"/>
                <a:gd name="T82" fmla="*/ 37 w 39"/>
                <a:gd name="T83" fmla="*/ 28 h 40"/>
                <a:gd name="T84" fmla="*/ 38 w 39"/>
                <a:gd name="T85" fmla="*/ 21 h 40"/>
                <a:gd name="T86" fmla="*/ 37 w 39"/>
                <a:gd name="T87" fmla="*/ 16 h 40"/>
                <a:gd name="T88" fmla="*/ 37 w 39"/>
                <a:gd name="T89" fmla="*/ 11 h 40"/>
                <a:gd name="T90" fmla="*/ 34 w 39"/>
                <a:gd name="T91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" h="40">
                  <a:moveTo>
                    <a:pt x="34" y="8"/>
                  </a:moveTo>
                  <a:cubicBezTo>
                    <a:pt x="34" y="5"/>
                    <a:pt x="33" y="2"/>
                    <a:pt x="32" y="1"/>
                  </a:cubicBezTo>
                  <a:cubicBezTo>
                    <a:pt x="30" y="0"/>
                    <a:pt x="25" y="0"/>
                    <a:pt x="23" y="1"/>
                  </a:cubicBezTo>
                  <a:cubicBezTo>
                    <a:pt x="21" y="2"/>
                    <a:pt x="17" y="5"/>
                    <a:pt x="15" y="6"/>
                  </a:cubicBezTo>
                  <a:cubicBezTo>
                    <a:pt x="13" y="6"/>
                    <a:pt x="7" y="8"/>
                    <a:pt x="6" y="9"/>
                  </a:cubicBezTo>
                  <a:cubicBezTo>
                    <a:pt x="5" y="10"/>
                    <a:pt x="1" y="14"/>
                    <a:pt x="4" y="16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0" y="18"/>
                    <a:pt x="1" y="21"/>
                  </a:cubicBezTo>
                  <a:cubicBezTo>
                    <a:pt x="2" y="23"/>
                    <a:pt x="3" y="24"/>
                    <a:pt x="4" y="24"/>
                  </a:cubicBezTo>
                  <a:cubicBezTo>
                    <a:pt x="6" y="23"/>
                    <a:pt x="7" y="23"/>
                    <a:pt x="8" y="22"/>
                  </a:cubicBezTo>
                  <a:cubicBezTo>
                    <a:pt x="9" y="22"/>
                    <a:pt x="13" y="22"/>
                    <a:pt x="14" y="22"/>
                  </a:cubicBezTo>
                  <a:cubicBezTo>
                    <a:pt x="14" y="21"/>
                    <a:pt x="15" y="22"/>
                    <a:pt x="16" y="21"/>
                  </a:cubicBezTo>
                  <a:cubicBezTo>
                    <a:pt x="17" y="21"/>
                    <a:pt x="21" y="21"/>
                    <a:pt x="22" y="21"/>
                  </a:cubicBezTo>
                  <a:cubicBezTo>
                    <a:pt x="23" y="21"/>
                    <a:pt x="24" y="21"/>
                    <a:pt x="25" y="21"/>
                  </a:cubicBezTo>
                  <a:cubicBezTo>
                    <a:pt x="26" y="21"/>
                    <a:pt x="26" y="21"/>
                    <a:pt x="27" y="21"/>
                  </a:cubicBezTo>
                  <a:cubicBezTo>
                    <a:pt x="27" y="20"/>
                    <a:pt x="28" y="21"/>
                    <a:pt x="28" y="21"/>
                  </a:cubicBezTo>
                  <a:cubicBezTo>
                    <a:pt x="28" y="21"/>
                    <a:pt x="26" y="22"/>
                    <a:pt x="25" y="22"/>
                  </a:cubicBezTo>
                  <a:cubicBezTo>
                    <a:pt x="25" y="22"/>
                    <a:pt x="23" y="23"/>
                    <a:pt x="22" y="23"/>
                  </a:cubicBezTo>
                  <a:cubicBezTo>
                    <a:pt x="21" y="23"/>
                    <a:pt x="18" y="23"/>
                    <a:pt x="16" y="23"/>
                  </a:cubicBezTo>
                  <a:cubicBezTo>
                    <a:pt x="15" y="23"/>
                    <a:pt x="14" y="23"/>
                    <a:pt x="13" y="23"/>
                  </a:cubicBezTo>
                  <a:cubicBezTo>
                    <a:pt x="12" y="23"/>
                    <a:pt x="12" y="23"/>
                    <a:pt x="11" y="23"/>
                  </a:cubicBezTo>
                  <a:cubicBezTo>
                    <a:pt x="10" y="23"/>
                    <a:pt x="10" y="23"/>
                    <a:pt x="9" y="23"/>
                  </a:cubicBezTo>
                  <a:cubicBezTo>
                    <a:pt x="8" y="23"/>
                    <a:pt x="7" y="23"/>
                    <a:pt x="6" y="23"/>
                  </a:cubicBezTo>
                  <a:cubicBezTo>
                    <a:pt x="5" y="24"/>
                    <a:pt x="4" y="24"/>
                    <a:pt x="4" y="26"/>
                  </a:cubicBezTo>
                  <a:cubicBezTo>
                    <a:pt x="4" y="29"/>
                    <a:pt x="5" y="30"/>
                    <a:pt x="8" y="30"/>
                  </a:cubicBezTo>
                  <a:cubicBezTo>
                    <a:pt x="11" y="29"/>
                    <a:pt x="13" y="29"/>
                    <a:pt x="14" y="29"/>
                  </a:cubicBezTo>
                  <a:cubicBezTo>
                    <a:pt x="14" y="29"/>
                    <a:pt x="16" y="30"/>
                    <a:pt x="16" y="30"/>
                  </a:cubicBezTo>
                  <a:cubicBezTo>
                    <a:pt x="17" y="30"/>
                    <a:pt x="17" y="29"/>
                    <a:pt x="18" y="29"/>
                  </a:cubicBezTo>
                  <a:cubicBezTo>
                    <a:pt x="19" y="30"/>
                    <a:pt x="22" y="30"/>
                    <a:pt x="23" y="30"/>
                  </a:cubicBezTo>
                  <a:cubicBezTo>
                    <a:pt x="24" y="30"/>
                    <a:pt x="24" y="30"/>
                    <a:pt x="25" y="30"/>
                  </a:cubicBezTo>
                  <a:cubicBezTo>
                    <a:pt x="26" y="30"/>
                    <a:pt x="26" y="30"/>
                    <a:pt x="27" y="30"/>
                  </a:cubicBezTo>
                  <a:cubicBezTo>
                    <a:pt x="27" y="30"/>
                    <a:pt x="27" y="32"/>
                    <a:pt x="26" y="32"/>
                  </a:cubicBezTo>
                  <a:cubicBezTo>
                    <a:pt x="25" y="33"/>
                    <a:pt x="23" y="33"/>
                    <a:pt x="23" y="33"/>
                  </a:cubicBezTo>
                  <a:cubicBezTo>
                    <a:pt x="22" y="33"/>
                    <a:pt x="19" y="32"/>
                    <a:pt x="17" y="32"/>
                  </a:cubicBezTo>
                  <a:cubicBezTo>
                    <a:pt x="16" y="32"/>
                    <a:pt x="15" y="31"/>
                    <a:pt x="14" y="31"/>
                  </a:cubicBezTo>
                  <a:cubicBezTo>
                    <a:pt x="13" y="31"/>
                    <a:pt x="13" y="31"/>
                    <a:pt x="12" y="31"/>
                  </a:cubicBezTo>
                  <a:cubicBezTo>
                    <a:pt x="12" y="31"/>
                    <a:pt x="10" y="32"/>
                    <a:pt x="10" y="33"/>
                  </a:cubicBezTo>
                  <a:cubicBezTo>
                    <a:pt x="10" y="34"/>
                    <a:pt x="11" y="35"/>
                    <a:pt x="13" y="36"/>
                  </a:cubicBezTo>
                  <a:cubicBezTo>
                    <a:pt x="14" y="37"/>
                    <a:pt x="18" y="40"/>
                    <a:pt x="22" y="40"/>
                  </a:cubicBezTo>
                  <a:cubicBezTo>
                    <a:pt x="26" y="40"/>
                    <a:pt x="29" y="39"/>
                    <a:pt x="30" y="39"/>
                  </a:cubicBezTo>
                  <a:cubicBezTo>
                    <a:pt x="31" y="39"/>
                    <a:pt x="33" y="35"/>
                    <a:pt x="35" y="33"/>
                  </a:cubicBezTo>
                  <a:cubicBezTo>
                    <a:pt x="36" y="31"/>
                    <a:pt x="36" y="29"/>
                    <a:pt x="37" y="28"/>
                  </a:cubicBezTo>
                  <a:cubicBezTo>
                    <a:pt x="38" y="27"/>
                    <a:pt x="39" y="24"/>
                    <a:pt x="38" y="21"/>
                  </a:cubicBezTo>
                  <a:cubicBezTo>
                    <a:pt x="37" y="19"/>
                    <a:pt x="36" y="18"/>
                    <a:pt x="37" y="16"/>
                  </a:cubicBezTo>
                  <a:cubicBezTo>
                    <a:pt x="38" y="15"/>
                    <a:pt x="38" y="13"/>
                    <a:pt x="37" y="11"/>
                  </a:cubicBezTo>
                  <a:cubicBezTo>
                    <a:pt x="35" y="9"/>
                    <a:pt x="34" y="9"/>
                    <a:pt x="34" y="8"/>
                  </a:cubicBez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6" name="Freeform 135">
              <a:extLst>
                <a:ext uri="{FF2B5EF4-FFF2-40B4-BE49-F238E27FC236}">
                  <a16:creationId xmlns:a16="http://schemas.microsoft.com/office/drawing/2014/main" id="{E91CB390-4D00-4F41-AD05-C177E5D66534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5930" y="4342990"/>
              <a:ext cx="41534" cy="38772"/>
            </a:xfrm>
            <a:custGeom>
              <a:avLst/>
              <a:gdLst>
                <a:gd name="T0" fmla="*/ 10 w 33"/>
                <a:gd name="T1" fmla="*/ 2 h 32"/>
                <a:gd name="T2" fmla="*/ 20 w 33"/>
                <a:gd name="T3" fmla="*/ 1 h 32"/>
                <a:gd name="T4" fmla="*/ 24 w 33"/>
                <a:gd name="T5" fmla="*/ 4 h 32"/>
                <a:gd name="T6" fmla="*/ 30 w 33"/>
                <a:gd name="T7" fmla="*/ 9 h 32"/>
                <a:gd name="T8" fmla="*/ 33 w 33"/>
                <a:gd name="T9" fmla="*/ 14 h 32"/>
                <a:gd name="T10" fmla="*/ 29 w 33"/>
                <a:gd name="T11" fmla="*/ 16 h 32"/>
                <a:gd name="T12" fmla="*/ 30 w 33"/>
                <a:gd name="T13" fmla="*/ 21 h 32"/>
                <a:gd name="T14" fmla="*/ 25 w 33"/>
                <a:gd name="T15" fmla="*/ 21 h 32"/>
                <a:gd name="T16" fmla="*/ 16 w 33"/>
                <a:gd name="T17" fmla="*/ 15 h 32"/>
                <a:gd name="T18" fmla="*/ 14 w 33"/>
                <a:gd name="T19" fmla="*/ 15 h 32"/>
                <a:gd name="T20" fmla="*/ 13 w 33"/>
                <a:gd name="T21" fmla="*/ 17 h 32"/>
                <a:gd name="T22" fmla="*/ 18 w 33"/>
                <a:gd name="T23" fmla="*/ 19 h 32"/>
                <a:gd name="T24" fmla="*/ 26 w 33"/>
                <a:gd name="T25" fmla="*/ 23 h 32"/>
                <a:gd name="T26" fmla="*/ 26 w 33"/>
                <a:gd name="T27" fmla="*/ 26 h 32"/>
                <a:gd name="T28" fmla="*/ 21 w 33"/>
                <a:gd name="T29" fmla="*/ 26 h 32"/>
                <a:gd name="T30" fmla="*/ 11 w 33"/>
                <a:gd name="T31" fmla="*/ 23 h 32"/>
                <a:gd name="T32" fmla="*/ 10 w 33"/>
                <a:gd name="T33" fmla="*/ 23 h 32"/>
                <a:gd name="T34" fmla="*/ 8 w 33"/>
                <a:gd name="T35" fmla="*/ 26 h 32"/>
                <a:gd name="T36" fmla="*/ 12 w 33"/>
                <a:gd name="T37" fmla="*/ 26 h 32"/>
                <a:gd name="T38" fmla="*/ 18 w 33"/>
                <a:gd name="T39" fmla="*/ 27 h 32"/>
                <a:gd name="T40" fmla="*/ 15 w 33"/>
                <a:gd name="T41" fmla="*/ 31 h 32"/>
                <a:gd name="T42" fmla="*/ 8 w 33"/>
                <a:gd name="T43" fmla="*/ 32 h 32"/>
                <a:gd name="T44" fmla="*/ 4 w 33"/>
                <a:gd name="T45" fmla="*/ 31 h 32"/>
                <a:gd name="T46" fmla="*/ 1 w 33"/>
                <a:gd name="T47" fmla="*/ 29 h 32"/>
                <a:gd name="T48" fmla="*/ 0 w 33"/>
                <a:gd name="T49" fmla="*/ 26 h 32"/>
                <a:gd name="T50" fmla="*/ 0 w 33"/>
                <a:gd name="T51" fmla="*/ 22 h 32"/>
                <a:gd name="T52" fmla="*/ 0 w 33"/>
                <a:gd name="T53" fmla="*/ 21 h 32"/>
                <a:gd name="T54" fmla="*/ 0 w 33"/>
                <a:gd name="T55" fmla="*/ 18 h 32"/>
                <a:gd name="T56" fmla="*/ 1 w 33"/>
                <a:gd name="T57" fmla="*/ 16 h 32"/>
                <a:gd name="T58" fmla="*/ 3 w 33"/>
                <a:gd name="T59" fmla="*/ 13 h 32"/>
                <a:gd name="T60" fmla="*/ 4 w 33"/>
                <a:gd name="T61" fmla="*/ 10 h 32"/>
                <a:gd name="T62" fmla="*/ 7 w 33"/>
                <a:gd name="T63" fmla="*/ 6 h 32"/>
                <a:gd name="T64" fmla="*/ 8 w 33"/>
                <a:gd name="T65" fmla="*/ 4 h 32"/>
                <a:gd name="T66" fmla="*/ 10 w 33"/>
                <a:gd name="T67" fmla="*/ 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32">
                  <a:moveTo>
                    <a:pt x="10" y="2"/>
                  </a:moveTo>
                  <a:cubicBezTo>
                    <a:pt x="11" y="1"/>
                    <a:pt x="17" y="0"/>
                    <a:pt x="20" y="1"/>
                  </a:cubicBezTo>
                  <a:cubicBezTo>
                    <a:pt x="22" y="2"/>
                    <a:pt x="23" y="3"/>
                    <a:pt x="24" y="4"/>
                  </a:cubicBezTo>
                  <a:cubicBezTo>
                    <a:pt x="26" y="5"/>
                    <a:pt x="30" y="8"/>
                    <a:pt x="30" y="9"/>
                  </a:cubicBezTo>
                  <a:cubicBezTo>
                    <a:pt x="31" y="10"/>
                    <a:pt x="33" y="12"/>
                    <a:pt x="33" y="14"/>
                  </a:cubicBezTo>
                  <a:cubicBezTo>
                    <a:pt x="32" y="16"/>
                    <a:pt x="30" y="17"/>
                    <a:pt x="29" y="16"/>
                  </a:cubicBezTo>
                  <a:cubicBezTo>
                    <a:pt x="29" y="16"/>
                    <a:pt x="32" y="18"/>
                    <a:pt x="30" y="21"/>
                  </a:cubicBezTo>
                  <a:cubicBezTo>
                    <a:pt x="29" y="23"/>
                    <a:pt x="27" y="22"/>
                    <a:pt x="25" y="21"/>
                  </a:cubicBezTo>
                  <a:cubicBezTo>
                    <a:pt x="23" y="19"/>
                    <a:pt x="16" y="16"/>
                    <a:pt x="16" y="15"/>
                  </a:cubicBezTo>
                  <a:cubicBezTo>
                    <a:pt x="15" y="15"/>
                    <a:pt x="14" y="15"/>
                    <a:pt x="14" y="15"/>
                  </a:cubicBezTo>
                  <a:cubicBezTo>
                    <a:pt x="14" y="15"/>
                    <a:pt x="13" y="17"/>
                    <a:pt x="13" y="17"/>
                  </a:cubicBezTo>
                  <a:cubicBezTo>
                    <a:pt x="13" y="17"/>
                    <a:pt x="15" y="18"/>
                    <a:pt x="18" y="19"/>
                  </a:cubicBezTo>
                  <a:cubicBezTo>
                    <a:pt x="22" y="20"/>
                    <a:pt x="25" y="22"/>
                    <a:pt x="26" y="23"/>
                  </a:cubicBezTo>
                  <a:cubicBezTo>
                    <a:pt x="27" y="23"/>
                    <a:pt x="27" y="24"/>
                    <a:pt x="26" y="26"/>
                  </a:cubicBezTo>
                  <a:cubicBezTo>
                    <a:pt x="25" y="27"/>
                    <a:pt x="23" y="27"/>
                    <a:pt x="21" y="26"/>
                  </a:cubicBezTo>
                  <a:cubicBezTo>
                    <a:pt x="19" y="25"/>
                    <a:pt x="14" y="24"/>
                    <a:pt x="11" y="23"/>
                  </a:cubicBezTo>
                  <a:cubicBezTo>
                    <a:pt x="9" y="23"/>
                    <a:pt x="10" y="23"/>
                    <a:pt x="10" y="23"/>
                  </a:cubicBezTo>
                  <a:cubicBezTo>
                    <a:pt x="10" y="23"/>
                    <a:pt x="9" y="25"/>
                    <a:pt x="8" y="26"/>
                  </a:cubicBezTo>
                  <a:cubicBezTo>
                    <a:pt x="8" y="26"/>
                    <a:pt x="10" y="26"/>
                    <a:pt x="12" y="26"/>
                  </a:cubicBezTo>
                  <a:cubicBezTo>
                    <a:pt x="14" y="25"/>
                    <a:pt x="18" y="26"/>
                    <a:pt x="18" y="27"/>
                  </a:cubicBezTo>
                  <a:cubicBezTo>
                    <a:pt x="18" y="28"/>
                    <a:pt x="18" y="30"/>
                    <a:pt x="15" y="31"/>
                  </a:cubicBezTo>
                  <a:cubicBezTo>
                    <a:pt x="12" y="32"/>
                    <a:pt x="9" y="32"/>
                    <a:pt x="8" y="32"/>
                  </a:cubicBezTo>
                  <a:cubicBezTo>
                    <a:pt x="6" y="32"/>
                    <a:pt x="5" y="31"/>
                    <a:pt x="4" y="31"/>
                  </a:cubicBezTo>
                  <a:cubicBezTo>
                    <a:pt x="4" y="31"/>
                    <a:pt x="2" y="30"/>
                    <a:pt x="1" y="29"/>
                  </a:cubicBezTo>
                  <a:cubicBezTo>
                    <a:pt x="1" y="28"/>
                    <a:pt x="0" y="27"/>
                    <a:pt x="0" y="26"/>
                  </a:cubicBezTo>
                  <a:cubicBezTo>
                    <a:pt x="0" y="24"/>
                    <a:pt x="0" y="23"/>
                    <a:pt x="0" y="22"/>
                  </a:cubicBezTo>
                  <a:cubicBezTo>
                    <a:pt x="0" y="22"/>
                    <a:pt x="0" y="22"/>
                    <a:pt x="0" y="21"/>
                  </a:cubicBezTo>
                  <a:cubicBezTo>
                    <a:pt x="0" y="20"/>
                    <a:pt x="0" y="18"/>
                    <a:pt x="0" y="18"/>
                  </a:cubicBezTo>
                  <a:cubicBezTo>
                    <a:pt x="0" y="17"/>
                    <a:pt x="1" y="17"/>
                    <a:pt x="1" y="16"/>
                  </a:cubicBezTo>
                  <a:cubicBezTo>
                    <a:pt x="2" y="15"/>
                    <a:pt x="3" y="14"/>
                    <a:pt x="3" y="13"/>
                  </a:cubicBezTo>
                  <a:cubicBezTo>
                    <a:pt x="3" y="12"/>
                    <a:pt x="3" y="11"/>
                    <a:pt x="4" y="10"/>
                  </a:cubicBezTo>
                  <a:cubicBezTo>
                    <a:pt x="4" y="9"/>
                    <a:pt x="7" y="7"/>
                    <a:pt x="7" y="6"/>
                  </a:cubicBezTo>
                  <a:cubicBezTo>
                    <a:pt x="7" y="5"/>
                    <a:pt x="7" y="5"/>
                    <a:pt x="8" y="4"/>
                  </a:cubicBezTo>
                  <a:cubicBezTo>
                    <a:pt x="8" y="3"/>
                    <a:pt x="9" y="2"/>
                    <a:pt x="10" y="2"/>
                  </a:cubicBezTo>
                  <a:close/>
                </a:path>
              </a:pathLst>
            </a:custGeom>
            <a:solidFill>
              <a:srgbClr val="6061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7" name="Freeform 136">
              <a:extLst>
                <a:ext uri="{FF2B5EF4-FFF2-40B4-BE49-F238E27FC236}">
                  <a16:creationId xmlns:a16="http://schemas.microsoft.com/office/drawing/2014/main" id="{D918BD1D-8430-47E9-AF29-71123C21524B}"/>
                </a:ext>
              </a:extLst>
            </p:cNvPr>
            <p:cNvSpPr>
              <a:spLocks/>
            </p:cNvSpPr>
            <p:nvPr/>
          </p:nvSpPr>
          <p:spPr bwMode="gray">
            <a:xfrm>
              <a:off x="599671" y="4241908"/>
              <a:ext cx="84453" cy="106622"/>
            </a:xfrm>
            <a:custGeom>
              <a:avLst/>
              <a:gdLst>
                <a:gd name="T0" fmla="*/ 1 w 61"/>
                <a:gd name="T1" fmla="*/ 18 h 77"/>
                <a:gd name="T2" fmla="*/ 22 w 61"/>
                <a:gd name="T3" fmla="*/ 17 h 77"/>
                <a:gd name="T4" fmla="*/ 27 w 61"/>
                <a:gd name="T5" fmla="*/ 77 h 77"/>
                <a:gd name="T6" fmla="*/ 45 w 61"/>
                <a:gd name="T7" fmla="*/ 76 h 77"/>
                <a:gd name="T8" fmla="*/ 40 w 61"/>
                <a:gd name="T9" fmla="*/ 16 h 77"/>
                <a:gd name="T10" fmla="*/ 61 w 61"/>
                <a:gd name="T11" fmla="*/ 15 h 77"/>
                <a:gd name="T12" fmla="*/ 60 w 61"/>
                <a:gd name="T13" fmla="*/ 0 h 77"/>
                <a:gd name="T14" fmla="*/ 0 w 61"/>
                <a:gd name="T15" fmla="*/ 3 h 77"/>
                <a:gd name="T16" fmla="*/ 1 w 61"/>
                <a:gd name="T17" fmla="*/ 1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77">
                  <a:moveTo>
                    <a:pt x="1" y="18"/>
                  </a:moveTo>
                  <a:lnTo>
                    <a:pt x="22" y="17"/>
                  </a:lnTo>
                  <a:lnTo>
                    <a:pt x="27" y="77"/>
                  </a:lnTo>
                  <a:lnTo>
                    <a:pt x="45" y="76"/>
                  </a:lnTo>
                  <a:lnTo>
                    <a:pt x="40" y="16"/>
                  </a:lnTo>
                  <a:lnTo>
                    <a:pt x="61" y="15"/>
                  </a:lnTo>
                  <a:lnTo>
                    <a:pt x="60" y="0"/>
                  </a:lnTo>
                  <a:lnTo>
                    <a:pt x="0" y="3"/>
                  </a:lnTo>
                  <a:lnTo>
                    <a:pt x="1" y="1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8" name="Freeform 137">
              <a:extLst>
                <a:ext uri="{FF2B5EF4-FFF2-40B4-BE49-F238E27FC236}">
                  <a16:creationId xmlns:a16="http://schemas.microsoft.com/office/drawing/2014/main" id="{91F5E6BD-C501-422B-81AE-20746CA2BE80}"/>
                </a:ext>
              </a:extLst>
            </p:cNvPr>
            <p:cNvSpPr>
              <a:spLocks/>
            </p:cNvSpPr>
            <p:nvPr/>
          </p:nvSpPr>
          <p:spPr bwMode="gray">
            <a:xfrm>
              <a:off x="884872" y="4324990"/>
              <a:ext cx="106605" cy="123239"/>
            </a:xfrm>
            <a:custGeom>
              <a:avLst/>
              <a:gdLst>
                <a:gd name="T0" fmla="*/ 27 w 77"/>
                <a:gd name="T1" fmla="*/ 47 h 89"/>
                <a:gd name="T2" fmla="*/ 61 w 77"/>
                <a:gd name="T3" fmla="*/ 58 h 89"/>
                <a:gd name="T4" fmla="*/ 66 w 77"/>
                <a:gd name="T5" fmla="*/ 44 h 89"/>
                <a:gd name="T6" fmla="*/ 31 w 77"/>
                <a:gd name="T7" fmla="*/ 32 h 89"/>
                <a:gd name="T8" fmla="*/ 36 w 77"/>
                <a:gd name="T9" fmla="*/ 20 h 89"/>
                <a:gd name="T10" fmla="*/ 72 w 77"/>
                <a:gd name="T11" fmla="*/ 32 h 89"/>
                <a:gd name="T12" fmla="*/ 77 w 77"/>
                <a:gd name="T13" fmla="*/ 18 h 89"/>
                <a:gd name="T14" fmla="*/ 24 w 77"/>
                <a:gd name="T15" fmla="*/ 0 h 89"/>
                <a:gd name="T16" fmla="*/ 0 w 77"/>
                <a:gd name="T17" fmla="*/ 71 h 89"/>
                <a:gd name="T18" fmla="*/ 54 w 77"/>
                <a:gd name="T19" fmla="*/ 89 h 89"/>
                <a:gd name="T20" fmla="*/ 59 w 77"/>
                <a:gd name="T21" fmla="*/ 75 h 89"/>
                <a:gd name="T22" fmla="*/ 22 w 77"/>
                <a:gd name="T23" fmla="*/ 62 h 89"/>
                <a:gd name="T24" fmla="*/ 27 w 77"/>
                <a:gd name="T25" fmla="*/ 47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89">
                  <a:moveTo>
                    <a:pt x="27" y="47"/>
                  </a:moveTo>
                  <a:lnTo>
                    <a:pt x="61" y="58"/>
                  </a:lnTo>
                  <a:lnTo>
                    <a:pt x="66" y="44"/>
                  </a:lnTo>
                  <a:lnTo>
                    <a:pt x="31" y="32"/>
                  </a:lnTo>
                  <a:lnTo>
                    <a:pt x="36" y="20"/>
                  </a:lnTo>
                  <a:lnTo>
                    <a:pt x="72" y="32"/>
                  </a:lnTo>
                  <a:lnTo>
                    <a:pt x="77" y="18"/>
                  </a:lnTo>
                  <a:lnTo>
                    <a:pt x="24" y="0"/>
                  </a:lnTo>
                  <a:lnTo>
                    <a:pt x="0" y="71"/>
                  </a:lnTo>
                  <a:lnTo>
                    <a:pt x="54" y="89"/>
                  </a:lnTo>
                  <a:lnTo>
                    <a:pt x="59" y="75"/>
                  </a:lnTo>
                  <a:lnTo>
                    <a:pt x="22" y="62"/>
                  </a:lnTo>
                  <a:lnTo>
                    <a:pt x="27" y="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49" name="Freeform 138">
              <a:extLst>
                <a:ext uri="{FF2B5EF4-FFF2-40B4-BE49-F238E27FC236}">
                  <a16:creationId xmlns:a16="http://schemas.microsoft.com/office/drawing/2014/main" id="{088E3EF7-4212-4719-94AA-2E216DC08F2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94993" y="4283450"/>
              <a:ext cx="106605" cy="119084"/>
            </a:xfrm>
            <a:custGeom>
              <a:avLst/>
              <a:gdLst>
                <a:gd name="T0" fmla="*/ 13 w 77"/>
                <a:gd name="T1" fmla="*/ 3 h 86"/>
                <a:gd name="T2" fmla="*/ 0 w 77"/>
                <a:gd name="T3" fmla="*/ 86 h 86"/>
                <a:gd name="T4" fmla="*/ 19 w 77"/>
                <a:gd name="T5" fmla="*/ 81 h 86"/>
                <a:gd name="T6" fmla="*/ 21 w 77"/>
                <a:gd name="T7" fmla="*/ 63 h 86"/>
                <a:gd name="T8" fmla="*/ 48 w 77"/>
                <a:gd name="T9" fmla="*/ 58 h 86"/>
                <a:gd name="T10" fmla="*/ 58 w 77"/>
                <a:gd name="T11" fmla="*/ 73 h 86"/>
                <a:gd name="T12" fmla="*/ 77 w 77"/>
                <a:gd name="T13" fmla="*/ 69 h 86"/>
                <a:gd name="T14" fmla="*/ 31 w 77"/>
                <a:gd name="T15" fmla="*/ 0 h 86"/>
                <a:gd name="T16" fmla="*/ 13 w 77"/>
                <a:gd name="T17" fmla="*/ 3 h 86"/>
                <a:gd name="T18" fmla="*/ 39 w 77"/>
                <a:gd name="T19" fmla="*/ 44 h 86"/>
                <a:gd name="T20" fmla="*/ 24 w 77"/>
                <a:gd name="T21" fmla="*/ 47 h 86"/>
                <a:gd name="T22" fmla="*/ 28 w 77"/>
                <a:gd name="T23" fmla="*/ 25 h 86"/>
                <a:gd name="T24" fmla="*/ 39 w 77"/>
                <a:gd name="T25" fmla="*/ 4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86">
                  <a:moveTo>
                    <a:pt x="13" y="3"/>
                  </a:moveTo>
                  <a:lnTo>
                    <a:pt x="0" y="86"/>
                  </a:lnTo>
                  <a:lnTo>
                    <a:pt x="19" y="81"/>
                  </a:lnTo>
                  <a:lnTo>
                    <a:pt x="21" y="63"/>
                  </a:lnTo>
                  <a:lnTo>
                    <a:pt x="48" y="58"/>
                  </a:lnTo>
                  <a:lnTo>
                    <a:pt x="58" y="73"/>
                  </a:lnTo>
                  <a:lnTo>
                    <a:pt x="77" y="69"/>
                  </a:lnTo>
                  <a:lnTo>
                    <a:pt x="31" y="0"/>
                  </a:lnTo>
                  <a:lnTo>
                    <a:pt x="13" y="3"/>
                  </a:lnTo>
                  <a:close/>
                  <a:moveTo>
                    <a:pt x="39" y="44"/>
                  </a:moveTo>
                  <a:lnTo>
                    <a:pt x="24" y="47"/>
                  </a:lnTo>
                  <a:lnTo>
                    <a:pt x="28" y="25"/>
                  </a:lnTo>
                  <a:lnTo>
                    <a:pt x="39" y="4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50" name="Freeform 139">
              <a:extLst>
                <a:ext uri="{FF2B5EF4-FFF2-40B4-BE49-F238E27FC236}">
                  <a16:creationId xmlns:a16="http://schemas.microsoft.com/office/drawing/2014/main" id="{E17D23CD-9405-44D8-A55D-EED802A41C0C}"/>
                </a:ext>
              </a:extLst>
            </p:cNvPr>
            <p:cNvSpPr>
              <a:spLocks/>
            </p:cNvSpPr>
            <p:nvPr/>
          </p:nvSpPr>
          <p:spPr bwMode="gray">
            <a:xfrm>
              <a:off x="1484348" y="4269603"/>
              <a:ext cx="105220" cy="109392"/>
            </a:xfrm>
            <a:custGeom>
              <a:avLst/>
              <a:gdLst>
                <a:gd name="T0" fmla="*/ 51 w 76"/>
                <a:gd name="T1" fmla="*/ 1 h 79"/>
                <a:gd name="T2" fmla="*/ 38 w 76"/>
                <a:gd name="T3" fmla="*/ 46 h 79"/>
                <a:gd name="T4" fmla="*/ 27 w 76"/>
                <a:gd name="T5" fmla="*/ 1 h 79"/>
                <a:gd name="T6" fmla="*/ 2 w 76"/>
                <a:gd name="T7" fmla="*/ 0 h 79"/>
                <a:gd name="T8" fmla="*/ 0 w 76"/>
                <a:gd name="T9" fmla="*/ 77 h 79"/>
                <a:gd name="T10" fmla="*/ 18 w 76"/>
                <a:gd name="T11" fmla="*/ 78 h 79"/>
                <a:gd name="T12" fmla="*/ 19 w 76"/>
                <a:gd name="T13" fmla="*/ 32 h 79"/>
                <a:gd name="T14" fmla="*/ 29 w 76"/>
                <a:gd name="T15" fmla="*/ 78 h 79"/>
                <a:gd name="T16" fmla="*/ 46 w 76"/>
                <a:gd name="T17" fmla="*/ 78 h 79"/>
                <a:gd name="T18" fmla="*/ 58 w 76"/>
                <a:gd name="T19" fmla="*/ 32 h 79"/>
                <a:gd name="T20" fmla="*/ 57 w 76"/>
                <a:gd name="T21" fmla="*/ 78 h 79"/>
                <a:gd name="T22" fmla="*/ 75 w 76"/>
                <a:gd name="T23" fmla="*/ 79 h 79"/>
                <a:gd name="T24" fmla="*/ 76 w 76"/>
                <a:gd name="T25" fmla="*/ 2 h 79"/>
                <a:gd name="T26" fmla="*/ 51 w 76"/>
                <a:gd name="T27" fmla="*/ 1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79">
                  <a:moveTo>
                    <a:pt x="51" y="1"/>
                  </a:moveTo>
                  <a:lnTo>
                    <a:pt x="38" y="46"/>
                  </a:lnTo>
                  <a:lnTo>
                    <a:pt x="27" y="1"/>
                  </a:lnTo>
                  <a:lnTo>
                    <a:pt x="2" y="0"/>
                  </a:lnTo>
                  <a:lnTo>
                    <a:pt x="0" y="77"/>
                  </a:lnTo>
                  <a:lnTo>
                    <a:pt x="18" y="78"/>
                  </a:lnTo>
                  <a:lnTo>
                    <a:pt x="19" y="32"/>
                  </a:lnTo>
                  <a:lnTo>
                    <a:pt x="29" y="78"/>
                  </a:lnTo>
                  <a:lnTo>
                    <a:pt x="46" y="78"/>
                  </a:lnTo>
                  <a:lnTo>
                    <a:pt x="58" y="32"/>
                  </a:lnTo>
                  <a:lnTo>
                    <a:pt x="57" y="78"/>
                  </a:lnTo>
                  <a:lnTo>
                    <a:pt x="75" y="79"/>
                  </a:lnTo>
                  <a:lnTo>
                    <a:pt x="76" y="2"/>
                  </a:lnTo>
                  <a:lnTo>
                    <a:pt x="51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2F4F4A1-8D58-4402-945C-607C04C655F7}"/>
              </a:ext>
            </a:extLst>
          </p:cNvPr>
          <p:cNvGrpSpPr/>
          <p:nvPr/>
        </p:nvGrpSpPr>
        <p:grpSpPr bwMode="gray">
          <a:xfrm>
            <a:off x="780517" y="1145822"/>
            <a:ext cx="485687" cy="522001"/>
            <a:chOff x="722314" y="1492250"/>
            <a:chExt cx="849312" cy="912813"/>
          </a:xfrm>
          <a:effectLst/>
        </p:grpSpPr>
        <p:sp>
          <p:nvSpPr>
            <p:cNvPr id="52" name="Freeform 72">
              <a:extLst>
                <a:ext uri="{FF2B5EF4-FFF2-40B4-BE49-F238E27FC236}">
                  <a16:creationId xmlns:a16="http://schemas.microsoft.com/office/drawing/2014/main" id="{5FB2DC3E-EDC8-42E8-B098-505EA62BF59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2314" y="1978025"/>
              <a:ext cx="344488" cy="420688"/>
            </a:xfrm>
            <a:custGeom>
              <a:avLst/>
              <a:gdLst>
                <a:gd name="T0" fmla="*/ 187 w 335"/>
                <a:gd name="T1" fmla="*/ 0 h 408"/>
                <a:gd name="T2" fmla="*/ 38 w 335"/>
                <a:gd name="T3" fmla="*/ 139 h 408"/>
                <a:gd name="T4" fmla="*/ 5 w 335"/>
                <a:gd name="T5" fmla="*/ 195 h 408"/>
                <a:gd name="T6" fmla="*/ 10 w 335"/>
                <a:gd name="T7" fmla="*/ 216 h 408"/>
                <a:gd name="T8" fmla="*/ 38 w 335"/>
                <a:gd name="T9" fmla="*/ 232 h 408"/>
                <a:gd name="T10" fmla="*/ 38 w 335"/>
                <a:gd name="T11" fmla="*/ 296 h 408"/>
                <a:gd name="T12" fmla="*/ 52 w 335"/>
                <a:gd name="T13" fmla="*/ 310 h 408"/>
                <a:gd name="T14" fmla="*/ 114 w 335"/>
                <a:gd name="T15" fmla="*/ 310 h 408"/>
                <a:gd name="T16" fmla="*/ 114 w 335"/>
                <a:gd name="T17" fmla="*/ 393 h 408"/>
                <a:gd name="T18" fmla="*/ 128 w 335"/>
                <a:gd name="T19" fmla="*/ 408 h 408"/>
                <a:gd name="T20" fmla="*/ 265 w 335"/>
                <a:gd name="T21" fmla="*/ 352 h 408"/>
                <a:gd name="T22" fmla="*/ 265 w 335"/>
                <a:gd name="T23" fmla="*/ 296 h 408"/>
                <a:gd name="T24" fmla="*/ 265 w 335"/>
                <a:gd name="T25" fmla="*/ 276 h 408"/>
                <a:gd name="T26" fmla="*/ 335 w 335"/>
                <a:gd name="T27" fmla="*/ 148 h 408"/>
                <a:gd name="T28" fmla="*/ 187 w 335"/>
                <a:gd name="T29" fmla="*/ 0 h 408"/>
                <a:gd name="T30" fmla="*/ 203 w 335"/>
                <a:gd name="T31" fmla="*/ 152 h 408"/>
                <a:gd name="T32" fmla="*/ 147 w 335"/>
                <a:gd name="T33" fmla="*/ 236 h 408"/>
                <a:gd name="T34" fmla="*/ 147 w 335"/>
                <a:gd name="T35" fmla="*/ 236 h 408"/>
                <a:gd name="T36" fmla="*/ 176 w 335"/>
                <a:gd name="T37" fmla="*/ 158 h 408"/>
                <a:gd name="T38" fmla="*/ 168 w 335"/>
                <a:gd name="T39" fmla="*/ 159 h 408"/>
                <a:gd name="T40" fmla="*/ 149 w 335"/>
                <a:gd name="T41" fmla="*/ 163 h 408"/>
                <a:gd name="T42" fmla="*/ 141 w 335"/>
                <a:gd name="T43" fmla="*/ 165 h 408"/>
                <a:gd name="T44" fmla="*/ 166 w 335"/>
                <a:gd name="T45" fmla="*/ 128 h 408"/>
                <a:gd name="T46" fmla="*/ 166 w 335"/>
                <a:gd name="T47" fmla="*/ 128 h 408"/>
                <a:gd name="T48" fmla="*/ 222 w 335"/>
                <a:gd name="T49" fmla="*/ 45 h 408"/>
                <a:gd name="T50" fmla="*/ 222 w 335"/>
                <a:gd name="T51" fmla="*/ 45 h 408"/>
                <a:gd name="T52" fmla="*/ 192 w 335"/>
                <a:gd name="T53" fmla="*/ 123 h 408"/>
                <a:gd name="T54" fmla="*/ 203 w 335"/>
                <a:gd name="T55" fmla="*/ 121 h 408"/>
                <a:gd name="T56" fmla="*/ 219 w 335"/>
                <a:gd name="T57" fmla="*/ 118 h 408"/>
                <a:gd name="T58" fmla="*/ 227 w 335"/>
                <a:gd name="T59" fmla="*/ 116 h 408"/>
                <a:gd name="T60" fmla="*/ 203 w 335"/>
                <a:gd name="T61" fmla="*/ 15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5" h="408">
                  <a:moveTo>
                    <a:pt x="187" y="0"/>
                  </a:moveTo>
                  <a:cubicBezTo>
                    <a:pt x="108" y="0"/>
                    <a:pt x="43" y="61"/>
                    <a:pt x="38" y="139"/>
                  </a:cubicBezTo>
                  <a:cubicBezTo>
                    <a:pt x="5" y="195"/>
                    <a:pt x="5" y="195"/>
                    <a:pt x="5" y="195"/>
                  </a:cubicBezTo>
                  <a:cubicBezTo>
                    <a:pt x="0" y="202"/>
                    <a:pt x="3" y="211"/>
                    <a:pt x="10" y="216"/>
                  </a:cubicBezTo>
                  <a:cubicBezTo>
                    <a:pt x="38" y="232"/>
                    <a:pt x="38" y="232"/>
                    <a:pt x="38" y="232"/>
                  </a:cubicBezTo>
                  <a:cubicBezTo>
                    <a:pt x="38" y="296"/>
                    <a:pt x="38" y="296"/>
                    <a:pt x="38" y="296"/>
                  </a:cubicBezTo>
                  <a:cubicBezTo>
                    <a:pt x="38" y="304"/>
                    <a:pt x="44" y="310"/>
                    <a:pt x="52" y="310"/>
                  </a:cubicBezTo>
                  <a:cubicBezTo>
                    <a:pt x="114" y="310"/>
                    <a:pt x="114" y="310"/>
                    <a:pt x="114" y="310"/>
                  </a:cubicBezTo>
                  <a:cubicBezTo>
                    <a:pt x="114" y="393"/>
                    <a:pt x="114" y="393"/>
                    <a:pt x="114" y="393"/>
                  </a:cubicBezTo>
                  <a:cubicBezTo>
                    <a:pt x="114" y="401"/>
                    <a:pt x="119" y="407"/>
                    <a:pt x="128" y="408"/>
                  </a:cubicBezTo>
                  <a:cubicBezTo>
                    <a:pt x="265" y="352"/>
                    <a:pt x="265" y="352"/>
                    <a:pt x="265" y="352"/>
                  </a:cubicBezTo>
                  <a:cubicBezTo>
                    <a:pt x="265" y="296"/>
                    <a:pt x="265" y="296"/>
                    <a:pt x="265" y="296"/>
                  </a:cubicBezTo>
                  <a:cubicBezTo>
                    <a:pt x="265" y="276"/>
                    <a:pt x="265" y="276"/>
                    <a:pt x="265" y="276"/>
                  </a:cubicBezTo>
                  <a:cubicBezTo>
                    <a:pt x="307" y="250"/>
                    <a:pt x="335" y="203"/>
                    <a:pt x="335" y="148"/>
                  </a:cubicBezTo>
                  <a:cubicBezTo>
                    <a:pt x="335" y="67"/>
                    <a:pt x="269" y="0"/>
                    <a:pt x="187" y="0"/>
                  </a:cubicBezTo>
                  <a:close/>
                  <a:moveTo>
                    <a:pt x="203" y="152"/>
                  </a:moveTo>
                  <a:cubicBezTo>
                    <a:pt x="147" y="236"/>
                    <a:pt x="147" y="236"/>
                    <a:pt x="147" y="236"/>
                  </a:cubicBezTo>
                  <a:cubicBezTo>
                    <a:pt x="147" y="236"/>
                    <a:pt x="147" y="236"/>
                    <a:pt x="147" y="236"/>
                  </a:cubicBezTo>
                  <a:cubicBezTo>
                    <a:pt x="176" y="158"/>
                    <a:pt x="176" y="158"/>
                    <a:pt x="176" y="158"/>
                  </a:cubicBezTo>
                  <a:cubicBezTo>
                    <a:pt x="168" y="159"/>
                    <a:pt x="168" y="159"/>
                    <a:pt x="168" y="159"/>
                  </a:cubicBezTo>
                  <a:cubicBezTo>
                    <a:pt x="149" y="163"/>
                    <a:pt x="149" y="163"/>
                    <a:pt x="149" y="163"/>
                  </a:cubicBezTo>
                  <a:cubicBezTo>
                    <a:pt x="141" y="165"/>
                    <a:pt x="141" y="165"/>
                    <a:pt x="141" y="165"/>
                  </a:cubicBezTo>
                  <a:cubicBezTo>
                    <a:pt x="166" y="128"/>
                    <a:pt x="166" y="128"/>
                    <a:pt x="166" y="128"/>
                  </a:cubicBezTo>
                  <a:cubicBezTo>
                    <a:pt x="166" y="128"/>
                    <a:pt x="166" y="128"/>
                    <a:pt x="166" y="128"/>
                  </a:cubicBezTo>
                  <a:cubicBezTo>
                    <a:pt x="222" y="45"/>
                    <a:pt x="222" y="45"/>
                    <a:pt x="222" y="45"/>
                  </a:cubicBezTo>
                  <a:cubicBezTo>
                    <a:pt x="222" y="45"/>
                    <a:pt x="222" y="45"/>
                    <a:pt x="222" y="45"/>
                  </a:cubicBezTo>
                  <a:cubicBezTo>
                    <a:pt x="192" y="123"/>
                    <a:pt x="192" y="123"/>
                    <a:pt x="192" y="123"/>
                  </a:cubicBezTo>
                  <a:cubicBezTo>
                    <a:pt x="203" y="121"/>
                    <a:pt x="203" y="121"/>
                    <a:pt x="203" y="121"/>
                  </a:cubicBezTo>
                  <a:cubicBezTo>
                    <a:pt x="219" y="118"/>
                    <a:pt x="219" y="118"/>
                    <a:pt x="219" y="118"/>
                  </a:cubicBezTo>
                  <a:cubicBezTo>
                    <a:pt x="227" y="116"/>
                    <a:pt x="227" y="116"/>
                    <a:pt x="227" y="116"/>
                  </a:cubicBezTo>
                  <a:cubicBezTo>
                    <a:pt x="203" y="152"/>
                    <a:pt x="203" y="152"/>
                    <a:pt x="203" y="1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BBFA33F1-6906-4A2E-BAAA-736600C14F92}"/>
                </a:ext>
              </a:extLst>
            </p:cNvPr>
            <p:cNvGrpSpPr/>
            <p:nvPr/>
          </p:nvGrpSpPr>
          <p:grpSpPr bwMode="gray">
            <a:xfrm>
              <a:off x="723902" y="1498600"/>
              <a:ext cx="349250" cy="425450"/>
              <a:chOff x="723902" y="1498600"/>
              <a:chExt cx="349250" cy="425450"/>
            </a:xfrm>
          </p:grpSpPr>
          <p:sp>
            <p:nvSpPr>
              <p:cNvPr id="57" name="Freeform 85">
                <a:extLst>
                  <a:ext uri="{FF2B5EF4-FFF2-40B4-BE49-F238E27FC236}">
                    <a16:creationId xmlns:a16="http://schemas.microsoft.com/office/drawing/2014/main" id="{ECD05577-5481-4801-A462-312841F39EC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22340" y="1697038"/>
                <a:ext cx="34925" cy="34925"/>
              </a:xfrm>
              <a:custGeom>
                <a:avLst/>
                <a:gdLst>
                  <a:gd name="T0" fmla="*/ 26 w 33"/>
                  <a:gd name="T1" fmla="*/ 5 h 34"/>
                  <a:gd name="T2" fmla="*/ 5 w 33"/>
                  <a:gd name="T3" fmla="*/ 8 h 34"/>
                  <a:gd name="T4" fmla="*/ 8 w 33"/>
                  <a:gd name="T5" fmla="*/ 29 h 34"/>
                  <a:gd name="T6" fmla="*/ 29 w 33"/>
                  <a:gd name="T7" fmla="*/ 26 h 34"/>
                  <a:gd name="T8" fmla="*/ 26 w 33"/>
                  <a:gd name="T9" fmla="*/ 5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34">
                    <a:moveTo>
                      <a:pt x="26" y="5"/>
                    </a:moveTo>
                    <a:cubicBezTo>
                      <a:pt x="19" y="0"/>
                      <a:pt x="10" y="2"/>
                      <a:pt x="5" y="8"/>
                    </a:cubicBezTo>
                    <a:cubicBezTo>
                      <a:pt x="0" y="15"/>
                      <a:pt x="2" y="24"/>
                      <a:pt x="8" y="29"/>
                    </a:cubicBezTo>
                    <a:cubicBezTo>
                      <a:pt x="15" y="34"/>
                      <a:pt x="24" y="32"/>
                      <a:pt x="29" y="26"/>
                    </a:cubicBezTo>
                    <a:cubicBezTo>
                      <a:pt x="33" y="19"/>
                      <a:pt x="32" y="10"/>
                      <a:pt x="26" y="5"/>
                    </a:cubicBezTo>
                    <a:close/>
                  </a:path>
                </a:pathLst>
              </a:custGeom>
              <a:solidFill>
                <a:srgbClr val="016D9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8" name="Freeform 86">
                <a:extLst>
                  <a:ext uri="{FF2B5EF4-FFF2-40B4-BE49-F238E27FC236}">
                    <a16:creationId xmlns:a16="http://schemas.microsoft.com/office/drawing/2014/main" id="{10230E85-8A78-4251-813D-5A310010779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849315" y="1597025"/>
                <a:ext cx="34925" cy="34925"/>
              </a:xfrm>
              <a:custGeom>
                <a:avLst/>
                <a:gdLst>
                  <a:gd name="T0" fmla="*/ 26 w 34"/>
                  <a:gd name="T1" fmla="*/ 5 h 33"/>
                  <a:gd name="T2" fmla="*/ 5 w 34"/>
                  <a:gd name="T3" fmla="*/ 8 h 33"/>
                  <a:gd name="T4" fmla="*/ 8 w 34"/>
                  <a:gd name="T5" fmla="*/ 28 h 33"/>
                  <a:gd name="T6" fmla="*/ 29 w 34"/>
                  <a:gd name="T7" fmla="*/ 25 h 33"/>
                  <a:gd name="T8" fmla="*/ 26 w 34"/>
                  <a:gd name="T9" fmla="*/ 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" h="33">
                    <a:moveTo>
                      <a:pt x="26" y="5"/>
                    </a:moveTo>
                    <a:cubicBezTo>
                      <a:pt x="19" y="0"/>
                      <a:pt x="10" y="1"/>
                      <a:pt x="5" y="8"/>
                    </a:cubicBezTo>
                    <a:cubicBezTo>
                      <a:pt x="0" y="14"/>
                      <a:pt x="2" y="23"/>
                      <a:pt x="8" y="28"/>
                    </a:cubicBezTo>
                    <a:cubicBezTo>
                      <a:pt x="15" y="33"/>
                      <a:pt x="24" y="32"/>
                      <a:pt x="29" y="25"/>
                    </a:cubicBezTo>
                    <a:cubicBezTo>
                      <a:pt x="34" y="19"/>
                      <a:pt x="32" y="9"/>
                      <a:pt x="26" y="5"/>
                    </a:cubicBezTo>
                    <a:close/>
                  </a:path>
                </a:pathLst>
              </a:custGeom>
              <a:solidFill>
                <a:srgbClr val="016D9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9" name="Freeform 87">
                <a:extLst>
                  <a:ext uri="{FF2B5EF4-FFF2-40B4-BE49-F238E27FC236}">
                    <a16:creationId xmlns:a16="http://schemas.microsoft.com/office/drawing/2014/main" id="{7CD7B623-FB44-4E3F-B076-16BD4F4C982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38215" y="1597025"/>
                <a:ext cx="47625" cy="46038"/>
              </a:xfrm>
              <a:custGeom>
                <a:avLst/>
                <a:gdLst>
                  <a:gd name="T0" fmla="*/ 34 w 45"/>
                  <a:gd name="T1" fmla="*/ 6 h 44"/>
                  <a:gd name="T2" fmla="*/ 7 w 45"/>
                  <a:gd name="T3" fmla="*/ 10 h 44"/>
                  <a:gd name="T4" fmla="*/ 11 w 45"/>
                  <a:gd name="T5" fmla="*/ 38 h 44"/>
                  <a:gd name="T6" fmla="*/ 38 w 45"/>
                  <a:gd name="T7" fmla="*/ 34 h 44"/>
                  <a:gd name="T8" fmla="*/ 34 w 45"/>
                  <a:gd name="T9" fmla="*/ 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" h="44">
                    <a:moveTo>
                      <a:pt x="34" y="6"/>
                    </a:moveTo>
                    <a:cubicBezTo>
                      <a:pt x="25" y="0"/>
                      <a:pt x="13" y="1"/>
                      <a:pt x="7" y="10"/>
                    </a:cubicBezTo>
                    <a:cubicBezTo>
                      <a:pt x="0" y="19"/>
                      <a:pt x="2" y="31"/>
                      <a:pt x="11" y="38"/>
                    </a:cubicBezTo>
                    <a:cubicBezTo>
                      <a:pt x="19" y="44"/>
                      <a:pt x="32" y="42"/>
                      <a:pt x="38" y="34"/>
                    </a:cubicBezTo>
                    <a:cubicBezTo>
                      <a:pt x="45" y="25"/>
                      <a:pt x="43" y="12"/>
                      <a:pt x="34" y="6"/>
                    </a:cubicBezTo>
                    <a:close/>
                  </a:path>
                </a:pathLst>
              </a:custGeom>
              <a:solidFill>
                <a:srgbClr val="016D9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0" name="Freeform 88">
                <a:extLst>
                  <a:ext uri="{FF2B5EF4-FFF2-40B4-BE49-F238E27FC236}">
                    <a16:creationId xmlns:a16="http://schemas.microsoft.com/office/drawing/2014/main" id="{769E27C4-9116-46F6-B706-F6E22F4D4AD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23902" y="1498600"/>
                <a:ext cx="349250" cy="425450"/>
              </a:xfrm>
              <a:custGeom>
                <a:avLst/>
                <a:gdLst>
                  <a:gd name="T0" fmla="*/ 10 w 335"/>
                  <a:gd name="T1" fmla="*/ 216 h 408"/>
                  <a:gd name="T2" fmla="*/ 114 w 335"/>
                  <a:gd name="T3" fmla="*/ 310 h 408"/>
                  <a:gd name="T4" fmla="*/ 265 w 335"/>
                  <a:gd name="T5" fmla="*/ 296 h 408"/>
                  <a:gd name="T6" fmla="*/ 158 w 335"/>
                  <a:gd name="T7" fmla="*/ 150 h 408"/>
                  <a:gd name="T8" fmla="*/ 139 w 335"/>
                  <a:gd name="T9" fmla="*/ 157 h 408"/>
                  <a:gd name="T10" fmla="*/ 122 w 335"/>
                  <a:gd name="T11" fmla="*/ 143 h 408"/>
                  <a:gd name="T12" fmla="*/ 107 w 335"/>
                  <a:gd name="T13" fmla="*/ 144 h 408"/>
                  <a:gd name="T14" fmla="*/ 95 w 335"/>
                  <a:gd name="T15" fmla="*/ 129 h 408"/>
                  <a:gd name="T16" fmla="*/ 102 w 335"/>
                  <a:gd name="T17" fmla="*/ 105 h 408"/>
                  <a:gd name="T18" fmla="*/ 98 w 335"/>
                  <a:gd name="T19" fmla="*/ 91 h 408"/>
                  <a:gd name="T20" fmla="*/ 108 w 335"/>
                  <a:gd name="T21" fmla="*/ 78 h 408"/>
                  <a:gd name="T22" fmla="*/ 123 w 335"/>
                  <a:gd name="T23" fmla="*/ 79 h 408"/>
                  <a:gd name="T24" fmla="*/ 143 w 335"/>
                  <a:gd name="T25" fmla="*/ 66 h 408"/>
                  <a:gd name="T26" fmla="*/ 159 w 335"/>
                  <a:gd name="T27" fmla="*/ 73 h 408"/>
                  <a:gd name="T28" fmla="*/ 163 w 335"/>
                  <a:gd name="T29" fmla="*/ 87 h 408"/>
                  <a:gd name="T30" fmla="*/ 181 w 335"/>
                  <a:gd name="T31" fmla="*/ 101 h 408"/>
                  <a:gd name="T32" fmla="*/ 180 w 335"/>
                  <a:gd name="T33" fmla="*/ 122 h 408"/>
                  <a:gd name="T34" fmla="*/ 167 w 335"/>
                  <a:gd name="T35" fmla="*/ 130 h 408"/>
                  <a:gd name="T36" fmla="*/ 166 w 335"/>
                  <a:gd name="T37" fmla="*/ 146 h 408"/>
                  <a:gd name="T38" fmla="*/ 243 w 335"/>
                  <a:gd name="T39" fmla="*/ 203 h 408"/>
                  <a:gd name="T40" fmla="*/ 248 w 335"/>
                  <a:gd name="T41" fmla="*/ 227 h 408"/>
                  <a:gd name="T42" fmla="*/ 233 w 335"/>
                  <a:gd name="T43" fmla="*/ 232 h 408"/>
                  <a:gd name="T44" fmla="*/ 228 w 335"/>
                  <a:gd name="T45" fmla="*/ 246 h 408"/>
                  <a:gd name="T46" fmla="*/ 210 w 335"/>
                  <a:gd name="T47" fmla="*/ 252 h 408"/>
                  <a:gd name="T48" fmla="*/ 193 w 335"/>
                  <a:gd name="T49" fmla="*/ 239 h 408"/>
                  <a:gd name="T50" fmla="*/ 178 w 335"/>
                  <a:gd name="T51" fmla="*/ 239 h 408"/>
                  <a:gd name="T52" fmla="*/ 166 w 335"/>
                  <a:gd name="T53" fmla="*/ 224 h 408"/>
                  <a:gd name="T54" fmla="*/ 173 w 335"/>
                  <a:gd name="T55" fmla="*/ 201 h 408"/>
                  <a:gd name="T56" fmla="*/ 169 w 335"/>
                  <a:gd name="T57" fmla="*/ 187 h 408"/>
                  <a:gd name="T58" fmla="*/ 179 w 335"/>
                  <a:gd name="T59" fmla="*/ 174 h 408"/>
                  <a:gd name="T60" fmla="*/ 194 w 335"/>
                  <a:gd name="T61" fmla="*/ 174 h 408"/>
                  <a:gd name="T62" fmla="*/ 214 w 335"/>
                  <a:gd name="T63" fmla="*/ 162 h 408"/>
                  <a:gd name="T64" fmla="*/ 230 w 335"/>
                  <a:gd name="T65" fmla="*/ 169 h 408"/>
                  <a:gd name="T66" fmla="*/ 234 w 335"/>
                  <a:gd name="T67" fmla="*/ 183 h 408"/>
                  <a:gd name="T68" fmla="*/ 252 w 335"/>
                  <a:gd name="T69" fmla="*/ 197 h 408"/>
                  <a:gd name="T70" fmla="*/ 269 w 335"/>
                  <a:gd name="T71" fmla="*/ 128 h 408"/>
                  <a:gd name="T72" fmla="*/ 267 w 335"/>
                  <a:gd name="T73" fmla="*/ 150 h 408"/>
                  <a:gd name="T74" fmla="*/ 253 w 335"/>
                  <a:gd name="T75" fmla="*/ 160 h 408"/>
                  <a:gd name="T76" fmla="*/ 239 w 335"/>
                  <a:gd name="T77" fmla="*/ 157 h 408"/>
                  <a:gd name="T78" fmla="*/ 219 w 335"/>
                  <a:gd name="T79" fmla="*/ 167 h 408"/>
                  <a:gd name="T80" fmla="*/ 203 w 335"/>
                  <a:gd name="T81" fmla="*/ 159 h 408"/>
                  <a:gd name="T82" fmla="*/ 199 w 335"/>
                  <a:gd name="T83" fmla="*/ 146 h 408"/>
                  <a:gd name="T84" fmla="*/ 181 w 335"/>
                  <a:gd name="T85" fmla="*/ 133 h 408"/>
                  <a:gd name="T86" fmla="*/ 179 w 335"/>
                  <a:gd name="T87" fmla="*/ 116 h 408"/>
                  <a:gd name="T88" fmla="*/ 188 w 335"/>
                  <a:gd name="T89" fmla="*/ 106 h 408"/>
                  <a:gd name="T90" fmla="*/ 190 w 335"/>
                  <a:gd name="T91" fmla="*/ 84 h 408"/>
                  <a:gd name="T92" fmla="*/ 204 w 335"/>
                  <a:gd name="T93" fmla="*/ 74 h 408"/>
                  <a:gd name="T94" fmla="*/ 218 w 335"/>
                  <a:gd name="T95" fmla="*/ 76 h 408"/>
                  <a:gd name="T96" fmla="*/ 238 w 335"/>
                  <a:gd name="T97" fmla="*/ 67 h 408"/>
                  <a:gd name="T98" fmla="*/ 254 w 335"/>
                  <a:gd name="T99" fmla="*/ 74 h 408"/>
                  <a:gd name="T100" fmla="*/ 258 w 335"/>
                  <a:gd name="T101" fmla="*/ 88 h 408"/>
                  <a:gd name="T102" fmla="*/ 276 w 335"/>
                  <a:gd name="T103" fmla="*/ 100 h 408"/>
                  <a:gd name="T104" fmla="*/ 278 w 335"/>
                  <a:gd name="T105" fmla="*/ 117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5" h="408">
                    <a:moveTo>
                      <a:pt x="187" y="0"/>
                    </a:moveTo>
                    <a:cubicBezTo>
                      <a:pt x="108" y="0"/>
                      <a:pt x="43" y="61"/>
                      <a:pt x="38" y="139"/>
                    </a:cubicBezTo>
                    <a:cubicBezTo>
                      <a:pt x="5" y="195"/>
                      <a:pt x="5" y="195"/>
                      <a:pt x="5" y="195"/>
                    </a:cubicBezTo>
                    <a:cubicBezTo>
                      <a:pt x="0" y="202"/>
                      <a:pt x="3" y="211"/>
                      <a:pt x="10" y="216"/>
                    </a:cubicBezTo>
                    <a:cubicBezTo>
                      <a:pt x="38" y="232"/>
                      <a:pt x="38" y="232"/>
                      <a:pt x="38" y="232"/>
                    </a:cubicBezTo>
                    <a:cubicBezTo>
                      <a:pt x="38" y="296"/>
                      <a:pt x="38" y="296"/>
                      <a:pt x="38" y="296"/>
                    </a:cubicBezTo>
                    <a:cubicBezTo>
                      <a:pt x="38" y="304"/>
                      <a:pt x="44" y="310"/>
                      <a:pt x="52" y="310"/>
                    </a:cubicBezTo>
                    <a:cubicBezTo>
                      <a:pt x="114" y="310"/>
                      <a:pt x="114" y="310"/>
                      <a:pt x="114" y="310"/>
                    </a:cubicBezTo>
                    <a:cubicBezTo>
                      <a:pt x="114" y="393"/>
                      <a:pt x="114" y="393"/>
                      <a:pt x="114" y="393"/>
                    </a:cubicBezTo>
                    <a:cubicBezTo>
                      <a:pt x="114" y="401"/>
                      <a:pt x="119" y="407"/>
                      <a:pt x="128" y="408"/>
                    </a:cubicBezTo>
                    <a:cubicBezTo>
                      <a:pt x="265" y="352"/>
                      <a:pt x="265" y="352"/>
                      <a:pt x="265" y="352"/>
                    </a:cubicBezTo>
                    <a:cubicBezTo>
                      <a:pt x="265" y="296"/>
                      <a:pt x="265" y="296"/>
                      <a:pt x="265" y="296"/>
                    </a:cubicBezTo>
                    <a:cubicBezTo>
                      <a:pt x="265" y="276"/>
                      <a:pt x="265" y="276"/>
                      <a:pt x="265" y="276"/>
                    </a:cubicBezTo>
                    <a:cubicBezTo>
                      <a:pt x="307" y="250"/>
                      <a:pt x="335" y="203"/>
                      <a:pt x="335" y="148"/>
                    </a:cubicBezTo>
                    <a:cubicBezTo>
                      <a:pt x="335" y="67"/>
                      <a:pt x="269" y="0"/>
                      <a:pt x="187" y="0"/>
                    </a:cubicBezTo>
                    <a:close/>
                    <a:moveTo>
                      <a:pt x="158" y="150"/>
                    </a:moveTo>
                    <a:cubicBezTo>
                      <a:pt x="151" y="144"/>
                      <a:pt x="151" y="144"/>
                      <a:pt x="151" y="144"/>
                    </a:cubicBezTo>
                    <a:cubicBezTo>
                      <a:pt x="148" y="145"/>
                      <a:pt x="145" y="146"/>
                      <a:pt x="142" y="146"/>
                    </a:cubicBezTo>
                    <a:cubicBezTo>
                      <a:pt x="140" y="155"/>
                      <a:pt x="140" y="155"/>
                      <a:pt x="140" y="155"/>
                    </a:cubicBezTo>
                    <a:cubicBezTo>
                      <a:pt x="140" y="156"/>
                      <a:pt x="140" y="157"/>
                      <a:pt x="139" y="157"/>
                    </a:cubicBezTo>
                    <a:cubicBezTo>
                      <a:pt x="131" y="156"/>
                      <a:pt x="131" y="156"/>
                      <a:pt x="131" y="156"/>
                    </a:cubicBezTo>
                    <a:cubicBezTo>
                      <a:pt x="131" y="156"/>
                      <a:pt x="130" y="156"/>
                      <a:pt x="130" y="155"/>
                    </a:cubicBezTo>
                    <a:cubicBezTo>
                      <a:pt x="129" y="146"/>
                      <a:pt x="129" y="146"/>
                      <a:pt x="129" y="146"/>
                    </a:cubicBezTo>
                    <a:cubicBezTo>
                      <a:pt x="126" y="145"/>
                      <a:pt x="124" y="145"/>
                      <a:pt x="122" y="143"/>
                    </a:cubicBezTo>
                    <a:cubicBezTo>
                      <a:pt x="115" y="149"/>
                      <a:pt x="115" y="149"/>
                      <a:pt x="115" y="149"/>
                    </a:cubicBezTo>
                    <a:cubicBezTo>
                      <a:pt x="115" y="150"/>
                      <a:pt x="114" y="150"/>
                      <a:pt x="113" y="150"/>
                    </a:cubicBezTo>
                    <a:cubicBezTo>
                      <a:pt x="107" y="145"/>
                      <a:pt x="107" y="145"/>
                      <a:pt x="107" y="145"/>
                    </a:cubicBezTo>
                    <a:cubicBezTo>
                      <a:pt x="107" y="145"/>
                      <a:pt x="107" y="144"/>
                      <a:pt x="107" y="144"/>
                    </a:cubicBezTo>
                    <a:cubicBezTo>
                      <a:pt x="111" y="135"/>
                      <a:pt x="111" y="135"/>
                      <a:pt x="111" y="135"/>
                    </a:cubicBezTo>
                    <a:cubicBezTo>
                      <a:pt x="109" y="133"/>
                      <a:pt x="107" y="131"/>
                      <a:pt x="106" y="128"/>
                    </a:cubicBezTo>
                    <a:cubicBezTo>
                      <a:pt x="97" y="129"/>
                      <a:pt x="97" y="129"/>
                      <a:pt x="97" y="129"/>
                    </a:cubicBezTo>
                    <a:cubicBezTo>
                      <a:pt x="96" y="129"/>
                      <a:pt x="95" y="129"/>
                      <a:pt x="95" y="129"/>
                    </a:cubicBezTo>
                    <a:cubicBezTo>
                      <a:pt x="93" y="121"/>
                      <a:pt x="93" y="121"/>
                      <a:pt x="93" y="121"/>
                    </a:cubicBezTo>
                    <a:cubicBezTo>
                      <a:pt x="93" y="121"/>
                      <a:pt x="93" y="120"/>
                      <a:pt x="94" y="120"/>
                    </a:cubicBezTo>
                    <a:cubicBezTo>
                      <a:pt x="102" y="115"/>
                      <a:pt x="102" y="115"/>
                      <a:pt x="102" y="115"/>
                    </a:cubicBezTo>
                    <a:cubicBezTo>
                      <a:pt x="101" y="112"/>
                      <a:pt x="101" y="109"/>
                      <a:pt x="102" y="105"/>
                    </a:cubicBezTo>
                    <a:cubicBezTo>
                      <a:pt x="94" y="100"/>
                      <a:pt x="94" y="100"/>
                      <a:pt x="94" y="100"/>
                    </a:cubicBezTo>
                    <a:cubicBezTo>
                      <a:pt x="94" y="100"/>
                      <a:pt x="93" y="99"/>
                      <a:pt x="94" y="99"/>
                    </a:cubicBezTo>
                    <a:cubicBezTo>
                      <a:pt x="96" y="91"/>
                      <a:pt x="96" y="91"/>
                      <a:pt x="96" y="91"/>
                    </a:cubicBezTo>
                    <a:cubicBezTo>
                      <a:pt x="97" y="91"/>
                      <a:pt x="97" y="91"/>
                      <a:pt x="98" y="91"/>
                    </a:cubicBezTo>
                    <a:cubicBezTo>
                      <a:pt x="107" y="92"/>
                      <a:pt x="107" y="92"/>
                      <a:pt x="107" y="92"/>
                    </a:cubicBezTo>
                    <a:cubicBezTo>
                      <a:pt x="107" y="92"/>
                      <a:pt x="108" y="91"/>
                      <a:pt x="108" y="90"/>
                    </a:cubicBezTo>
                    <a:cubicBezTo>
                      <a:pt x="109" y="89"/>
                      <a:pt x="111" y="88"/>
                      <a:pt x="112" y="86"/>
                    </a:cubicBezTo>
                    <a:cubicBezTo>
                      <a:pt x="108" y="78"/>
                      <a:pt x="108" y="78"/>
                      <a:pt x="108" y="78"/>
                    </a:cubicBezTo>
                    <a:cubicBezTo>
                      <a:pt x="108" y="77"/>
                      <a:pt x="108" y="77"/>
                      <a:pt x="109" y="76"/>
                    </a:cubicBezTo>
                    <a:cubicBezTo>
                      <a:pt x="115" y="72"/>
                      <a:pt x="115" y="72"/>
                      <a:pt x="115" y="72"/>
                    </a:cubicBezTo>
                    <a:cubicBezTo>
                      <a:pt x="115" y="72"/>
                      <a:pt x="116" y="72"/>
                      <a:pt x="117" y="72"/>
                    </a:cubicBezTo>
                    <a:cubicBezTo>
                      <a:pt x="123" y="79"/>
                      <a:pt x="123" y="79"/>
                      <a:pt x="123" y="79"/>
                    </a:cubicBezTo>
                    <a:cubicBezTo>
                      <a:pt x="126" y="77"/>
                      <a:pt x="129" y="77"/>
                      <a:pt x="132" y="76"/>
                    </a:cubicBezTo>
                    <a:cubicBezTo>
                      <a:pt x="134" y="67"/>
                      <a:pt x="134" y="67"/>
                      <a:pt x="134" y="67"/>
                    </a:cubicBezTo>
                    <a:cubicBezTo>
                      <a:pt x="134" y="67"/>
                      <a:pt x="135" y="66"/>
                      <a:pt x="135" y="66"/>
                    </a:cubicBezTo>
                    <a:cubicBezTo>
                      <a:pt x="143" y="66"/>
                      <a:pt x="143" y="66"/>
                      <a:pt x="143" y="66"/>
                    </a:cubicBezTo>
                    <a:cubicBezTo>
                      <a:pt x="144" y="67"/>
                      <a:pt x="144" y="67"/>
                      <a:pt x="144" y="68"/>
                    </a:cubicBezTo>
                    <a:cubicBezTo>
                      <a:pt x="145" y="77"/>
                      <a:pt x="145" y="77"/>
                      <a:pt x="145" y="77"/>
                    </a:cubicBezTo>
                    <a:cubicBezTo>
                      <a:pt x="148" y="77"/>
                      <a:pt x="150" y="78"/>
                      <a:pt x="152" y="79"/>
                    </a:cubicBezTo>
                    <a:cubicBezTo>
                      <a:pt x="159" y="73"/>
                      <a:pt x="159" y="73"/>
                      <a:pt x="159" y="73"/>
                    </a:cubicBezTo>
                    <a:cubicBezTo>
                      <a:pt x="160" y="73"/>
                      <a:pt x="160" y="72"/>
                      <a:pt x="161" y="73"/>
                    </a:cubicBezTo>
                    <a:cubicBezTo>
                      <a:pt x="167" y="77"/>
                      <a:pt x="167" y="77"/>
                      <a:pt x="167" y="77"/>
                    </a:cubicBezTo>
                    <a:cubicBezTo>
                      <a:pt x="167" y="78"/>
                      <a:pt x="168" y="78"/>
                      <a:pt x="167" y="79"/>
                    </a:cubicBezTo>
                    <a:cubicBezTo>
                      <a:pt x="163" y="87"/>
                      <a:pt x="163" y="87"/>
                      <a:pt x="163" y="87"/>
                    </a:cubicBezTo>
                    <a:cubicBezTo>
                      <a:pt x="165" y="89"/>
                      <a:pt x="167" y="92"/>
                      <a:pt x="168" y="94"/>
                    </a:cubicBezTo>
                    <a:cubicBezTo>
                      <a:pt x="177" y="93"/>
                      <a:pt x="177" y="93"/>
                      <a:pt x="177" y="93"/>
                    </a:cubicBezTo>
                    <a:cubicBezTo>
                      <a:pt x="178" y="93"/>
                      <a:pt x="179" y="93"/>
                      <a:pt x="179" y="94"/>
                    </a:cubicBezTo>
                    <a:cubicBezTo>
                      <a:pt x="181" y="101"/>
                      <a:pt x="181" y="101"/>
                      <a:pt x="181" y="101"/>
                    </a:cubicBezTo>
                    <a:cubicBezTo>
                      <a:pt x="181" y="102"/>
                      <a:pt x="181" y="103"/>
                      <a:pt x="180" y="103"/>
                    </a:cubicBezTo>
                    <a:cubicBezTo>
                      <a:pt x="172" y="107"/>
                      <a:pt x="172" y="107"/>
                      <a:pt x="172" y="107"/>
                    </a:cubicBezTo>
                    <a:cubicBezTo>
                      <a:pt x="173" y="111"/>
                      <a:pt x="173" y="114"/>
                      <a:pt x="172" y="117"/>
                    </a:cubicBezTo>
                    <a:cubicBezTo>
                      <a:pt x="180" y="122"/>
                      <a:pt x="180" y="122"/>
                      <a:pt x="180" y="122"/>
                    </a:cubicBezTo>
                    <a:cubicBezTo>
                      <a:pt x="180" y="123"/>
                      <a:pt x="181" y="123"/>
                      <a:pt x="181" y="124"/>
                    </a:cubicBezTo>
                    <a:cubicBezTo>
                      <a:pt x="178" y="131"/>
                      <a:pt x="178" y="131"/>
                      <a:pt x="178" y="131"/>
                    </a:cubicBezTo>
                    <a:cubicBezTo>
                      <a:pt x="177" y="132"/>
                      <a:pt x="177" y="132"/>
                      <a:pt x="176" y="132"/>
                    </a:cubicBezTo>
                    <a:cubicBezTo>
                      <a:pt x="167" y="130"/>
                      <a:pt x="167" y="130"/>
                      <a:pt x="167" y="130"/>
                    </a:cubicBezTo>
                    <a:cubicBezTo>
                      <a:pt x="167" y="131"/>
                      <a:pt x="166" y="132"/>
                      <a:pt x="166" y="132"/>
                    </a:cubicBezTo>
                    <a:cubicBezTo>
                      <a:pt x="165" y="134"/>
                      <a:pt x="164" y="135"/>
                      <a:pt x="162" y="136"/>
                    </a:cubicBezTo>
                    <a:cubicBezTo>
                      <a:pt x="166" y="145"/>
                      <a:pt x="166" y="145"/>
                      <a:pt x="166" y="145"/>
                    </a:cubicBezTo>
                    <a:cubicBezTo>
                      <a:pt x="166" y="145"/>
                      <a:pt x="166" y="146"/>
                      <a:pt x="166" y="146"/>
                    </a:cubicBezTo>
                    <a:cubicBezTo>
                      <a:pt x="159" y="151"/>
                      <a:pt x="159" y="151"/>
                      <a:pt x="159" y="151"/>
                    </a:cubicBezTo>
                    <a:cubicBezTo>
                      <a:pt x="159" y="151"/>
                      <a:pt x="158" y="151"/>
                      <a:pt x="158" y="150"/>
                    </a:cubicBezTo>
                    <a:close/>
                    <a:moveTo>
                      <a:pt x="251" y="199"/>
                    </a:moveTo>
                    <a:cubicBezTo>
                      <a:pt x="243" y="203"/>
                      <a:pt x="243" y="203"/>
                      <a:pt x="243" y="203"/>
                    </a:cubicBezTo>
                    <a:cubicBezTo>
                      <a:pt x="243" y="207"/>
                      <a:pt x="243" y="210"/>
                      <a:pt x="243" y="213"/>
                    </a:cubicBezTo>
                    <a:cubicBezTo>
                      <a:pt x="250" y="218"/>
                      <a:pt x="250" y="218"/>
                      <a:pt x="250" y="218"/>
                    </a:cubicBezTo>
                    <a:cubicBezTo>
                      <a:pt x="251" y="219"/>
                      <a:pt x="251" y="219"/>
                      <a:pt x="251" y="220"/>
                    </a:cubicBezTo>
                    <a:cubicBezTo>
                      <a:pt x="248" y="227"/>
                      <a:pt x="248" y="227"/>
                      <a:pt x="248" y="227"/>
                    </a:cubicBezTo>
                    <a:cubicBezTo>
                      <a:pt x="248" y="228"/>
                      <a:pt x="248" y="228"/>
                      <a:pt x="247" y="228"/>
                    </a:cubicBezTo>
                    <a:cubicBezTo>
                      <a:pt x="238" y="226"/>
                      <a:pt x="238" y="226"/>
                      <a:pt x="238" y="226"/>
                    </a:cubicBezTo>
                    <a:cubicBezTo>
                      <a:pt x="237" y="227"/>
                      <a:pt x="237" y="228"/>
                      <a:pt x="236" y="228"/>
                    </a:cubicBezTo>
                    <a:cubicBezTo>
                      <a:pt x="235" y="230"/>
                      <a:pt x="234" y="231"/>
                      <a:pt x="233" y="232"/>
                    </a:cubicBezTo>
                    <a:cubicBezTo>
                      <a:pt x="237" y="240"/>
                      <a:pt x="237" y="240"/>
                      <a:pt x="237" y="240"/>
                    </a:cubicBezTo>
                    <a:cubicBezTo>
                      <a:pt x="237" y="241"/>
                      <a:pt x="237" y="242"/>
                      <a:pt x="236" y="242"/>
                    </a:cubicBezTo>
                    <a:cubicBezTo>
                      <a:pt x="230" y="246"/>
                      <a:pt x="230" y="246"/>
                      <a:pt x="230" y="246"/>
                    </a:cubicBezTo>
                    <a:cubicBezTo>
                      <a:pt x="229" y="247"/>
                      <a:pt x="229" y="247"/>
                      <a:pt x="228" y="246"/>
                    </a:cubicBezTo>
                    <a:cubicBezTo>
                      <a:pt x="222" y="240"/>
                      <a:pt x="222" y="240"/>
                      <a:pt x="222" y="240"/>
                    </a:cubicBezTo>
                    <a:cubicBezTo>
                      <a:pt x="219" y="241"/>
                      <a:pt x="216" y="242"/>
                      <a:pt x="213" y="242"/>
                    </a:cubicBezTo>
                    <a:cubicBezTo>
                      <a:pt x="211" y="251"/>
                      <a:pt x="211" y="251"/>
                      <a:pt x="211" y="251"/>
                    </a:cubicBezTo>
                    <a:cubicBezTo>
                      <a:pt x="211" y="252"/>
                      <a:pt x="210" y="252"/>
                      <a:pt x="210" y="252"/>
                    </a:cubicBezTo>
                    <a:cubicBezTo>
                      <a:pt x="202" y="252"/>
                      <a:pt x="202" y="252"/>
                      <a:pt x="202" y="252"/>
                    </a:cubicBezTo>
                    <a:cubicBezTo>
                      <a:pt x="201" y="252"/>
                      <a:pt x="201" y="252"/>
                      <a:pt x="201" y="251"/>
                    </a:cubicBezTo>
                    <a:cubicBezTo>
                      <a:pt x="199" y="242"/>
                      <a:pt x="199" y="242"/>
                      <a:pt x="199" y="242"/>
                    </a:cubicBezTo>
                    <a:cubicBezTo>
                      <a:pt x="197" y="241"/>
                      <a:pt x="195" y="240"/>
                      <a:pt x="193" y="239"/>
                    </a:cubicBezTo>
                    <a:cubicBezTo>
                      <a:pt x="186" y="245"/>
                      <a:pt x="186" y="245"/>
                      <a:pt x="186" y="245"/>
                    </a:cubicBezTo>
                    <a:cubicBezTo>
                      <a:pt x="185" y="246"/>
                      <a:pt x="185" y="246"/>
                      <a:pt x="184" y="246"/>
                    </a:cubicBezTo>
                    <a:cubicBezTo>
                      <a:pt x="178" y="241"/>
                      <a:pt x="178" y="241"/>
                      <a:pt x="178" y="241"/>
                    </a:cubicBezTo>
                    <a:cubicBezTo>
                      <a:pt x="177" y="241"/>
                      <a:pt x="177" y="240"/>
                      <a:pt x="178" y="239"/>
                    </a:cubicBezTo>
                    <a:cubicBezTo>
                      <a:pt x="182" y="231"/>
                      <a:pt x="182" y="231"/>
                      <a:pt x="182" y="231"/>
                    </a:cubicBezTo>
                    <a:cubicBezTo>
                      <a:pt x="180" y="229"/>
                      <a:pt x="178" y="227"/>
                      <a:pt x="177" y="224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5"/>
                      <a:pt x="166" y="225"/>
                      <a:pt x="166" y="224"/>
                    </a:cubicBezTo>
                    <a:cubicBezTo>
                      <a:pt x="164" y="217"/>
                      <a:pt x="164" y="217"/>
                      <a:pt x="164" y="217"/>
                    </a:cubicBezTo>
                    <a:cubicBezTo>
                      <a:pt x="163" y="216"/>
                      <a:pt x="164" y="216"/>
                      <a:pt x="165" y="215"/>
                    </a:cubicBezTo>
                    <a:cubicBezTo>
                      <a:pt x="172" y="211"/>
                      <a:pt x="172" y="211"/>
                      <a:pt x="172" y="211"/>
                    </a:cubicBezTo>
                    <a:cubicBezTo>
                      <a:pt x="172" y="208"/>
                      <a:pt x="172" y="204"/>
                      <a:pt x="173" y="201"/>
                    </a:cubicBezTo>
                    <a:cubicBezTo>
                      <a:pt x="165" y="196"/>
                      <a:pt x="165" y="196"/>
                      <a:pt x="165" y="196"/>
                    </a:cubicBezTo>
                    <a:cubicBezTo>
                      <a:pt x="165" y="196"/>
                      <a:pt x="164" y="195"/>
                      <a:pt x="164" y="194"/>
                    </a:cubicBezTo>
                    <a:cubicBezTo>
                      <a:pt x="167" y="187"/>
                      <a:pt x="167" y="187"/>
                      <a:pt x="167" y="187"/>
                    </a:cubicBezTo>
                    <a:cubicBezTo>
                      <a:pt x="167" y="187"/>
                      <a:pt x="168" y="186"/>
                      <a:pt x="169" y="187"/>
                    </a:cubicBezTo>
                    <a:cubicBezTo>
                      <a:pt x="178" y="188"/>
                      <a:pt x="178" y="188"/>
                      <a:pt x="178" y="188"/>
                    </a:cubicBezTo>
                    <a:cubicBezTo>
                      <a:pt x="178" y="187"/>
                      <a:pt x="179" y="187"/>
                      <a:pt x="179" y="186"/>
                    </a:cubicBezTo>
                    <a:cubicBezTo>
                      <a:pt x="180" y="185"/>
                      <a:pt x="181" y="183"/>
                      <a:pt x="182" y="182"/>
                    </a:cubicBezTo>
                    <a:cubicBezTo>
                      <a:pt x="179" y="174"/>
                      <a:pt x="179" y="174"/>
                      <a:pt x="179" y="174"/>
                    </a:cubicBezTo>
                    <a:cubicBezTo>
                      <a:pt x="179" y="173"/>
                      <a:pt x="179" y="172"/>
                      <a:pt x="179" y="172"/>
                    </a:cubicBezTo>
                    <a:cubicBezTo>
                      <a:pt x="186" y="168"/>
                      <a:pt x="186" y="168"/>
                      <a:pt x="186" y="168"/>
                    </a:cubicBezTo>
                    <a:cubicBezTo>
                      <a:pt x="186" y="167"/>
                      <a:pt x="187" y="167"/>
                      <a:pt x="187" y="168"/>
                    </a:cubicBezTo>
                    <a:cubicBezTo>
                      <a:pt x="194" y="174"/>
                      <a:pt x="194" y="174"/>
                      <a:pt x="194" y="174"/>
                    </a:cubicBezTo>
                    <a:cubicBezTo>
                      <a:pt x="197" y="173"/>
                      <a:pt x="200" y="172"/>
                      <a:pt x="202" y="172"/>
                    </a:cubicBezTo>
                    <a:cubicBezTo>
                      <a:pt x="205" y="163"/>
                      <a:pt x="205" y="163"/>
                      <a:pt x="205" y="163"/>
                    </a:cubicBezTo>
                    <a:cubicBezTo>
                      <a:pt x="205" y="163"/>
                      <a:pt x="205" y="162"/>
                      <a:pt x="206" y="162"/>
                    </a:cubicBezTo>
                    <a:cubicBezTo>
                      <a:pt x="214" y="162"/>
                      <a:pt x="214" y="162"/>
                      <a:pt x="214" y="162"/>
                    </a:cubicBezTo>
                    <a:cubicBezTo>
                      <a:pt x="214" y="162"/>
                      <a:pt x="215" y="163"/>
                      <a:pt x="215" y="164"/>
                    </a:cubicBezTo>
                    <a:cubicBezTo>
                      <a:pt x="216" y="173"/>
                      <a:pt x="216" y="173"/>
                      <a:pt x="216" y="173"/>
                    </a:cubicBezTo>
                    <a:cubicBezTo>
                      <a:pt x="219" y="173"/>
                      <a:pt x="221" y="174"/>
                      <a:pt x="223" y="175"/>
                    </a:cubicBezTo>
                    <a:cubicBezTo>
                      <a:pt x="230" y="169"/>
                      <a:pt x="230" y="169"/>
                      <a:pt x="230" y="169"/>
                    </a:cubicBezTo>
                    <a:cubicBezTo>
                      <a:pt x="230" y="168"/>
                      <a:pt x="231" y="168"/>
                      <a:pt x="231" y="169"/>
                    </a:cubicBezTo>
                    <a:cubicBezTo>
                      <a:pt x="238" y="173"/>
                      <a:pt x="238" y="173"/>
                      <a:pt x="238" y="173"/>
                    </a:cubicBezTo>
                    <a:cubicBezTo>
                      <a:pt x="238" y="174"/>
                      <a:pt x="238" y="174"/>
                      <a:pt x="238" y="175"/>
                    </a:cubicBezTo>
                    <a:cubicBezTo>
                      <a:pt x="234" y="183"/>
                      <a:pt x="234" y="183"/>
                      <a:pt x="234" y="183"/>
                    </a:cubicBezTo>
                    <a:cubicBezTo>
                      <a:pt x="236" y="185"/>
                      <a:pt x="238" y="188"/>
                      <a:pt x="239" y="190"/>
                    </a:cubicBezTo>
                    <a:cubicBezTo>
                      <a:pt x="248" y="189"/>
                      <a:pt x="248" y="189"/>
                      <a:pt x="248" y="189"/>
                    </a:cubicBezTo>
                    <a:cubicBezTo>
                      <a:pt x="249" y="189"/>
                      <a:pt x="249" y="189"/>
                      <a:pt x="250" y="190"/>
                    </a:cubicBezTo>
                    <a:cubicBezTo>
                      <a:pt x="252" y="197"/>
                      <a:pt x="252" y="197"/>
                      <a:pt x="252" y="197"/>
                    </a:cubicBezTo>
                    <a:cubicBezTo>
                      <a:pt x="252" y="198"/>
                      <a:pt x="252" y="198"/>
                      <a:pt x="251" y="199"/>
                    </a:cubicBezTo>
                    <a:close/>
                    <a:moveTo>
                      <a:pt x="278" y="126"/>
                    </a:moveTo>
                    <a:cubicBezTo>
                      <a:pt x="278" y="127"/>
                      <a:pt x="278" y="127"/>
                      <a:pt x="277" y="127"/>
                    </a:cubicBezTo>
                    <a:cubicBezTo>
                      <a:pt x="269" y="128"/>
                      <a:pt x="269" y="128"/>
                      <a:pt x="269" y="128"/>
                    </a:cubicBezTo>
                    <a:cubicBezTo>
                      <a:pt x="268" y="131"/>
                      <a:pt x="267" y="133"/>
                      <a:pt x="266" y="136"/>
                    </a:cubicBezTo>
                    <a:cubicBezTo>
                      <a:pt x="271" y="142"/>
                      <a:pt x="271" y="142"/>
                      <a:pt x="271" y="142"/>
                    </a:cubicBezTo>
                    <a:cubicBezTo>
                      <a:pt x="271" y="143"/>
                      <a:pt x="272" y="143"/>
                      <a:pt x="271" y="144"/>
                    </a:cubicBezTo>
                    <a:cubicBezTo>
                      <a:pt x="267" y="150"/>
                      <a:pt x="267" y="150"/>
                      <a:pt x="267" y="150"/>
                    </a:cubicBezTo>
                    <a:cubicBezTo>
                      <a:pt x="266" y="150"/>
                      <a:pt x="266" y="151"/>
                      <a:pt x="265" y="150"/>
                    </a:cubicBezTo>
                    <a:cubicBezTo>
                      <a:pt x="258" y="147"/>
                      <a:pt x="258" y="147"/>
                      <a:pt x="258" y="147"/>
                    </a:cubicBezTo>
                    <a:cubicBezTo>
                      <a:pt x="256" y="149"/>
                      <a:pt x="253" y="150"/>
                      <a:pt x="251" y="152"/>
                    </a:cubicBezTo>
                    <a:cubicBezTo>
                      <a:pt x="253" y="160"/>
                      <a:pt x="253" y="160"/>
                      <a:pt x="253" y="160"/>
                    </a:cubicBezTo>
                    <a:cubicBezTo>
                      <a:pt x="253" y="161"/>
                      <a:pt x="253" y="161"/>
                      <a:pt x="252" y="162"/>
                    </a:cubicBezTo>
                    <a:cubicBezTo>
                      <a:pt x="245" y="165"/>
                      <a:pt x="245" y="165"/>
                      <a:pt x="245" y="165"/>
                    </a:cubicBezTo>
                    <a:cubicBezTo>
                      <a:pt x="244" y="165"/>
                      <a:pt x="244" y="164"/>
                      <a:pt x="243" y="164"/>
                    </a:cubicBezTo>
                    <a:cubicBezTo>
                      <a:pt x="239" y="157"/>
                      <a:pt x="239" y="157"/>
                      <a:pt x="239" y="157"/>
                    </a:cubicBezTo>
                    <a:cubicBezTo>
                      <a:pt x="236" y="158"/>
                      <a:pt x="233" y="158"/>
                      <a:pt x="230" y="158"/>
                    </a:cubicBezTo>
                    <a:cubicBezTo>
                      <a:pt x="228" y="166"/>
                      <a:pt x="228" y="166"/>
                      <a:pt x="228" y="166"/>
                    </a:cubicBezTo>
                    <a:cubicBezTo>
                      <a:pt x="228" y="167"/>
                      <a:pt x="227" y="167"/>
                      <a:pt x="227" y="167"/>
                    </a:cubicBezTo>
                    <a:cubicBezTo>
                      <a:pt x="219" y="167"/>
                      <a:pt x="219" y="167"/>
                      <a:pt x="219" y="167"/>
                    </a:cubicBezTo>
                    <a:cubicBezTo>
                      <a:pt x="218" y="166"/>
                      <a:pt x="218" y="166"/>
                      <a:pt x="218" y="165"/>
                    </a:cubicBezTo>
                    <a:cubicBezTo>
                      <a:pt x="217" y="157"/>
                      <a:pt x="217" y="157"/>
                      <a:pt x="217" y="157"/>
                    </a:cubicBezTo>
                    <a:cubicBezTo>
                      <a:pt x="215" y="156"/>
                      <a:pt x="212" y="155"/>
                      <a:pt x="209" y="154"/>
                    </a:cubicBezTo>
                    <a:cubicBezTo>
                      <a:pt x="203" y="159"/>
                      <a:pt x="203" y="159"/>
                      <a:pt x="203" y="159"/>
                    </a:cubicBezTo>
                    <a:cubicBezTo>
                      <a:pt x="203" y="160"/>
                      <a:pt x="202" y="160"/>
                      <a:pt x="202" y="160"/>
                    </a:cubicBezTo>
                    <a:cubicBezTo>
                      <a:pt x="195" y="155"/>
                      <a:pt x="195" y="155"/>
                      <a:pt x="195" y="155"/>
                    </a:cubicBezTo>
                    <a:cubicBezTo>
                      <a:pt x="195" y="155"/>
                      <a:pt x="195" y="154"/>
                      <a:pt x="195" y="153"/>
                    </a:cubicBezTo>
                    <a:cubicBezTo>
                      <a:pt x="199" y="146"/>
                      <a:pt x="199" y="146"/>
                      <a:pt x="199" y="146"/>
                    </a:cubicBezTo>
                    <a:cubicBezTo>
                      <a:pt x="197" y="144"/>
                      <a:pt x="195" y="142"/>
                      <a:pt x="193" y="139"/>
                    </a:cubicBezTo>
                    <a:cubicBezTo>
                      <a:pt x="185" y="141"/>
                      <a:pt x="185" y="141"/>
                      <a:pt x="185" y="141"/>
                    </a:cubicBezTo>
                    <a:cubicBezTo>
                      <a:pt x="185" y="141"/>
                      <a:pt x="184" y="141"/>
                      <a:pt x="184" y="141"/>
                    </a:cubicBezTo>
                    <a:cubicBezTo>
                      <a:pt x="181" y="133"/>
                      <a:pt x="181" y="133"/>
                      <a:pt x="181" y="133"/>
                    </a:cubicBezTo>
                    <a:cubicBezTo>
                      <a:pt x="180" y="133"/>
                      <a:pt x="181" y="132"/>
                      <a:pt x="181" y="132"/>
                    </a:cubicBezTo>
                    <a:cubicBezTo>
                      <a:pt x="188" y="127"/>
                      <a:pt x="188" y="127"/>
                      <a:pt x="188" y="127"/>
                    </a:cubicBezTo>
                    <a:cubicBezTo>
                      <a:pt x="187" y="124"/>
                      <a:pt x="187" y="122"/>
                      <a:pt x="187" y="119"/>
                    </a:cubicBezTo>
                    <a:cubicBezTo>
                      <a:pt x="179" y="116"/>
                      <a:pt x="179" y="116"/>
                      <a:pt x="179" y="116"/>
                    </a:cubicBezTo>
                    <a:cubicBezTo>
                      <a:pt x="178" y="116"/>
                      <a:pt x="178" y="116"/>
                      <a:pt x="178" y="115"/>
                    </a:cubicBezTo>
                    <a:cubicBezTo>
                      <a:pt x="179" y="107"/>
                      <a:pt x="179" y="107"/>
                      <a:pt x="179" y="107"/>
                    </a:cubicBezTo>
                    <a:cubicBezTo>
                      <a:pt x="179" y="107"/>
                      <a:pt x="179" y="106"/>
                      <a:pt x="180" y="106"/>
                    </a:cubicBezTo>
                    <a:cubicBezTo>
                      <a:pt x="188" y="106"/>
                      <a:pt x="188" y="106"/>
                      <a:pt x="188" y="106"/>
                    </a:cubicBezTo>
                    <a:cubicBezTo>
                      <a:pt x="189" y="103"/>
                      <a:pt x="190" y="100"/>
                      <a:pt x="191" y="98"/>
                    </a:cubicBezTo>
                    <a:cubicBezTo>
                      <a:pt x="186" y="92"/>
                      <a:pt x="186" y="92"/>
                      <a:pt x="186" y="92"/>
                    </a:cubicBezTo>
                    <a:cubicBezTo>
                      <a:pt x="186" y="91"/>
                      <a:pt x="185" y="91"/>
                      <a:pt x="186" y="90"/>
                    </a:cubicBezTo>
                    <a:cubicBezTo>
                      <a:pt x="190" y="84"/>
                      <a:pt x="190" y="84"/>
                      <a:pt x="190" y="84"/>
                    </a:cubicBezTo>
                    <a:cubicBezTo>
                      <a:pt x="191" y="83"/>
                      <a:pt x="191" y="83"/>
                      <a:pt x="192" y="84"/>
                    </a:cubicBezTo>
                    <a:cubicBezTo>
                      <a:pt x="199" y="87"/>
                      <a:pt x="199" y="87"/>
                      <a:pt x="199" y="87"/>
                    </a:cubicBezTo>
                    <a:cubicBezTo>
                      <a:pt x="201" y="85"/>
                      <a:pt x="204" y="83"/>
                      <a:pt x="206" y="82"/>
                    </a:cubicBezTo>
                    <a:cubicBezTo>
                      <a:pt x="204" y="74"/>
                      <a:pt x="204" y="74"/>
                      <a:pt x="204" y="74"/>
                    </a:cubicBezTo>
                    <a:cubicBezTo>
                      <a:pt x="204" y="73"/>
                      <a:pt x="204" y="72"/>
                      <a:pt x="205" y="72"/>
                    </a:cubicBezTo>
                    <a:cubicBezTo>
                      <a:pt x="212" y="69"/>
                      <a:pt x="212" y="69"/>
                      <a:pt x="212" y="69"/>
                    </a:cubicBezTo>
                    <a:cubicBezTo>
                      <a:pt x="212" y="69"/>
                      <a:pt x="213" y="69"/>
                      <a:pt x="213" y="70"/>
                    </a:cubicBezTo>
                    <a:cubicBezTo>
                      <a:pt x="218" y="76"/>
                      <a:pt x="218" y="76"/>
                      <a:pt x="218" y="76"/>
                    </a:cubicBezTo>
                    <a:cubicBezTo>
                      <a:pt x="221" y="76"/>
                      <a:pt x="224" y="75"/>
                      <a:pt x="226" y="75"/>
                    </a:cubicBezTo>
                    <a:cubicBezTo>
                      <a:pt x="229" y="67"/>
                      <a:pt x="229" y="67"/>
                      <a:pt x="229" y="67"/>
                    </a:cubicBezTo>
                    <a:cubicBezTo>
                      <a:pt x="229" y="67"/>
                      <a:pt x="230" y="66"/>
                      <a:pt x="230" y="66"/>
                    </a:cubicBezTo>
                    <a:cubicBezTo>
                      <a:pt x="238" y="67"/>
                      <a:pt x="238" y="67"/>
                      <a:pt x="238" y="67"/>
                    </a:cubicBezTo>
                    <a:cubicBezTo>
                      <a:pt x="239" y="67"/>
                      <a:pt x="239" y="68"/>
                      <a:pt x="239" y="69"/>
                    </a:cubicBezTo>
                    <a:cubicBezTo>
                      <a:pt x="240" y="77"/>
                      <a:pt x="240" y="77"/>
                      <a:pt x="240" y="77"/>
                    </a:cubicBezTo>
                    <a:cubicBezTo>
                      <a:pt x="242" y="77"/>
                      <a:pt x="245" y="79"/>
                      <a:pt x="248" y="80"/>
                    </a:cubicBezTo>
                    <a:cubicBezTo>
                      <a:pt x="254" y="74"/>
                      <a:pt x="254" y="74"/>
                      <a:pt x="254" y="74"/>
                    </a:cubicBezTo>
                    <a:cubicBezTo>
                      <a:pt x="254" y="74"/>
                      <a:pt x="255" y="74"/>
                      <a:pt x="255" y="74"/>
                    </a:cubicBezTo>
                    <a:cubicBezTo>
                      <a:pt x="262" y="79"/>
                      <a:pt x="262" y="79"/>
                      <a:pt x="262" y="79"/>
                    </a:cubicBezTo>
                    <a:cubicBezTo>
                      <a:pt x="262" y="79"/>
                      <a:pt x="262" y="79"/>
                      <a:pt x="262" y="80"/>
                    </a:cubicBezTo>
                    <a:cubicBezTo>
                      <a:pt x="258" y="88"/>
                      <a:pt x="258" y="88"/>
                      <a:pt x="258" y="88"/>
                    </a:cubicBezTo>
                    <a:cubicBezTo>
                      <a:pt x="260" y="90"/>
                      <a:pt x="262" y="92"/>
                      <a:pt x="263" y="94"/>
                    </a:cubicBezTo>
                    <a:cubicBezTo>
                      <a:pt x="271" y="93"/>
                      <a:pt x="271" y="93"/>
                      <a:pt x="271" y="93"/>
                    </a:cubicBezTo>
                    <a:cubicBezTo>
                      <a:pt x="272" y="93"/>
                      <a:pt x="273" y="93"/>
                      <a:pt x="273" y="93"/>
                    </a:cubicBezTo>
                    <a:cubicBezTo>
                      <a:pt x="276" y="100"/>
                      <a:pt x="276" y="100"/>
                      <a:pt x="276" y="100"/>
                    </a:cubicBezTo>
                    <a:cubicBezTo>
                      <a:pt x="277" y="101"/>
                      <a:pt x="276" y="101"/>
                      <a:pt x="276" y="102"/>
                    </a:cubicBezTo>
                    <a:cubicBezTo>
                      <a:pt x="269" y="107"/>
                      <a:pt x="269" y="107"/>
                      <a:pt x="269" y="107"/>
                    </a:cubicBezTo>
                    <a:cubicBezTo>
                      <a:pt x="270" y="109"/>
                      <a:pt x="270" y="112"/>
                      <a:pt x="270" y="115"/>
                    </a:cubicBezTo>
                    <a:cubicBezTo>
                      <a:pt x="278" y="117"/>
                      <a:pt x="278" y="117"/>
                      <a:pt x="278" y="117"/>
                    </a:cubicBezTo>
                    <a:cubicBezTo>
                      <a:pt x="278" y="118"/>
                      <a:pt x="279" y="118"/>
                      <a:pt x="279" y="119"/>
                    </a:cubicBezTo>
                    <a:lnTo>
                      <a:pt x="278" y="126"/>
                    </a:lnTo>
                    <a:close/>
                  </a:path>
                </a:pathLst>
              </a:custGeom>
              <a:solidFill>
                <a:srgbClr val="016D9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54" name="Freeform 80">
              <a:extLst>
                <a:ext uri="{FF2B5EF4-FFF2-40B4-BE49-F238E27FC236}">
                  <a16:creationId xmlns:a16="http://schemas.microsoft.com/office/drawing/2014/main" id="{37556DEA-62DD-424C-9EAB-0963F3132EAD}"/>
                </a:ext>
              </a:extLst>
            </p:cNvPr>
            <p:cNvSpPr>
              <a:spLocks/>
            </p:cNvSpPr>
            <p:nvPr/>
          </p:nvSpPr>
          <p:spPr bwMode="gray">
            <a:xfrm>
              <a:off x="1389063" y="1543050"/>
              <a:ext cx="41275" cy="42863"/>
            </a:xfrm>
            <a:custGeom>
              <a:avLst/>
              <a:gdLst>
                <a:gd name="T0" fmla="*/ 36 w 40"/>
                <a:gd name="T1" fmla="*/ 0 h 41"/>
                <a:gd name="T2" fmla="*/ 36 w 40"/>
                <a:gd name="T3" fmla="*/ 0 h 41"/>
                <a:gd name="T4" fmla="*/ 36 w 40"/>
                <a:gd name="T5" fmla="*/ 0 h 41"/>
                <a:gd name="T6" fmla="*/ 35 w 40"/>
                <a:gd name="T7" fmla="*/ 0 h 41"/>
                <a:gd name="T8" fmla="*/ 35 w 40"/>
                <a:gd name="T9" fmla="*/ 0 h 41"/>
                <a:gd name="T10" fmla="*/ 0 w 40"/>
                <a:gd name="T11" fmla="*/ 36 h 41"/>
                <a:gd name="T12" fmla="*/ 0 w 40"/>
                <a:gd name="T13" fmla="*/ 36 h 41"/>
                <a:gd name="T14" fmla="*/ 0 w 40"/>
                <a:gd name="T15" fmla="*/ 37 h 41"/>
                <a:gd name="T16" fmla="*/ 4 w 40"/>
                <a:gd name="T17" fmla="*/ 41 h 41"/>
                <a:gd name="T18" fmla="*/ 9 w 40"/>
                <a:gd name="T19" fmla="*/ 37 h 41"/>
                <a:gd name="T20" fmla="*/ 9 w 40"/>
                <a:gd name="T21" fmla="*/ 36 h 41"/>
                <a:gd name="T22" fmla="*/ 9 w 40"/>
                <a:gd name="T23" fmla="*/ 36 h 41"/>
                <a:gd name="T24" fmla="*/ 36 w 40"/>
                <a:gd name="T25" fmla="*/ 9 h 41"/>
                <a:gd name="T26" fmla="*/ 36 w 40"/>
                <a:gd name="T27" fmla="*/ 9 h 41"/>
                <a:gd name="T28" fmla="*/ 40 w 40"/>
                <a:gd name="T29" fmla="*/ 4 h 41"/>
                <a:gd name="T30" fmla="*/ 36 w 40"/>
                <a:gd name="T31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0" h="41">
                  <a:moveTo>
                    <a:pt x="36" y="0"/>
                  </a:move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0"/>
                    <a:pt x="35" y="0"/>
                    <a:pt x="35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15" y="1"/>
                    <a:pt x="0" y="17"/>
                    <a:pt x="0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36"/>
                    <a:pt x="0" y="37"/>
                  </a:cubicBezTo>
                  <a:cubicBezTo>
                    <a:pt x="0" y="39"/>
                    <a:pt x="2" y="41"/>
                    <a:pt x="4" y="41"/>
                  </a:cubicBezTo>
                  <a:cubicBezTo>
                    <a:pt x="7" y="41"/>
                    <a:pt x="9" y="39"/>
                    <a:pt x="9" y="37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9" y="21"/>
                    <a:pt x="21" y="9"/>
                    <a:pt x="36" y="9"/>
                  </a:cubicBezTo>
                  <a:cubicBezTo>
                    <a:pt x="36" y="9"/>
                    <a:pt x="36" y="9"/>
                    <a:pt x="36" y="9"/>
                  </a:cubicBezTo>
                  <a:cubicBezTo>
                    <a:pt x="38" y="8"/>
                    <a:pt x="40" y="7"/>
                    <a:pt x="40" y="4"/>
                  </a:cubicBezTo>
                  <a:cubicBezTo>
                    <a:pt x="40" y="2"/>
                    <a:pt x="38" y="0"/>
                    <a:pt x="3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5" name="Freeform 81">
              <a:extLst>
                <a:ext uri="{FF2B5EF4-FFF2-40B4-BE49-F238E27FC236}">
                  <a16:creationId xmlns:a16="http://schemas.microsoft.com/office/drawing/2014/main" id="{5F6E8F8F-60CC-4A1E-8F20-75F469D22C0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27138" y="1492250"/>
              <a:ext cx="344488" cy="422275"/>
            </a:xfrm>
            <a:custGeom>
              <a:avLst/>
              <a:gdLst>
                <a:gd name="T0" fmla="*/ 187 w 335"/>
                <a:gd name="T1" fmla="*/ 0 h 408"/>
                <a:gd name="T2" fmla="*/ 38 w 335"/>
                <a:gd name="T3" fmla="*/ 139 h 408"/>
                <a:gd name="T4" fmla="*/ 5 w 335"/>
                <a:gd name="T5" fmla="*/ 195 h 408"/>
                <a:gd name="T6" fmla="*/ 10 w 335"/>
                <a:gd name="T7" fmla="*/ 216 h 408"/>
                <a:gd name="T8" fmla="*/ 38 w 335"/>
                <a:gd name="T9" fmla="*/ 232 h 408"/>
                <a:gd name="T10" fmla="*/ 38 w 335"/>
                <a:gd name="T11" fmla="*/ 296 h 408"/>
                <a:gd name="T12" fmla="*/ 52 w 335"/>
                <a:gd name="T13" fmla="*/ 310 h 408"/>
                <a:gd name="T14" fmla="*/ 114 w 335"/>
                <a:gd name="T15" fmla="*/ 310 h 408"/>
                <a:gd name="T16" fmla="*/ 114 w 335"/>
                <a:gd name="T17" fmla="*/ 393 h 408"/>
                <a:gd name="T18" fmla="*/ 128 w 335"/>
                <a:gd name="T19" fmla="*/ 408 h 408"/>
                <a:gd name="T20" fmla="*/ 265 w 335"/>
                <a:gd name="T21" fmla="*/ 352 h 408"/>
                <a:gd name="T22" fmla="*/ 265 w 335"/>
                <a:gd name="T23" fmla="*/ 296 h 408"/>
                <a:gd name="T24" fmla="*/ 265 w 335"/>
                <a:gd name="T25" fmla="*/ 276 h 408"/>
                <a:gd name="T26" fmla="*/ 335 w 335"/>
                <a:gd name="T27" fmla="*/ 148 h 408"/>
                <a:gd name="T28" fmla="*/ 187 w 335"/>
                <a:gd name="T29" fmla="*/ 0 h 408"/>
                <a:gd name="T30" fmla="*/ 207 w 335"/>
                <a:gd name="T31" fmla="*/ 187 h 408"/>
                <a:gd name="T32" fmla="*/ 206 w 335"/>
                <a:gd name="T33" fmla="*/ 188 h 408"/>
                <a:gd name="T34" fmla="*/ 206 w 335"/>
                <a:gd name="T35" fmla="*/ 194 h 408"/>
                <a:gd name="T36" fmla="*/ 203 w 335"/>
                <a:gd name="T37" fmla="*/ 197 h 408"/>
                <a:gd name="T38" fmla="*/ 183 w 335"/>
                <a:gd name="T39" fmla="*/ 197 h 408"/>
                <a:gd name="T40" fmla="*/ 180 w 335"/>
                <a:gd name="T41" fmla="*/ 194 h 408"/>
                <a:gd name="T42" fmla="*/ 180 w 335"/>
                <a:gd name="T43" fmla="*/ 188 h 408"/>
                <a:gd name="T44" fmla="*/ 180 w 335"/>
                <a:gd name="T45" fmla="*/ 187 h 408"/>
                <a:gd name="T46" fmla="*/ 174 w 335"/>
                <a:gd name="T47" fmla="*/ 181 h 408"/>
                <a:gd name="T48" fmla="*/ 212 w 335"/>
                <a:gd name="T49" fmla="*/ 181 h 408"/>
                <a:gd name="T50" fmla="*/ 207 w 335"/>
                <a:gd name="T51" fmla="*/ 187 h 408"/>
                <a:gd name="T52" fmla="*/ 220 w 335"/>
                <a:gd name="T53" fmla="*/ 172 h 408"/>
                <a:gd name="T54" fmla="*/ 220 w 335"/>
                <a:gd name="T55" fmla="*/ 172 h 408"/>
                <a:gd name="T56" fmla="*/ 220 w 335"/>
                <a:gd name="T57" fmla="*/ 172 h 408"/>
                <a:gd name="T58" fmla="*/ 216 w 335"/>
                <a:gd name="T59" fmla="*/ 177 h 408"/>
                <a:gd name="T60" fmla="*/ 171 w 335"/>
                <a:gd name="T61" fmla="*/ 177 h 408"/>
                <a:gd name="T62" fmla="*/ 166 w 335"/>
                <a:gd name="T63" fmla="*/ 172 h 408"/>
                <a:gd name="T64" fmla="*/ 166 w 335"/>
                <a:gd name="T65" fmla="*/ 172 h 408"/>
                <a:gd name="T66" fmla="*/ 166 w 335"/>
                <a:gd name="T67" fmla="*/ 171 h 408"/>
                <a:gd name="T68" fmla="*/ 220 w 335"/>
                <a:gd name="T69" fmla="*/ 171 h 408"/>
                <a:gd name="T70" fmla="*/ 220 w 335"/>
                <a:gd name="T71" fmla="*/ 172 h 408"/>
                <a:gd name="T72" fmla="*/ 220 w 335"/>
                <a:gd name="T73" fmla="*/ 167 h 408"/>
                <a:gd name="T74" fmla="*/ 166 w 335"/>
                <a:gd name="T75" fmla="*/ 167 h 408"/>
                <a:gd name="T76" fmla="*/ 166 w 335"/>
                <a:gd name="T77" fmla="*/ 162 h 408"/>
                <a:gd name="T78" fmla="*/ 168 w 335"/>
                <a:gd name="T79" fmla="*/ 160 h 408"/>
                <a:gd name="T80" fmla="*/ 218 w 335"/>
                <a:gd name="T81" fmla="*/ 160 h 408"/>
                <a:gd name="T82" fmla="*/ 220 w 335"/>
                <a:gd name="T83" fmla="*/ 162 h 408"/>
                <a:gd name="T84" fmla="*/ 220 w 335"/>
                <a:gd name="T85" fmla="*/ 167 h 408"/>
                <a:gd name="T86" fmla="*/ 230 w 335"/>
                <a:gd name="T87" fmla="*/ 117 h 408"/>
                <a:gd name="T88" fmla="*/ 229 w 335"/>
                <a:gd name="T89" fmla="*/ 118 h 408"/>
                <a:gd name="T90" fmla="*/ 229 w 335"/>
                <a:gd name="T91" fmla="*/ 118 h 408"/>
                <a:gd name="T92" fmla="*/ 228 w 335"/>
                <a:gd name="T93" fmla="*/ 119 h 408"/>
                <a:gd name="T94" fmla="*/ 220 w 335"/>
                <a:gd name="T95" fmla="*/ 139 h 408"/>
                <a:gd name="T96" fmla="*/ 220 w 335"/>
                <a:gd name="T97" fmla="*/ 156 h 408"/>
                <a:gd name="T98" fmla="*/ 167 w 335"/>
                <a:gd name="T99" fmla="*/ 156 h 408"/>
                <a:gd name="T100" fmla="*/ 167 w 335"/>
                <a:gd name="T101" fmla="*/ 141 h 408"/>
                <a:gd name="T102" fmla="*/ 159 w 335"/>
                <a:gd name="T103" fmla="*/ 119 h 408"/>
                <a:gd name="T104" fmla="*/ 157 w 335"/>
                <a:gd name="T105" fmla="*/ 118 h 408"/>
                <a:gd name="T106" fmla="*/ 157 w 335"/>
                <a:gd name="T107" fmla="*/ 118 h 408"/>
                <a:gd name="T108" fmla="*/ 157 w 335"/>
                <a:gd name="T109" fmla="*/ 118 h 408"/>
                <a:gd name="T110" fmla="*/ 145 w 335"/>
                <a:gd name="T111" fmla="*/ 86 h 408"/>
                <a:gd name="T112" fmla="*/ 193 w 335"/>
                <a:gd name="T113" fmla="*/ 38 h 408"/>
                <a:gd name="T114" fmla="*/ 241 w 335"/>
                <a:gd name="T115" fmla="*/ 86 h 408"/>
                <a:gd name="T116" fmla="*/ 230 w 335"/>
                <a:gd name="T117" fmla="*/ 117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35" h="408">
                  <a:moveTo>
                    <a:pt x="187" y="0"/>
                  </a:moveTo>
                  <a:cubicBezTo>
                    <a:pt x="108" y="0"/>
                    <a:pt x="43" y="61"/>
                    <a:pt x="38" y="139"/>
                  </a:cubicBezTo>
                  <a:cubicBezTo>
                    <a:pt x="5" y="195"/>
                    <a:pt x="5" y="195"/>
                    <a:pt x="5" y="195"/>
                  </a:cubicBezTo>
                  <a:cubicBezTo>
                    <a:pt x="0" y="202"/>
                    <a:pt x="3" y="211"/>
                    <a:pt x="10" y="216"/>
                  </a:cubicBezTo>
                  <a:cubicBezTo>
                    <a:pt x="38" y="232"/>
                    <a:pt x="38" y="232"/>
                    <a:pt x="38" y="232"/>
                  </a:cubicBezTo>
                  <a:cubicBezTo>
                    <a:pt x="38" y="296"/>
                    <a:pt x="38" y="296"/>
                    <a:pt x="38" y="296"/>
                  </a:cubicBezTo>
                  <a:cubicBezTo>
                    <a:pt x="38" y="304"/>
                    <a:pt x="44" y="310"/>
                    <a:pt x="52" y="310"/>
                  </a:cubicBezTo>
                  <a:cubicBezTo>
                    <a:pt x="114" y="310"/>
                    <a:pt x="114" y="310"/>
                    <a:pt x="114" y="310"/>
                  </a:cubicBezTo>
                  <a:cubicBezTo>
                    <a:pt x="114" y="393"/>
                    <a:pt x="114" y="393"/>
                    <a:pt x="114" y="393"/>
                  </a:cubicBezTo>
                  <a:cubicBezTo>
                    <a:pt x="114" y="401"/>
                    <a:pt x="119" y="407"/>
                    <a:pt x="128" y="408"/>
                  </a:cubicBezTo>
                  <a:cubicBezTo>
                    <a:pt x="265" y="352"/>
                    <a:pt x="265" y="352"/>
                    <a:pt x="265" y="352"/>
                  </a:cubicBezTo>
                  <a:cubicBezTo>
                    <a:pt x="265" y="296"/>
                    <a:pt x="265" y="296"/>
                    <a:pt x="265" y="296"/>
                  </a:cubicBezTo>
                  <a:cubicBezTo>
                    <a:pt x="265" y="276"/>
                    <a:pt x="265" y="276"/>
                    <a:pt x="265" y="276"/>
                  </a:cubicBezTo>
                  <a:cubicBezTo>
                    <a:pt x="307" y="250"/>
                    <a:pt x="335" y="203"/>
                    <a:pt x="335" y="148"/>
                  </a:cubicBezTo>
                  <a:cubicBezTo>
                    <a:pt x="335" y="67"/>
                    <a:pt x="269" y="0"/>
                    <a:pt x="187" y="0"/>
                  </a:cubicBezTo>
                  <a:close/>
                  <a:moveTo>
                    <a:pt x="207" y="187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6" y="194"/>
                    <a:pt x="206" y="194"/>
                    <a:pt x="206" y="194"/>
                  </a:cubicBezTo>
                  <a:cubicBezTo>
                    <a:pt x="206" y="195"/>
                    <a:pt x="205" y="197"/>
                    <a:pt x="203" y="197"/>
                  </a:cubicBezTo>
                  <a:cubicBezTo>
                    <a:pt x="183" y="197"/>
                    <a:pt x="183" y="197"/>
                    <a:pt x="183" y="197"/>
                  </a:cubicBezTo>
                  <a:cubicBezTo>
                    <a:pt x="182" y="197"/>
                    <a:pt x="180" y="195"/>
                    <a:pt x="180" y="194"/>
                  </a:cubicBezTo>
                  <a:cubicBezTo>
                    <a:pt x="180" y="188"/>
                    <a:pt x="180" y="188"/>
                    <a:pt x="180" y="188"/>
                  </a:cubicBezTo>
                  <a:cubicBezTo>
                    <a:pt x="180" y="187"/>
                    <a:pt x="180" y="187"/>
                    <a:pt x="180" y="187"/>
                  </a:cubicBezTo>
                  <a:cubicBezTo>
                    <a:pt x="174" y="181"/>
                    <a:pt x="174" y="181"/>
                    <a:pt x="174" y="181"/>
                  </a:cubicBezTo>
                  <a:cubicBezTo>
                    <a:pt x="212" y="181"/>
                    <a:pt x="212" y="181"/>
                    <a:pt x="212" y="181"/>
                  </a:cubicBezTo>
                  <a:lnTo>
                    <a:pt x="207" y="187"/>
                  </a:lnTo>
                  <a:close/>
                  <a:moveTo>
                    <a:pt x="220" y="172"/>
                  </a:moveTo>
                  <a:cubicBezTo>
                    <a:pt x="220" y="172"/>
                    <a:pt x="220" y="172"/>
                    <a:pt x="220" y="172"/>
                  </a:cubicBezTo>
                  <a:cubicBezTo>
                    <a:pt x="220" y="172"/>
                    <a:pt x="220" y="172"/>
                    <a:pt x="220" y="172"/>
                  </a:cubicBezTo>
                  <a:cubicBezTo>
                    <a:pt x="216" y="177"/>
                    <a:pt x="216" y="177"/>
                    <a:pt x="216" y="177"/>
                  </a:cubicBezTo>
                  <a:cubicBezTo>
                    <a:pt x="171" y="177"/>
                    <a:pt x="171" y="177"/>
                    <a:pt x="171" y="177"/>
                  </a:cubicBezTo>
                  <a:cubicBezTo>
                    <a:pt x="166" y="172"/>
                    <a:pt x="166" y="172"/>
                    <a:pt x="166" y="172"/>
                  </a:cubicBezTo>
                  <a:cubicBezTo>
                    <a:pt x="166" y="172"/>
                    <a:pt x="166" y="172"/>
                    <a:pt x="166" y="172"/>
                  </a:cubicBezTo>
                  <a:cubicBezTo>
                    <a:pt x="166" y="172"/>
                    <a:pt x="166" y="171"/>
                    <a:pt x="166" y="171"/>
                  </a:cubicBezTo>
                  <a:cubicBezTo>
                    <a:pt x="220" y="171"/>
                    <a:pt x="220" y="171"/>
                    <a:pt x="220" y="171"/>
                  </a:cubicBezTo>
                  <a:cubicBezTo>
                    <a:pt x="220" y="171"/>
                    <a:pt x="220" y="172"/>
                    <a:pt x="220" y="172"/>
                  </a:cubicBezTo>
                  <a:close/>
                  <a:moveTo>
                    <a:pt x="220" y="167"/>
                  </a:moveTo>
                  <a:cubicBezTo>
                    <a:pt x="166" y="167"/>
                    <a:pt x="166" y="167"/>
                    <a:pt x="166" y="167"/>
                  </a:cubicBezTo>
                  <a:cubicBezTo>
                    <a:pt x="166" y="162"/>
                    <a:pt x="166" y="162"/>
                    <a:pt x="166" y="162"/>
                  </a:cubicBezTo>
                  <a:cubicBezTo>
                    <a:pt x="166" y="161"/>
                    <a:pt x="167" y="160"/>
                    <a:pt x="168" y="160"/>
                  </a:cubicBezTo>
                  <a:cubicBezTo>
                    <a:pt x="218" y="160"/>
                    <a:pt x="218" y="160"/>
                    <a:pt x="218" y="160"/>
                  </a:cubicBezTo>
                  <a:cubicBezTo>
                    <a:pt x="219" y="160"/>
                    <a:pt x="220" y="161"/>
                    <a:pt x="220" y="162"/>
                  </a:cubicBezTo>
                  <a:lnTo>
                    <a:pt x="220" y="167"/>
                  </a:lnTo>
                  <a:close/>
                  <a:moveTo>
                    <a:pt x="230" y="117"/>
                  </a:moveTo>
                  <a:cubicBezTo>
                    <a:pt x="230" y="117"/>
                    <a:pt x="230" y="117"/>
                    <a:pt x="229" y="118"/>
                  </a:cubicBezTo>
                  <a:cubicBezTo>
                    <a:pt x="229" y="118"/>
                    <a:pt x="229" y="118"/>
                    <a:pt x="229" y="118"/>
                  </a:cubicBezTo>
                  <a:cubicBezTo>
                    <a:pt x="229" y="118"/>
                    <a:pt x="228" y="119"/>
                    <a:pt x="228" y="119"/>
                  </a:cubicBezTo>
                  <a:cubicBezTo>
                    <a:pt x="223" y="124"/>
                    <a:pt x="221" y="131"/>
                    <a:pt x="220" y="139"/>
                  </a:cubicBezTo>
                  <a:cubicBezTo>
                    <a:pt x="220" y="156"/>
                    <a:pt x="220" y="156"/>
                    <a:pt x="220" y="156"/>
                  </a:cubicBezTo>
                  <a:cubicBezTo>
                    <a:pt x="167" y="156"/>
                    <a:pt x="167" y="156"/>
                    <a:pt x="167" y="156"/>
                  </a:cubicBezTo>
                  <a:cubicBezTo>
                    <a:pt x="167" y="141"/>
                    <a:pt x="167" y="141"/>
                    <a:pt x="167" y="141"/>
                  </a:cubicBezTo>
                  <a:cubicBezTo>
                    <a:pt x="167" y="133"/>
                    <a:pt x="164" y="125"/>
                    <a:pt x="159" y="119"/>
                  </a:cubicBezTo>
                  <a:cubicBezTo>
                    <a:pt x="158" y="119"/>
                    <a:pt x="158" y="118"/>
                    <a:pt x="157" y="118"/>
                  </a:cubicBezTo>
                  <a:cubicBezTo>
                    <a:pt x="157" y="118"/>
                    <a:pt x="157" y="118"/>
                    <a:pt x="157" y="118"/>
                  </a:cubicBezTo>
                  <a:cubicBezTo>
                    <a:pt x="157" y="118"/>
                    <a:pt x="157" y="118"/>
                    <a:pt x="157" y="118"/>
                  </a:cubicBezTo>
                  <a:cubicBezTo>
                    <a:pt x="149" y="109"/>
                    <a:pt x="145" y="98"/>
                    <a:pt x="145" y="86"/>
                  </a:cubicBezTo>
                  <a:cubicBezTo>
                    <a:pt x="145" y="59"/>
                    <a:pt x="166" y="38"/>
                    <a:pt x="193" y="38"/>
                  </a:cubicBezTo>
                  <a:cubicBezTo>
                    <a:pt x="220" y="38"/>
                    <a:pt x="241" y="59"/>
                    <a:pt x="241" y="86"/>
                  </a:cubicBezTo>
                  <a:cubicBezTo>
                    <a:pt x="241" y="98"/>
                    <a:pt x="237" y="109"/>
                    <a:pt x="230" y="117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6" name="Freeform 76">
              <a:extLst>
                <a:ext uri="{FF2B5EF4-FFF2-40B4-BE49-F238E27FC236}">
                  <a16:creationId xmlns:a16="http://schemas.microsoft.com/office/drawing/2014/main" id="{0E7DCB96-C21E-453A-AC29-38F64DCCFAF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00151" y="1978025"/>
              <a:ext cx="349250" cy="427038"/>
            </a:xfrm>
            <a:custGeom>
              <a:avLst/>
              <a:gdLst>
                <a:gd name="T0" fmla="*/ 187 w 335"/>
                <a:gd name="T1" fmla="*/ 0 h 409"/>
                <a:gd name="T2" fmla="*/ 38 w 335"/>
                <a:gd name="T3" fmla="*/ 139 h 409"/>
                <a:gd name="T4" fmla="*/ 5 w 335"/>
                <a:gd name="T5" fmla="*/ 195 h 409"/>
                <a:gd name="T6" fmla="*/ 10 w 335"/>
                <a:gd name="T7" fmla="*/ 216 h 409"/>
                <a:gd name="T8" fmla="*/ 38 w 335"/>
                <a:gd name="T9" fmla="*/ 233 h 409"/>
                <a:gd name="T10" fmla="*/ 38 w 335"/>
                <a:gd name="T11" fmla="*/ 296 h 409"/>
                <a:gd name="T12" fmla="*/ 52 w 335"/>
                <a:gd name="T13" fmla="*/ 311 h 409"/>
                <a:gd name="T14" fmla="*/ 114 w 335"/>
                <a:gd name="T15" fmla="*/ 311 h 409"/>
                <a:gd name="T16" fmla="*/ 114 w 335"/>
                <a:gd name="T17" fmla="*/ 393 h 409"/>
                <a:gd name="T18" fmla="*/ 128 w 335"/>
                <a:gd name="T19" fmla="*/ 409 h 409"/>
                <a:gd name="T20" fmla="*/ 265 w 335"/>
                <a:gd name="T21" fmla="*/ 352 h 409"/>
                <a:gd name="T22" fmla="*/ 265 w 335"/>
                <a:gd name="T23" fmla="*/ 296 h 409"/>
                <a:gd name="T24" fmla="*/ 265 w 335"/>
                <a:gd name="T25" fmla="*/ 276 h 409"/>
                <a:gd name="T26" fmla="*/ 335 w 335"/>
                <a:gd name="T27" fmla="*/ 149 h 409"/>
                <a:gd name="T28" fmla="*/ 187 w 335"/>
                <a:gd name="T29" fmla="*/ 0 h 409"/>
                <a:gd name="T30" fmla="*/ 207 w 335"/>
                <a:gd name="T31" fmla="*/ 216 h 409"/>
                <a:gd name="T32" fmla="*/ 181 w 335"/>
                <a:gd name="T33" fmla="*/ 216 h 409"/>
                <a:gd name="T34" fmla="*/ 181 w 335"/>
                <a:gd name="T35" fmla="*/ 188 h 409"/>
                <a:gd name="T36" fmla="*/ 207 w 335"/>
                <a:gd name="T37" fmla="*/ 188 h 409"/>
                <a:gd name="T38" fmla="*/ 207 w 335"/>
                <a:gd name="T39" fmla="*/ 216 h 409"/>
                <a:gd name="T40" fmla="*/ 239 w 335"/>
                <a:gd name="T41" fmla="*/ 124 h 409"/>
                <a:gd name="T42" fmla="*/ 231 w 335"/>
                <a:gd name="T43" fmla="*/ 137 h 409"/>
                <a:gd name="T44" fmla="*/ 210 w 335"/>
                <a:gd name="T45" fmla="*/ 153 h 409"/>
                <a:gd name="T46" fmla="*/ 204 w 335"/>
                <a:gd name="T47" fmla="*/ 159 h 409"/>
                <a:gd name="T48" fmla="*/ 203 w 335"/>
                <a:gd name="T49" fmla="*/ 173 h 409"/>
                <a:gd name="T50" fmla="*/ 181 w 335"/>
                <a:gd name="T51" fmla="*/ 173 h 409"/>
                <a:gd name="T52" fmla="*/ 181 w 335"/>
                <a:gd name="T53" fmla="*/ 158 h 409"/>
                <a:gd name="T54" fmla="*/ 184 w 335"/>
                <a:gd name="T55" fmla="*/ 146 h 409"/>
                <a:gd name="T56" fmla="*/ 198 w 335"/>
                <a:gd name="T57" fmla="*/ 133 h 409"/>
                <a:gd name="T58" fmla="*/ 213 w 335"/>
                <a:gd name="T59" fmla="*/ 108 h 409"/>
                <a:gd name="T60" fmla="*/ 207 w 335"/>
                <a:gd name="T61" fmla="*/ 92 h 409"/>
                <a:gd name="T62" fmla="*/ 191 w 335"/>
                <a:gd name="T63" fmla="*/ 86 h 409"/>
                <a:gd name="T64" fmla="*/ 164 w 335"/>
                <a:gd name="T65" fmla="*/ 117 h 409"/>
                <a:gd name="T66" fmla="*/ 140 w 335"/>
                <a:gd name="T67" fmla="*/ 113 h 409"/>
                <a:gd name="T68" fmla="*/ 158 w 335"/>
                <a:gd name="T69" fmla="*/ 76 h 409"/>
                <a:gd name="T70" fmla="*/ 194 w 335"/>
                <a:gd name="T71" fmla="*/ 62 h 409"/>
                <a:gd name="T72" fmla="*/ 229 w 335"/>
                <a:gd name="T73" fmla="*/ 75 h 409"/>
                <a:gd name="T74" fmla="*/ 243 w 335"/>
                <a:gd name="T75" fmla="*/ 106 h 409"/>
                <a:gd name="T76" fmla="*/ 239 w 335"/>
                <a:gd name="T77" fmla="*/ 124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35" h="409">
                  <a:moveTo>
                    <a:pt x="187" y="0"/>
                  </a:moveTo>
                  <a:cubicBezTo>
                    <a:pt x="108" y="0"/>
                    <a:pt x="43" y="61"/>
                    <a:pt x="38" y="139"/>
                  </a:cubicBezTo>
                  <a:cubicBezTo>
                    <a:pt x="5" y="195"/>
                    <a:pt x="5" y="195"/>
                    <a:pt x="5" y="195"/>
                  </a:cubicBezTo>
                  <a:cubicBezTo>
                    <a:pt x="0" y="202"/>
                    <a:pt x="3" y="211"/>
                    <a:pt x="10" y="216"/>
                  </a:cubicBezTo>
                  <a:cubicBezTo>
                    <a:pt x="38" y="233"/>
                    <a:pt x="38" y="233"/>
                    <a:pt x="38" y="233"/>
                  </a:cubicBezTo>
                  <a:cubicBezTo>
                    <a:pt x="38" y="296"/>
                    <a:pt x="38" y="296"/>
                    <a:pt x="38" y="296"/>
                  </a:cubicBezTo>
                  <a:cubicBezTo>
                    <a:pt x="38" y="305"/>
                    <a:pt x="44" y="311"/>
                    <a:pt x="52" y="311"/>
                  </a:cubicBezTo>
                  <a:cubicBezTo>
                    <a:pt x="114" y="311"/>
                    <a:pt x="114" y="311"/>
                    <a:pt x="114" y="311"/>
                  </a:cubicBezTo>
                  <a:cubicBezTo>
                    <a:pt x="114" y="393"/>
                    <a:pt x="114" y="393"/>
                    <a:pt x="114" y="393"/>
                  </a:cubicBezTo>
                  <a:cubicBezTo>
                    <a:pt x="114" y="402"/>
                    <a:pt x="119" y="407"/>
                    <a:pt x="128" y="409"/>
                  </a:cubicBezTo>
                  <a:cubicBezTo>
                    <a:pt x="265" y="352"/>
                    <a:pt x="265" y="352"/>
                    <a:pt x="265" y="352"/>
                  </a:cubicBezTo>
                  <a:cubicBezTo>
                    <a:pt x="265" y="296"/>
                    <a:pt x="265" y="296"/>
                    <a:pt x="265" y="296"/>
                  </a:cubicBezTo>
                  <a:cubicBezTo>
                    <a:pt x="265" y="276"/>
                    <a:pt x="265" y="276"/>
                    <a:pt x="265" y="276"/>
                  </a:cubicBezTo>
                  <a:cubicBezTo>
                    <a:pt x="307" y="250"/>
                    <a:pt x="335" y="203"/>
                    <a:pt x="335" y="149"/>
                  </a:cubicBezTo>
                  <a:cubicBezTo>
                    <a:pt x="335" y="67"/>
                    <a:pt x="269" y="0"/>
                    <a:pt x="187" y="0"/>
                  </a:cubicBezTo>
                  <a:close/>
                  <a:moveTo>
                    <a:pt x="207" y="216"/>
                  </a:moveTo>
                  <a:cubicBezTo>
                    <a:pt x="181" y="216"/>
                    <a:pt x="181" y="216"/>
                    <a:pt x="181" y="216"/>
                  </a:cubicBezTo>
                  <a:cubicBezTo>
                    <a:pt x="181" y="188"/>
                    <a:pt x="181" y="188"/>
                    <a:pt x="181" y="188"/>
                  </a:cubicBezTo>
                  <a:cubicBezTo>
                    <a:pt x="207" y="188"/>
                    <a:pt x="207" y="188"/>
                    <a:pt x="207" y="188"/>
                  </a:cubicBezTo>
                  <a:lnTo>
                    <a:pt x="207" y="216"/>
                  </a:lnTo>
                  <a:close/>
                  <a:moveTo>
                    <a:pt x="239" y="124"/>
                  </a:moveTo>
                  <a:cubicBezTo>
                    <a:pt x="237" y="130"/>
                    <a:pt x="234" y="134"/>
                    <a:pt x="231" y="137"/>
                  </a:cubicBezTo>
                  <a:cubicBezTo>
                    <a:pt x="227" y="140"/>
                    <a:pt x="220" y="145"/>
                    <a:pt x="210" y="153"/>
                  </a:cubicBezTo>
                  <a:cubicBezTo>
                    <a:pt x="207" y="155"/>
                    <a:pt x="205" y="157"/>
                    <a:pt x="204" y="159"/>
                  </a:cubicBezTo>
                  <a:cubicBezTo>
                    <a:pt x="203" y="161"/>
                    <a:pt x="203" y="166"/>
                    <a:pt x="203" y="173"/>
                  </a:cubicBezTo>
                  <a:cubicBezTo>
                    <a:pt x="181" y="173"/>
                    <a:pt x="181" y="173"/>
                    <a:pt x="181" y="173"/>
                  </a:cubicBezTo>
                  <a:cubicBezTo>
                    <a:pt x="181" y="158"/>
                    <a:pt x="181" y="158"/>
                    <a:pt x="181" y="158"/>
                  </a:cubicBezTo>
                  <a:cubicBezTo>
                    <a:pt x="181" y="153"/>
                    <a:pt x="182" y="149"/>
                    <a:pt x="184" y="146"/>
                  </a:cubicBezTo>
                  <a:cubicBezTo>
                    <a:pt x="186" y="143"/>
                    <a:pt x="191" y="139"/>
                    <a:pt x="198" y="133"/>
                  </a:cubicBezTo>
                  <a:cubicBezTo>
                    <a:pt x="208" y="125"/>
                    <a:pt x="213" y="117"/>
                    <a:pt x="213" y="108"/>
                  </a:cubicBezTo>
                  <a:cubicBezTo>
                    <a:pt x="213" y="101"/>
                    <a:pt x="211" y="96"/>
                    <a:pt x="207" y="92"/>
                  </a:cubicBezTo>
                  <a:cubicBezTo>
                    <a:pt x="203" y="88"/>
                    <a:pt x="198" y="86"/>
                    <a:pt x="191" y="86"/>
                  </a:cubicBezTo>
                  <a:cubicBezTo>
                    <a:pt x="176" y="86"/>
                    <a:pt x="167" y="96"/>
                    <a:pt x="164" y="117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42" y="97"/>
                    <a:pt x="147" y="85"/>
                    <a:pt x="158" y="76"/>
                  </a:cubicBezTo>
                  <a:cubicBezTo>
                    <a:pt x="168" y="67"/>
                    <a:pt x="180" y="62"/>
                    <a:pt x="194" y="62"/>
                  </a:cubicBezTo>
                  <a:cubicBezTo>
                    <a:pt x="208" y="62"/>
                    <a:pt x="220" y="66"/>
                    <a:pt x="229" y="75"/>
                  </a:cubicBezTo>
                  <a:cubicBezTo>
                    <a:pt x="238" y="83"/>
                    <a:pt x="243" y="94"/>
                    <a:pt x="243" y="106"/>
                  </a:cubicBezTo>
                  <a:cubicBezTo>
                    <a:pt x="243" y="112"/>
                    <a:pt x="242" y="118"/>
                    <a:pt x="239" y="124"/>
                  </a:cubicBezTo>
                  <a:close/>
                </a:path>
              </a:pathLst>
            </a:custGeom>
            <a:solidFill>
              <a:srgbClr val="00A8C8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65D3B439-783D-4003-8777-38922DF2496F}"/>
              </a:ext>
            </a:extLst>
          </p:cNvPr>
          <p:cNvCxnSpPr/>
          <p:nvPr/>
        </p:nvCxnSpPr>
        <p:spPr>
          <a:xfrm>
            <a:off x="629997" y="1796013"/>
            <a:ext cx="786384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4D25B014-BF8A-4433-B5C2-FDD58AFCF9B4}"/>
              </a:ext>
            </a:extLst>
          </p:cNvPr>
          <p:cNvCxnSpPr/>
          <p:nvPr/>
        </p:nvCxnSpPr>
        <p:spPr>
          <a:xfrm>
            <a:off x="629997" y="2574289"/>
            <a:ext cx="786384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1C75C186-AB48-4A2E-A072-9AA9CACF8133}"/>
              </a:ext>
            </a:extLst>
          </p:cNvPr>
          <p:cNvCxnSpPr/>
          <p:nvPr/>
        </p:nvCxnSpPr>
        <p:spPr>
          <a:xfrm>
            <a:off x="629997" y="3352564"/>
            <a:ext cx="786384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D7244AC8-745A-4D71-B67A-BB6F9F50A6AC}"/>
              </a:ext>
            </a:extLst>
          </p:cNvPr>
          <p:cNvSpPr txBox="1"/>
          <p:nvPr/>
        </p:nvSpPr>
        <p:spPr bwMode="gray">
          <a:xfrm>
            <a:off x="1764860" y="4196810"/>
            <a:ext cx="6760015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US" sz="1400" b="1" kern="0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Keeping up with innovation</a:t>
            </a:r>
          </a:p>
          <a:p>
            <a:r>
              <a:rPr lang="en-GB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mprehensive understanding of how and where cyber can impact the business given continuous evolution of business processes</a:t>
            </a:r>
            <a:endParaRPr lang="en-US" sz="1400" kern="0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96112857-6766-498E-B467-08D104B9C0FB}"/>
              </a:ext>
            </a:extLst>
          </p:cNvPr>
          <p:cNvCxnSpPr/>
          <p:nvPr/>
        </p:nvCxnSpPr>
        <p:spPr>
          <a:xfrm>
            <a:off x="661035" y="4130839"/>
            <a:ext cx="786384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Freeform 206">
            <a:extLst>
              <a:ext uri="{FF2B5EF4-FFF2-40B4-BE49-F238E27FC236}">
                <a16:creationId xmlns:a16="http://schemas.microsoft.com/office/drawing/2014/main" id="{29ADA7FA-30B7-4BE7-B532-03336E218951}"/>
              </a:ext>
            </a:extLst>
          </p:cNvPr>
          <p:cNvSpPr>
            <a:spLocks noEditPoints="1"/>
          </p:cNvSpPr>
          <p:nvPr/>
        </p:nvSpPr>
        <p:spPr bwMode="auto">
          <a:xfrm>
            <a:off x="795318" y="4387028"/>
            <a:ext cx="665066" cy="424029"/>
          </a:xfrm>
          <a:custGeom>
            <a:avLst/>
            <a:gdLst>
              <a:gd name="T0" fmla="*/ 736 w 863"/>
              <a:gd name="T1" fmla="*/ 304 h 550"/>
              <a:gd name="T2" fmla="*/ 714 w 863"/>
              <a:gd name="T3" fmla="*/ 170 h 550"/>
              <a:gd name="T4" fmla="*/ 642 w 863"/>
              <a:gd name="T5" fmla="*/ 194 h 550"/>
              <a:gd name="T6" fmla="*/ 672 w 863"/>
              <a:gd name="T7" fmla="*/ 244 h 550"/>
              <a:gd name="T8" fmla="*/ 599 w 863"/>
              <a:gd name="T9" fmla="*/ 252 h 550"/>
              <a:gd name="T10" fmla="*/ 546 w 863"/>
              <a:gd name="T11" fmla="*/ 184 h 550"/>
              <a:gd name="T12" fmla="*/ 480 w 863"/>
              <a:gd name="T13" fmla="*/ 165 h 550"/>
              <a:gd name="T14" fmla="*/ 480 w 863"/>
              <a:gd name="T15" fmla="*/ 216 h 550"/>
              <a:gd name="T16" fmla="*/ 442 w 863"/>
              <a:gd name="T17" fmla="*/ 252 h 550"/>
              <a:gd name="T18" fmla="*/ 449 w 863"/>
              <a:gd name="T19" fmla="*/ 194 h 550"/>
              <a:gd name="T20" fmla="*/ 355 w 863"/>
              <a:gd name="T21" fmla="*/ 56 h 550"/>
              <a:gd name="T22" fmla="*/ 303 w 863"/>
              <a:gd name="T23" fmla="*/ 62 h 550"/>
              <a:gd name="T24" fmla="*/ 212 w 863"/>
              <a:gd name="T25" fmla="*/ 212 h 550"/>
              <a:gd name="T26" fmla="*/ 165 w 863"/>
              <a:gd name="T27" fmla="*/ 233 h 550"/>
              <a:gd name="T28" fmla="*/ 112 w 863"/>
              <a:gd name="T29" fmla="*/ 206 h 550"/>
              <a:gd name="T30" fmla="*/ 129 w 863"/>
              <a:gd name="T31" fmla="*/ 161 h 550"/>
              <a:gd name="T32" fmla="*/ 89 w 863"/>
              <a:gd name="T33" fmla="*/ 108 h 550"/>
              <a:gd name="T34" fmla="*/ 39 w 863"/>
              <a:gd name="T35" fmla="*/ 157 h 550"/>
              <a:gd name="T36" fmla="*/ 58 w 863"/>
              <a:gd name="T37" fmla="*/ 190 h 550"/>
              <a:gd name="T38" fmla="*/ 16 w 863"/>
              <a:gd name="T39" fmla="*/ 456 h 550"/>
              <a:gd name="T40" fmla="*/ 35 w 863"/>
              <a:gd name="T41" fmla="*/ 538 h 550"/>
              <a:gd name="T42" fmla="*/ 140 w 863"/>
              <a:gd name="T43" fmla="*/ 533 h 550"/>
              <a:gd name="T44" fmla="*/ 257 w 863"/>
              <a:gd name="T45" fmla="*/ 542 h 550"/>
              <a:gd name="T46" fmla="*/ 333 w 863"/>
              <a:gd name="T47" fmla="*/ 361 h 550"/>
              <a:gd name="T48" fmla="*/ 356 w 863"/>
              <a:gd name="T49" fmla="*/ 328 h 550"/>
              <a:gd name="T50" fmla="*/ 330 w 863"/>
              <a:gd name="T51" fmla="*/ 512 h 550"/>
              <a:gd name="T52" fmla="*/ 504 w 863"/>
              <a:gd name="T53" fmla="*/ 540 h 550"/>
              <a:gd name="T54" fmla="*/ 568 w 863"/>
              <a:gd name="T55" fmla="*/ 542 h 550"/>
              <a:gd name="T56" fmla="*/ 542 w 863"/>
              <a:gd name="T57" fmla="*/ 510 h 550"/>
              <a:gd name="T58" fmla="*/ 635 w 863"/>
              <a:gd name="T59" fmla="*/ 542 h 550"/>
              <a:gd name="T60" fmla="*/ 681 w 863"/>
              <a:gd name="T61" fmla="*/ 544 h 550"/>
              <a:gd name="T62" fmla="*/ 775 w 863"/>
              <a:gd name="T63" fmla="*/ 543 h 550"/>
              <a:gd name="T64" fmla="*/ 832 w 863"/>
              <a:gd name="T65" fmla="*/ 548 h 550"/>
              <a:gd name="T66" fmla="*/ 748 w 863"/>
              <a:gd name="T67" fmla="*/ 482 h 550"/>
              <a:gd name="T68" fmla="*/ 757 w 863"/>
              <a:gd name="T69" fmla="*/ 473 h 550"/>
              <a:gd name="T70" fmla="*/ 171 w 863"/>
              <a:gd name="T71" fmla="*/ 469 h 550"/>
              <a:gd name="T72" fmla="*/ 277 w 863"/>
              <a:gd name="T73" fmla="*/ 326 h 550"/>
              <a:gd name="T74" fmla="*/ 648 w 863"/>
              <a:gd name="T75" fmla="*/ 345 h 550"/>
              <a:gd name="T76" fmla="*/ 204 w 863"/>
              <a:gd name="T77" fmla="*/ 336 h 550"/>
              <a:gd name="T78" fmla="*/ 197 w 863"/>
              <a:gd name="T79" fmla="*/ 329 h 550"/>
              <a:gd name="T80" fmla="*/ 387 w 863"/>
              <a:gd name="T81" fmla="*/ 474 h 550"/>
              <a:gd name="T82" fmla="*/ 420 w 863"/>
              <a:gd name="T83" fmla="*/ 304 h 550"/>
              <a:gd name="T84" fmla="*/ 399 w 863"/>
              <a:gd name="T85" fmla="*/ 216 h 550"/>
              <a:gd name="T86" fmla="*/ 413 w 863"/>
              <a:gd name="T87" fmla="*/ 193 h 550"/>
              <a:gd name="T88" fmla="*/ 421 w 863"/>
              <a:gd name="T89" fmla="*/ 240 h 550"/>
              <a:gd name="T90" fmla="*/ 178 w 863"/>
              <a:gd name="T91" fmla="*/ 268 h 550"/>
              <a:gd name="T92" fmla="*/ 234 w 863"/>
              <a:gd name="T93" fmla="*/ 254 h 550"/>
              <a:gd name="T94" fmla="*/ 264 w 863"/>
              <a:gd name="T95" fmla="*/ 200 h 550"/>
              <a:gd name="T96" fmla="*/ 287 w 863"/>
              <a:gd name="T97" fmla="*/ 225 h 550"/>
              <a:gd name="T98" fmla="*/ 243 w 863"/>
              <a:gd name="T99" fmla="*/ 311 h 550"/>
              <a:gd name="T100" fmla="*/ 193 w 863"/>
              <a:gd name="T101" fmla="*/ 292 h 550"/>
              <a:gd name="T102" fmla="*/ 196 w 863"/>
              <a:gd name="T103" fmla="*/ 502 h 550"/>
              <a:gd name="T104" fmla="*/ 225 w 863"/>
              <a:gd name="T105" fmla="*/ 463 h 550"/>
              <a:gd name="T106" fmla="*/ 263 w 863"/>
              <a:gd name="T107" fmla="*/ 490 h 550"/>
              <a:gd name="T108" fmla="*/ 251 w 863"/>
              <a:gd name="T109" fmla="*/ 505 h 550"/>
              <a:gd name="T110" fmla="*/ 487 w 863"/>
              <a:gd name="T111" fmla="*/ 474 h 550"/>
              <a:gd name="T112" fmla="*/ 706 w 863"/>
              <a:gd name="T113" fmla="*/ 480 h 550"/>
              <a:gd name="T114" fmla="*/ 666 w 863"/>
              <a:gd name="T115" fmla="*/ 525 h 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63" h="550">
                <a:moveTo>
                  <a:pt x="862" y="286"/>
                </a:moveTo>
                <a:cubicBezTo>
                  <a:pt x="862" y="286"/>
                  <a:pt x="854" y="281"/>
                  <a:pt x="846" y="284"/>
                </a:cubicBezTo>
                <a:cubicBezTo>
                  <a:pt x="839" y="288"/>
                  <a:pt x="832" y="295"/>
                  <a:pt x="816" y="297"/>
                </a:cubicBezTo>
                <a:cubicBezTo>
                  <a:pt x="800" y="300"/>
                  <a:pt x="800" y="303"/>
                  <a:pt x="798" y="307"/>
                </a:cubicBezTo>
                <a:cubicBezTo>
                  <a:pt x="797" y="312"/>
                  <a:pt x="791" y="333"/>
                  <a:pt x="791" y="333"/>
                </a:cubicBezTo>
                <a:cubicBezTo>
                  <a:pt x="790" y="334"/>
                  <a:pt x="790" y="334"/>
                  <a:pt x="790" y="334"/>
                </a:cubicBezTo>
                <a:cubicBezTo>
                  <a:pt x="778" y="333"/>
                  <a:pt x="757" y="333"/>
                  <a:pt x="736" y="333"/>
                </a:cubicBezTo>
                <a:cubicBezTo>
                  <a:pt x="736" y="332"/>
                  <a:pt x="736" y="332"/>
                  <a:pt x="736" y="332"/>
                </a:cubicBezTo>
                <a:cubicBezTo>
                  <a:pt x="734" y="330"/>
                  <a:pt x="735" y="325"/>
                  <a:pt x="736" y="323"/>
                </a:cubicBezTo>
                <a:cubicBezTo>
                  <a:pt x="736" y="321"/>
                  <a:pt x="737" y="314"/>
                  <a:pt x="737" y="311"/>
                </a:cubicBezTo>
                <a:cubicBezTo>
                  <a:pt x="736" y="308"/>
                  <a:pt x="736" y="306"/>
                  <a:pt x="736" y="304"/>
                </a:cubicBezTo>
                <a:cubicBezTo>
                  <a:pt x="736" y="302"/>
                  <a:pt x="734" y="300"/>
                  <a:pt x="734" y="300"/>
                </a:cubicBezTo>
                <a:cubicBezTo>
                  <a:pt x="734" y="300"/>
                  <a:pt x="734" y="294"/>
                  <a:pt x="734" y="292"/>
                </a:cubicBezTo>
                <a:cubicBezTo>
                  <a:pt x="735" y="291"/>
                  <a:pt x="736" y="285"/>
                  <a:pt x="736" y="280"/>
                </a:cubicBezTo>
                <a:cubicBezTo>
                  <a:pt x="735" y="275"/>
                  <a:pt x="735" y="257"/>
                  <a:pt x="728" y="249"/>
                </a:cubicBezTo>
                <a:cubicBezTo>
                  <a:pt x="722" y="242"/>
                  <a:pt x="714" y="239"/>
                  <a:pt x="708" y="237"/>
                </a:cubicBezTo>
                <a:cubicBezTo>
                  <a:pt x="708" y="237"/>
                  <a:pt x="708" y="237"/>
                  <a:pt x="708" y="237"/>
                </a:cubicBezTo>
                <a:cubicBezTo>
                  <a:pt x="699" y="235"/>
                  <a:pt x="697" y="225"/>
                  <a:pt x="696" y="223"/>
                </a:cubicBezTo>
                <a:cubicBezTo>
                  <a:pt x="696" y="220"/>
                  <a:pt x="700" y="220"/>
                  <a:pt x="700" y="220"/>
                </a:cubicBezTo>
                <a:cubicBezTo>
                  <a:pt x="704" y="218"/>
                  <a:pt x="710" y="212"/>
                  <a:pt x="715" y="205"/>
                </a:cubicBezTo>
                <a:cubicBezTo>
                  <a:pt x="720" y="198"/>
                  <a:pt x="718" y="192"/>
                  <a:pt x="718" y="187"/>
                </a:cubicBezTo>
                <a:cubicBezTo>
                  <a:pt x="717" y="181"/>
                  <a:pt x="716" y="173"/>
                  <a:pt x="714" y="170"/>
                </a:cubicBezTo>
                <a:cubicBezTo>
                  <a:pt x="712" y="167"/>
                  <a:pt x="709" y="158"/>
                  <a:pt x="705" y="157"/>
                </a:cubicBezTo>
                <a:cubicBezTo>
                  <a:pt x="701" y="156"/>
                  <a:pt x="695" y="154"/>
                  <a:pt x="694" y="154"/>
                </a:cubicBezTo>
                <a:cubicBezTo>
                  <a:pt x="692" y="154"/>
                  <a:pt x="691" y="152"/>
                  <a:pt x="689" y="152"/>
                </a:cubicBezTo>
                <a:cubicBezTo>
                  <a:pt x="687" y="152"/>
                  <a:pt x="686" y="155"/>
                  <a:pt x="684" y="154"/>
                </a:cubicBezTo>
                <a:cubicBezTo>
                  <a:pt x="682" y="153"/>
                  <a:pt x="681" y="152"/>
                  <a:pt x="679" y="153"/>
                </a:cubicBezTo>
                <a:cubicBezTo>
                  <a:pt x="677" y="153"/>
                  <a:pt x="675" y="154"/>
                  <a:pt x="672" y="154"/>
                </a:cubicBezTo>
                <a:cubicBezTo>
                  <a:pt x="670" y="154"/>
                  <a:pt x="659" y="160"/>
                  <a:pt x="653" y="163"/>
                </a:cubicBezTo>
                <a:cubicBezTo>
                  <a:pt x="646" y="167"/>
                  <a:pt x="644" y="176"/>
                  <a:pt x="643" y="181"/>
                </a:cubicBezTo>
                <a:cubicBezTo>
                  <a:pt x="642" y="185"/>
                  <a:pt x="639" y="185"/>
                  <a:pt x="640" y="185"/>
                </a:cubicBezTo>
                <a:cubicBezTo>
                  <a:pt x="641" y="186"/>
                  <a:pt x="643" y="185"/>
                  <a:pt x="642" y="187"/>
                </a:cubicBezTo>
                <a:cubicBezTo>
                  <a:pt x="642" y="188"/>
                  <a:pt x="641" y="193"/>
                  <a:pt x="642" y="194"/>
                </a:cubicBezTo>
                <a:cubicBezTo>
                  <a:pt x="643" y="196"/>
                  <a:pt x="647" y="203"/>
                  <a:pt x="647" y="203"/>
                </a:cubicBezTo>
                <a:cubicBezTo>
                  <a:pt x="648" y="205"/>
                  <a:pt x="645" y="209"/>
                  <a:pt x="645" y="210"/>
                </a:cubicBezTo>
                <a:cubicBezTo>
                  <a:pt x="644" y="211"/>
                  <a:pt x="643" y="212"/>
                  <a:pt x="644" y="213"/>
                </a:cubicBezTo>
                <a:cubicBezTo>
                  <a:pt x="646" y="214"/>
                  <a:pt x="649" y="215"/>
                  <a:pt x="649" y="215"/>
                </a:cubicBezTo>
                <a:cubicBezTo>
                  <a:pt x="649" y="216"/>
                  <a:pt x="648" y="221"/>
                  <a:pt x="649" y="221"/>
                </a:cubicBezTo>
                <a:cubicBezTo>
                  <a:pt x="649" y="221"/>
                  <a:pt x="650" y="223"/>
                  <a:pt x="650" y="223"/>
                </a:cubicBezTo>
                <a:cubicBezTo>
                  <a:pt x="649" y="223"/>
                  <a:pt x="649" y="225"/>
                  <a:pt x="650" y="225"/>
                </a:cubicBezTo>
                <a:cubicBezTo>
                  <a:pt x="651" y="225"/>
                  <a:pt x="652" y="228"/>
                  <a:pt x="652" y="228"/>
                </a:cubicBezTo>
                <a:cubicBezTo>
                  <a:pt x="653" y="229"/>
                  <a:pt x="653" y="234"/>
                  <a:pt x="655" y="235"/>
                </a:cubicBezTo>
                <a:cubicBezTo>
                  <a:pt x="657" y="236"/>
                  <a:pt x="663" y="234"/>
                  <a:pt x="667" y="235"/>
                </a:cubicBezTo>
                <a:cubicBezTo>
                  <a:pt x="670" y="236"/>
                  <a:pt x="672" y="241"/>
                  <a:pt x="672" y="244"/>
                </a:cubicBezTo>
                <a:cubicBezTo>
                  <a:pt x="671" y="245"/>
                  <a:pt x="669" y="246"/>
                  <a:pt x="668" y="247"/>
                </a:cubicBezTo>
                <a:cubicBezTo>
                  <a:pt x="667" y="248"/>
                  <a:pt x="666" y="248"/>
                  <a:pt x="665" y="248"/>
                </a:cubicBezTo>
                <a:cubicBezTo>
                  <a:pt x="664" y="248"/>
                  <a:pt x="659" y="249"/>
                  <a:pt x="652" y="253"/>
                </a:cubicBezTo>
                <a:cubicBezTo>
                  <a:pt x="652" y="253"/>
                  <a:pt x="645" y="255"/>
                  <a:pt x="643" y="271"/>
                </a:cubicBezTo>
                <a:cubicBezTo>
                  <a:pt x="640" y="287"/>
                  <a:pt x="637" y="300"/>
                  <a:pt x="637" y="302"/>
                </a:cubicBezTo>
                <a:cubicBezTo>
                  <a:pt x="630" y="302"/>
                  <a:pt x="624" y="302"/>
                  <a:pt x="617" y="301"/>
                </a:cubicBezTo>
                <a:cubicBezTo>
                  <a:pt x="617" y="301"/>
                  <a:pt x="617" y="301"/>
                  <a:pt x="617" y="301"/>
                </a:cubicBezTo>
                <a:cubicBezTo>
                  <a:pt x="616" y="300"/>
                  <a:pt x="618" y="295"/>
                  <a:pt x="618" y="292"/>
                </a:cubicBezTo>
                <a:cubicBezTo>
                  <a:pt x="617" y="289"/>
                  <a:pt x="614" y="283"/>
                  <a:pt x="612" y="281"/>
                </a:cubicBezTo>
                <a:cubicBezTo>
                  <a:pt x="611" y="279"/>
                  <a:pt x="613" y="276"/>
                  <a:pt x="611" y="270"/>
                </a:cubicBezTo>
                <a:cubicBezTo>
                  <a:pt x="609" y="265"/>
                  <a:pt x="602" y="254"/>
                  <a:pt x="599" y="252"/>
                </a:cubicBezTo>
                <a:cubicBezTo>
                  <a:pt x="596" y="250"/>
                  <a:pt x="583" y="244"/>
                  <a:pt x="581" y="242"/>
                </a:cubicBezTo>
                <a:cubicBezTo>
                  <a:pt x="578" y="241"/>
                  <a:pt x="574" y="241"/>
                  <a:pt x="569" y="241"/>
                </a:cubicBezTo>
                <a:cubicBezTo>
                  <a:pt x="565" y="241"/>
                  <a:pt x="559" y="238"/>
                  <a:pt x="557" y="237"/>
                </a:cubicBezTo>
                <a:cubicBezTo>
                  <a:pt x="555" y="237"/>
                  <a:pt x="552" y="238"/>
                  <a:pt x="550" y="238"/>
                </a:cubicBezTo>
                <a:cubicBezTo>
                  <a:pt x="547" y="238"/>
                  <a:pt x="549" y="236"/>
                  <a:pt x="547" y="236"/>
                </a:cubicBezTo>
                <a:cubicBezTo>
                  <a:pt x="546" y="235"/>
                  <a:pt x="546" y="234"/>
                  <a:pt x="545" y="231"/>
                </a:cubicBezTo>
                <a:cubicBezTo>
                  <a:pt x="544" y="229"/>
                  <a:pt x="542" y="225"/>
                  <a:pt x="540" y="222"/>
                </a:cubicBezTo>
                <a:cubicBezTo>
                  <a:pt x="540" y="222"/>
                  <a:pt x="539" y="221"/>
                  <a:pt x="538" y="221"/>
                </a:cubicBezTo>
                <a:cubicBezTo>
                  <a:pt x="538" y="219"/>
                  <a:pt x="537" y="216"/>
                  <a:pt x="538" y="216"/>
                </a:cubicBezTo>
                <a:cubicBezTo>
                  <a:pt x="539" y="215"/>
                  <a:pt x="546" y="207"/>
                  <a:pt x="547" y="204"/>
                </a:cubicBezTo>
                <a:cubicBezTo>
                  <a:pt x="547" y="201"/>
                  <a:pt x="548" y="189"/>
                  <a:pt x="546" y="184"/>
                </a:cubicBezTo>
                <a:cubicBezTo>
                  <a:pt x="545" y="180"/>
                  <a:pt x="544" y="172"/>
                  <a:pt x="543" y="169"/>
                </a:cubicBezTo>
                <a:cubicBezTo>
                  <a:pt x="542" y="166"/>
                  <a:pt x="537" y="156"/>
                  <a:pt x="524" y="156"/>
                </a:cubicBezTo>
                <a:cubicBezTo>
                  <a:pt x="524" y="156"/>
                  <a:pt x="528" y="154"/>
                  <a:pt x="530" y="155"/>
                </a:cubicBezTo>
                <a:cubicBezTo>
                  <a:pt x="530" y="155"/>
                  <a:pt x="527" y="154"/>
                  <a:pt x="523" y="156"/>
                </a:cubicBezTo>
                <a:cubicBezTo>
                  <a:pt x="523" y="156"/>
                  <a:pt x="524" y="154"/>
                  <a:pt x="523" y="152"/>
                </a:cubicBezTo>
                <a:cubicBezTo>
                  <a:pt x="523" y="152"/>
                  <a:pt x="523" y="156"/>
                  <a:pt x="522" y="156"/>
                </a:cubicBezTo>
                <a:cubicBezTo>
                  <a:pt x="521" y="156"/>
                  <a:pt x="519" y="150"/>
                  <a:pt x="515" y="150"/>
                </a:cubicBezTo>
                <a:cubicBezTo>
                  <a:pt x="515" y="150"/>
                  <a:pt x="521" y="155"/>
                  <a:pt x="519" y="155"/>
                </a:cubicBezTo>
                <a:cubicBezTo>
                  <a:pt x="519" y="155"/>
                  <a:pt x="514" y="149"/>
                  <a:pt x="511" y="149"/>
                </a:cubicBezTo>
                <a:cubicBezTo>
                  <a:pt x="508" y="149"/>
                  <a:pt x="502" y="150"/>
                  <a:pt x="498" y="152"/>
                </a:cubicBezTo>
                <a:cubicBezTo>
                  <a:pt x="493" y="155"/>
                  <a:pt x="487" y="157"/>
                  <a:pt x="480" y="165"/>
                </a:cubicBezTo>
                <a:cubicBezTo>
                  <a:pt x="473" y="173"/>
                  <a:pt x="470" y="182"/>
                  <a:pt x="470" y="186"/>
                </a:cubicBezTo>
                <a:cubicBezTo>
                  <a:pt x="470" y="189"/>
                  <a:pt x="471" y="190"/>
                  <a:pt x="472" y="193"/>
                </a:cubicBezTo>
                <a:cubicBezTo>
                  <a:pt x="472" y="193"/>
                  <a:pt x="471" y="188"/>
                  <a:pt x="473" y="187"/>
                </a:cubicBezTo>
                <a:cubicBezTo>
                  <a:pt x="475" y="187"/>
                  <a:pt x="476" y="189"/>
                  <a:pt x="476" y="192"/>
                </a:cubicBezTo>
                <a:cubicBezTo>
                  <a:pt x="476" y="195"/>
                  <a:pt x="475" y="198"/>
                  <a:pt x="476" y="200"/>
                </a:cubicBezTo>
                <a:cubicBezTo>
                  <a:pt x="477" y="202"/>
                  <a:pt x="478" y="204"/>
                  <a:pt x="478" y="205"/>
                </a:cubicBezTo>
                <a:cubicBezTo>
                  <a:pt x="478" y="205"/>
                  <a:pt x="478" y="205"/>
                  <a:pt x="477" y="205"/>
                </a:cubicBezTo>
                <a:cubicBezTo>
                  <a:pt x="477" y="205"/>
                  <a:pt x="478" y="206"/>
                  <a:pt x="479" y="206"/>
                </a:cubicBezTo>
                <a:cubicBezTo>
                  <a:pt x="479" y="205"/>
                  <a:pt x="479" y="207"/>
                  <a:pt x="480" y="208"/>
                </a:cubicBezTo>
                <a:cubicBezTo>
                  <a:pt x="480" y="208"/>
                  <a:pt x="479" y="209"/>
                  <a:pt x="479" y="211"/>
                </a:cubicBezTo>
                <a:cubicBezTo>
                  <a:pt x="478" y="212"/>
                  <a:pt x="479" y="215"/>
                  <a:pt x="480" y="216"/>
                </a:cubicBezTo>
                <a:cubicBezTo>
                  <a:pt x="480" y="218"/>
                  <a:pt x="481" y="221"/>
                  <a:pt x="482" y="222"/>
                </a:cubicBezTo>
                <a:cubicBezTo>
                  <a:pt x="483" y="223"/>
                  <a:pt x="485" y="226"/>
                  <a:pt x="486" y="227"/>
                </a:cubicBezTo>
                <a:cubicBezTo>
                  <a:pt x="486" y="229"/>
                  <a:pt x="486" y="229"/>
                  <a:pt x="487" y="231"/>
                </a:cubicBezTo>
                <a:cubicBezTo>
                  <a:pt x="488" y="232"/>
                  <a:pt x="489" y="235"/>
                  <a:pt x="491" y="236"/>
                </a:cubicBezTo>
                <a:cubicBezTo>
                  <a:pt x="492" y="236"/>
                  <a:pt x="492" y="237"/>
                  <a:pt x="492" y="238"/>
                </a:cubicBezTo>
                <a:cubicBezTo>
                  <a:pt x="492" y="238"/>
                  <a:pt x="491" y="238"/>
                  <a:pt x="491" y="239"/>
                </a:cubicBezTo>
                <a:cubicBezTo>
                  <a:pt x="489" y="239"/>
                  <a:pt x="476" y="241"/>
                  <a:pt x="471" y="241"/>
                </a:cubicBezTo>
                <a:cubicBezTo>
                  <a:pt x="466" y="242"/>
                  <a:pt x="463" y="242"/>
                  <a:pt x="461" y="243"/>
                </a:cubicBezTo>
                <a:cubicBezTo>
                  <a:pt x="458" y="243"/>
                  <a:pt x="456" y="245"/>
                  <a:pt x="454" y="246"/>
                </a:cubicBezTo>
                <a:cubicBezTo>
                  <a:pt x="452" y="247"/>
                  <a:pt x="449" y="249"/>
                  <a:pt x="447" y="250"/>
                </a:cubicBezTo>
                <a:cubicBezTo>
                  <a:pt x="445" y="251"/>
                  <a:pt x="445" y="250"/>
                  <a:pt x="442" y="252"/>
                </a:cubicBezTo>
                <a:cubicBezTo>
                  <a:pt x="442" y="252"/>
                  <a:pt x="442" y="252"/>
                  <a:pt x="441" y="252"/>
                </a:cubicBezTo>
                <a:cubicBezTo>
                  <a:pt x="442" y="251"/>
                  <a:pt x="442" y="250"/>
                  <a:pt x="441" y="250"/>
                </a:cubicBezTo>
                <a:cubicBezTo>
                  <a:pt x="441" y="249"/>
                  <a:pt x="439" y="247"/>
                  <a:pt x="439" y="246"/>
                </a:cubicBezTo>
                <a:cubicBezTo>
                  <a:pt x="438" y="246"/>
                  <a:pt x="438" y="246"/>
                  <a:pt x="438" y="246"/>
                </a:cubicBezTo>
                <a:cubicBezTo>
                  <a:pt x="438" y="246"/>
                  <a:pt x="439" y="246"/>
                  <a:pt x="439" y="246"/>
                </a:cubicBezTo>
                <a:cubicBezTo>
                  <a:pt x="441" y="236"/>
                  <a:pt x="441" y="236"/>
                  <a:pt x="441" y="236"/>
                </a:cubicBezTo>
                <a:cubicBezTo>
                  <a:pt x="441" y="236"/>
                  <a:pt x="444" y="229"/>
                  <a:pt x="445" y="228"/>
                </a:cubicBezTo>
                <a:cubicBezTo>
                  <a:pt x="447" y="226"/>
                  <a:pt x="448" y="223"/>
                  <a:pt x="449" y="221"/>
                </a:cubicBezTo>
                <a:cubicBezTo>
                  <a:pt x="449" y="219"/>
                  <a:pt x="449" y="214"/>
                  <a:pt x="448" y="211"/>
                </a:cubicBezTo>
                <a:cubicBezTo>
                  <a:pt x="448" y="209"/>
                  <a:pt x="447" y="201"/>
                  <a:pt x="448" y="200"/>
                </a:cubicBezTo>
                <a:cubicBezTo>
                  <a:pt x="449" y="198"/>
                  <a:pt x="449" y="196"/>
                  <a:pt x="449" y="194"/>
                </a:cubicBezTo>
                <a:cubicBezTo>
                  <a:pt x="448" y="191"/>
                  <a:pt x="449" y="187"/>
                  <a:pt x="447" y="184"/>
                </a:cubicBezTo>
                <a:cubicBezTo>
                  <a:pt x="446" y="181"/>
                  <a:pt x="444" y="181"/>
                  <a:pt x="443" y="177"/>
                </a:cubicBezTo>
                <a:cubicBezTo>
                  <a:pt x="442" y="173"/>
                  <a:pt x="441" y="167"/>
                  <a:pt x="441" y="164"/>
                </a:cubicBezTo>
                <a:cubicBezTo>
                  <a:pt x="440" y="161"/>
                  <a:pt x="431" y="146"/>
                  <a:pt x="430" y="142"/>
                </a:cubicBezTo>
                <a:cubicBezTo>
                  <a:pt x="428" y="137"/>
                  <a:pt x="418" y="111"/>
                  <a:pt x="414" y="105"/>
                </a:cubicBezTo>
                <a:cubicBezTo>
                  <a:pt x="410" y="100"/>
                  <a:pt x="404" y="91"/>
                  <a:pt x="402" y="89"/>
                </a:cubicBezTo>
                <a:cubicBezTo>
                  <a:pt x="399" y="87"/>
                  <a:pt x="378" y="80"/>
                  <a:pt x="369" y="78"/>
                </a:cubicBezTo>
                <a:cubicBezTo>
                  <a:pt x="359" y="76"/>
                  <a:pt x="357" y="73"/>
                  <a:pt x="355" y="72"/>
                </a:cubicBezTo>
                <a:cubicBezTo>
                  <a:pt x="353" y="71"/>
                  <a:pt x="353" y="66"/>
                  <a:pt x="350" y="65"/>
                </a:cubicBezTo>
                <a:cubicBezTo>
                  <a:pt x="350" y="60"/>
                  <a:pt x="350" y="60"/>
                  <a:pt x="350" y="60"/>
                </a:cubicBezTo>
                <a:cubicBezTo>
                  <a:pt x="350" y="60"/>
                  <a:pt x="354" y="58"/>
                  <a:pt x="355" y="56"/>
                </a:cubicBezTo>
                <a:cubicBezTo>
                  <a:pt x="357" y="54"/>
                  <a:pt x="356" y="44"/>
                  <a:pt x="356" y="41"/>
                </a:cubicBezTo>
                <a:cubicBezTo>
                  <a:pt x="356" y="38"/>
                  <a:pt x="355" y="40"/>
                  <a:pt x="355" y="40"/>
                </a:cubicBezTo>
                <a:cubicBezTo>
                  <a:pt x="355" y="40"/>
                  <a:pt x="355" y="28"/>
                  <a:pt x="355" y="24"/>
                </a:cubicBezTo>
                <a:cubicBezTo>
                  <a:pt x="354" y="20"/>
                  <a:pt x="348" y="0"/>
                  <a:pt x="327" y="1"/>
                </a:cubicBezTo>
                <a:cubicBezTo>
                  <a:pt x="317" y="2"/>
                  <a:pt x="307" y="9"/>
                  <a:pt x="302" y="19"/>
                </a:cubicBezTo>
                <a:cubicBezTo>
                  <a:pt x="298" y="28"/>
                  <a:pt x="298" y="29"/>
                  <a:pt x="299" y="32"/>
                </a:cubicBezTo>
                <a:cubicBezTo>
                  <a:pt x="301" y="34"/>
                  <a:pt x="301" y="40"/>
                  <a:pt x="302" y="42"/>
                </a:cubicBezTo>
                <a:cubicBezTo>
                  <a:pt x="303" y="44"/>
                  <a:pt x="302" y="47"/>
                  <a:pt x="302" y="47"/>
                </a:cubicBezTo>
                <a:cubicBezTo>
                  <a:pt x="298" y="54"/>
                  <a:pt x="298" y="54"/>
                  <a:pt x="298" y="54"/>
                </a:cubicBezTo>
                <a:cubicBezTo>
                  <a:pt x="298" y="54"/>
                  <a:pt x="300" y="55"/>
                  <a:pt x="301" y="57"/>
                </a:cubicBezTo>
                <a:cubicBezTo>
                  <a:pt x="302" y="58"/>
                  <a:pt x="302" y="61"/>
                  <a:pt x="303" y="62"/>
                </a:cubicBezTo>
                <a:cubicBezTo>
                  <a:pt x="304" y="63"/>
                  <a:pt x="305" y="66"/>
                  <a:pt x="306" y="68"/>
                </a:cubicBezTo>
                <a:cubicBezTo>
                  <a:pt x="307" y="69"/>
                  <a:pt x="308" y="72"/>
                  <a:pt x="310" y="75"/>
                </a:cubicBezTo>
                <a:cubicBezTo>
                  <a:pt x="307" y="76"/>
                  <a:pt x="297" y="82"/>
                  <a:pt x="293" y="84"/>
                </a:cubicBezTo>
                <a:cubicBezTo>
                  <a:pt x="287" y="87"/>
                  <a:pt x="280" y="93"/>
                  <a:pt x="277" y="94"/>
                </a:cubicBezTo>
                <a:cubicBezTo>
                  <a:pt x="275" y="95"/>
                  <a:pt x="268" y="99"/>
                  <a:pt x="266" y="100"/>
                </a:cubicBezTo>
                <a:cubicBezTo>
                  <a:pt x="264" y="102"/>
                  <a:pt x="260" y="105"/>
                  <a:pt x="260" y="110"/>
                </a:cubicBezTo>
                <a:cubicBezTo>
                  <a:pt x="260" y="115"/>
                  <a:pt x="256" y="119"/>
                  <a:pt x="255" y="122"/>
                </a:cubicBezTo>
                <a:cubicBezTo>
                  <a:pt x="254" y="125"/>
                  <a:pt x="250" y="140"/>
                  <a:pt x="248" y="144"/>
                </a:cubicBezTo>
                <a:cubicBezTo>
                  <a:pt x="246" y="148"/>
                  <a:pt x="241" y="164"/>
                  <a:pt x="236" y="169"/>
                </a:cubicBezTo>
                <a:cubicBezTo>
                  <a:pt x="230" y="175"/>
                  <a:pt x="221" y="191"/>
                  <a:pt x="218" y="197"/>
                </a:cubicBezTo>
                <a:cubicBezTo>
                  <a:pt x="216" y="202"/>
                  <a:pt x="215" y="207"/>
                  <a:pt x="212" y="212"/>
                </a:cubicBezTo>
                <a:cubicBezTo>
                  <a:pt x="209" y="216"/>
                  <a:pt x="207" y="222"/>
                  <a:pt x="208" y="225"/>
                </a:cubicBezTo>
                <a:cubicBezTo>
                  <a:pt x="208" y="226"/>
                  <a:pt x="209" y="228"/>
                  <a:pt x="210" y="230"/>
                </a:cubicBezTo>
                <a:cubicBezTo>
                  <a:pt x="208" y="229"/>
                  <a:pt x="207" y="229"/>
                  <a:pt x="206" y="229"/>
                </a:cubicBezTo>
                <a:cubicBezTo>
                  <a:pt x="204" y="229"/>
                  <a:pt x="201" y="230"/>
                  <a:pt x="201" y="230"/>
                </a:cubicBezTo>
                <a:cubicBezTo>
                  <a:pt x="200" y="230"/>
                  <a:pt x="200" y="230"/>
                  <a:pt x="200" y="230"/>
                </a:cubicBezTo>
                <a:cubicBezTo>
                  <a:pt x="200" y="230"/>
                  <a:pt x="199" y="230"/>
                  <a:pt x="199" y="230"/>
                </a:cubicBezTo>
                <a:cubicBezTo>
                  <a:pt x="199" y="230"/>
                  <a:pt x="189" y="230"/>
                  <a:pt x="188" y="230"/>
                </a:cubicBezTo>
                <a:cubicBezTo>
                  <a:pt x="186" y="230"/>
                  <a:pt x="186" y="231"/>
                  <a:pt x="185" y="231"/>
                </a:cubicBezTo>
                <a:cubicBezTo>
                  <a:pt x="184" y="231"/>
                  <a:pt x="182" y="231"/>
                  <a:pt x="179" y="232"/>
                </a:cubicBezTo>
                <a:cubicBezTo>
                  <a:pt x="177" y="233"/>
                  <a:pt x="177" y="233"/>
                  <a:pt x="173" y="233"/>
                </a:cubicBezTo>
                <a:cubicBezTo>
                  <a:pt x="169" y="234"/>
                  <a:pt x="167" y="233"/>
                  <a:pt x="165" y="233"/>
                </a:cubicBezTo>
                <a:cubicBezTo>
                  <a:pt x="164" y="233"/>
                  <a:pt x="158" y="233"/>
                  <a:pt x="157" y="233"/>
                </a:cubicBezTo>
                <a:cubicBezTo>
                  <a:pt x="156" y="233"/>
                  <a:pt x="154" y="232"/>
                  <a:pt x="153" y="232"/>
                </a:cubicBezTo>
                <a:cubicBezTo>
                  <a:pt x="152" y="231"/>
                  <a:pt x="152" y="233"/>
                  <a:pt x="150" y="232"/>
                </a:cubicBezTo>
                <a:cubicBezTo>
                  <a:pt x="149" y="232"/>
                  <a:pt x="149" y="232"/>
                  <a:pt x="146" y="231"/>
                </a:cubicBezTo>
                <a:cubicBezTo>
                  <a:pt x="145" y="231"/>
                  <a:pt x="143" y="231"/>
                  <a:pt x="142" y="231"/>
                </a:cubicBezTo>
                <a:cubicBezTo>
                  <a:pt x="142" y="231"/>
                  <a:pt x="141" y="230"/>
                  <a:pt x="140" y="228"/>
                </a:cubicBezTo>
                <a:cubicBezTo>
                  <a:pt x="137" y="225"/>
                  <a:pt x="128" y="221"/>
                  <a:pt x="127" y="220"/>
                </a:cubicBezTo>
                <a:cubicBezTo>
                  <a:pt x="126" y="220"/>
                  <a:pt x="129" y="219"/>
                  <a:pt x="129" y="219"/>
                </a:cubicBezTo>
                <a:cubicBezTo>
                  <a:pt x="129" y="219"/>
                  <a:pt x="121" y="207"/>
                  <a:pt x="114" y="207"/>
                </a:cubicBezTo>
                <a:cubicBezTo>
                  <a:pt x="114" y="207"/>
                  <a:pt x="114" y="207"/>
                  <a:pt x="114" y="208"/>
                </a:cubicBezTo>
                <a:cubicBezTo>
                  <a:pt x="113" y="207"/>
                  <a:pt x="113" y="206"/>
                  <a:pt x="112" y="206"/>
                </a:cubicBezTo>
                <a:cubicBezTo>
                  <a:pt x="110" y="204"/>
                  <a:pt x="109" y="202"/>
                  <a:pt x="108" y="201"/>
                </a:cubicBezTo>
                <a:cubicBezTo>
                  <a:pt x="108" y="198"/>
                  <a:pt x="109" y="194"/>
                  <a:pt x="112" y="193"/>
                </a:cubicBezTo>
                <a:cubicBezTo>
                  <a:pt x="116" y="192"/>
                  <a:pt x="126" y="189"/>
                  <a:pt x="131" y="185"/>
                </a:cubicBezTo>
                <a:cubicBezTo>
                  <a:pt x="131" y="185"/>
                  <a:pt x="136" y="181"/>
                  <a:pt x="130" y="178"/>
                </a:cubicBezTo>
                <a:cubicBezTo>
                  <a:pt x="130" y="178"/>
                  <a:pt x="129" y="174"/>
                  <a:pt x="131" y="174"/>
                </a:cubicBezTo>
                <a:cubicBezTo>
                  <a:pt x="133" y="173"/>
                  <a:pt x="131" y="172"/>
                  <a:pt x="131" y="172"/>
                </a:cubicBezTo>
                <a:cubicBezTo>
                  <a:pt x="131" y="171"/>
                  <a:pt x="129" y="171"/>
                  <a:pt x="129" y="171"/>
                </a:cubicBezTo>
                <a:cubicBezTo>
                  <a:pt x="129" y="171"/>
                  <a:pt x="129" y="169"/>
                  <a:pt x="130" y="169"/>
                </a:cubicBezTo>
                <a:cubicBezTo>
                  <a:pt x="131" y="168"/>
                  <a:pt x="131" y="167"/>
                  <a:pt x="131" y="167"/>
                </a:cubicBezTo>
                <a:cubicBezTo>
                  <a:pt x="131" y="166"/>
                  <a:pt x="131" y="166"/>
                  <a:pt x="130" y="164"/>
                </a:cubicBezTo>
                <a:cubicBezTo>
                  <a:pt x="129" y="163"/>
                  <a:pt x="128" y="162"/>
                  <a:pt x="129" y="161"/>
                </a:cubicBezTo>
                <a:cubicBezTo>
                  <a:pt x="129" y="160"/>
                  <a:pt x="132" y="158"/>
                  <a:pt x="133" y="158"/>
                </a:cubicBezTo>
                <a:cubicBezTo>
                  <a:pt x="134" y="157"/>
                  <a:pt x="135" y="156"/>
                  <a:pt x="134" y="155"/>
                </a:cubicBezTo>
                <a:cubicBezTo>
                  <a:pt x="133" y="154"/>
                  <a:pt x="130" y="151"/>
                  <a:pt x="128" y="150"/>
                </a:cubicBezTo>
                <a:cubicBezTo>
                  <a:pt x="125" y="148"/>
                  <a:pt x="122" y="147"/>
                  <a:pt x="121" y="147"/>
                </a:cubicBezTo>
                <a:cubicBezTo>
                  <a:pt x="121" y="146"/>
                  <a:pt x="119" y="144"/>
                  <a:pt x="119" y="144"/>
                </a:cubicBezTo>
                <a:cubicBezTo>
                  <a:pt x="119" y="144"/>
                  <a:pt x="119" y="142"/>
                  <a:pt x="119" y="141"/>
                </a:cubicBezTo>
                <a:cubicBezTo>
                  <a:pt x="120" y="140"/>
                  <a:pt x="119" y="140"/>
                  <a:pt x="119" y="139"/>
                </a:cubicBezTo>
                <a:cubicBezTo>
                  <a:pt x="118" y="139"/>
                  <a:pt x="114" y="135"/>
                  <a:pt x="114" y="134"/>
                </a:cubicBezTo>
                <a:cubicBezTo>
                  <a:pt x="113" y="133"/>
                  <a:pt x="108" y="127"/>
                  <a:pt x="104" y="124"/>
                </a:cubicBezTo>
                <a:cubicBezTo>
                  <a:pt x="98" y="120"/>
                  <a:pt x="104" y="110"/>
                  <a:pt x="97" y="108"/>
                </a:cubicBezTo>
                <a:cubicBezTo>
                  <a:pt x="90" y="106"/>
                  <a:pt x="90" y="108"/>
                  <a:pt x="89" y="108"/>
                </a:cubicBezTo>
                <a:cubicBezTo>
                  <a:pt x="87" y="109"/>
                  <a:pt x="85" y="107"/>
                  <a:pt x="81" y="107"/>
                </a:cubicBezTo>
                <a:cubicBezTo>
                  <a:pt x="78" y="108"/>
                  <a:pt x="79" y="109"/>
                  <a:pt x="78" y="110"/>
                </a:cubicBezTo>
                <a:cubicBezTo>
                  <a:pt x="77" y="111"/>
                  <a:pt x="75" y="109"/>
                  <a:pt x="72" y="109"/>
                </a:cubicBezTo>
                <a:cubicBezTo>
                  <a:pt x="70" y="109"/>
                  <a:pt x="66" y="112"/>
                  <a:pt x="63" y="112"/>
                </a:cubicBezTo>
                <a:cubicBezTo>
                  <a:pt x="61" y="111"/>
                  <a:pt x="60" y="109"/>
                  <a:pt x="59" y="111"/>
                </a:cubicBezTo>
                <a:cubicBezTo>
                  <a:pt x="58" y="112"/>
                  <a:pt x="60" y="113"/>
                  <a:pt x="57" y="114"/>
                </a:cubicBezTo>
                <a:cubicBezTo>
                  <a:pt x="55" y="115"/>
                  <a:pt x="53" y="113"/>
                  <a:pt x="51" y="116"/>
                </a:cubicBezTo>
                <a:cubicBezTo>
                  <a:pt x="49" y="119"/>
                  <a:pt x="40" y="122"/>
                  <a:pt x="38" y="132"/>
                </a:cubicBezTo>
                <a:cubicBezTo>
                  <a:pt x="35" y="142"/>
                  <a:pt x="33" y="147"/>
                  <a:pt x="35" y="148"/>
                </a:cubicBezTo>
                <a:cubicBezTo>
                  <a:pt x="36" y="150"/>
                  <a:pt x="35" y="150"/>
                  <a:pt x="36" y="153"/>
                </a:cubicBezTo>
                <a:cubicBezTo>
                  <a:pt x="38" y="155"/>
                  <a:pt x="38" y="154"/>
                  <a:pt x="39" y="157"/>
                </a:cubicBezTo>
                <a:cubicBezTo>
                  <a:pt x="39" y="159"/>
                  <a:pt x="39" y="159"/>
                  <a:pt x="40" y="164"/>
                </a:cubicBezTo>
                <a:cubicBezTo>
                  <a:pt x="41" y="169"/>
                  <a:pt x="41" y="167"/>
                  <a:pt x="42" y="169"/>
                </a:cubicBezTo>
                <a:cubicBezTo>
                  <a:pt x="44" y="170"/>
                  <a:pt x="42" y="170"/>
                  <a:pt x="43" y="172"/>
                </a:cubicBezTo>
                <a:cubicBezTo>
                  <a:pt x="45" y="174"/>
                  <a:pt x="45" y="173"/>
                  <a:pt x="46" y="176"/>
                </a:cubicBezTo>
                <a:cubicBezTo>
                  <a:pt x="47" y="179"/>
                  <a:pt x="49" y="180"/>
                  <a:pt x="50" y="183"/>
                </a:cubicBezTo>
                <a:cubicBezTo>
                  <a:pt x="52" y="186"/>
                  <a:pt x="52" y="185"/>
                  <a:pt x="54" y="187"/>
                </a:cubicBezTo>
                <a:cubicBezTo>
                  <a:pt x="57" y="189"/>
                  <a:pt x="56" y="189"/>
                  <a:pt x="59" y="189"/>
                </a:cubicBezTo>
                <a:cubicBezTo>
                  <a:pt x="59" y="189"/>
                  <a:pt x="59" y="190"/>
                  <a:pt x="60" y="190"/>
                </a:cubicBezTo>
                <a:cubicBezTo>
                  <a:pt x="59" y="189"/>
                  <a:pt x="59" y="189"/>
                  <a:pt x="59" y="189"/>
                </a:cubicBezTo>
                <a:cubicBezTo>
                  <a:pt x="60" y="190"/>
                  <a:pt x="60" y="190"/>
                  <a:pt x="61" y="190"/>
                </a:cubicBezTo>
                <a:cubicBezTo>
                  <a:pt x="59" y="190"/>
                  <a:pt x="58" y="190"/>
                  <a:pt x="58" y="190"/>
                </a:cubicBezTo>
                <a:cubicBezTo>
                  <a:pt x="58" y="196"/>
                  <a:pt x="58" y="196"/>
                  <a:pt x="58" y="196"/>
                </a:cubicBezTo>
                <a:cubicBezTo>
                  <a:pt x="58" y="196"/>
                  <a:pt x="55" y="197"/>
                  <a:pt x="48" y="200"/>
                </a:cubicBezTo>
                <a:cubicBezTo>
                  <a:pt x="42" y="204"/>
                  <a:pt x="34" y="223"/>
                  <a:pt x="31" y="230"/>
                </a:cubicBezTo>
                <a:cubicBezTo>
                  <a:pt x="29" y="237"/>
                  <a:pt x="37" y="257"/>
                  <a:pt x="38" y="262"/>
                </a:cubicBezTo>
                <a:cubicBezTo>
                  <a:pt x="38" y="266"/>
                  <a:pt x="39" y="269"/>
                  <a:pt x="40" y="273"/>
                </a:cubicBezTo>
                <a:cubicBezTo>
                  <a:pt x="29" y="271"/>
                  <a:pt x="20" y="269"/>
                  <a:pt x="18" y="269"/>
                </a:cubicBezTo>
                <a:cubicBezTo>
                  <a:pt x="15" y="268"/>
                  <a:pt x="6" y="271"/>
                  <a:pt x="3" y="273"/>
                </a:cubicBezTo>
                <a:cubicBezTo>
                  <a:pt x="0" y="275"/>
                  <a:pt x="12" y="327"/>
                  <a:pt x="18" y="363"/>
                </a:cubicBezTo>
                <a:cubicBezTo>
                  <a:pt x="21" y="378"/>
                  <a:pt x="21" y="397"/>
                  <a:pt x="20" y="414"/>
                </a:cubicBezTo>
                <a:cubicBezTo>
                  <a:pt x="19" y="424"/>
                  <a:pt x="18" y="433"/>
                  <a:pt x="17" y="441"/>
                </a:cubicBezTo>
                <a:cubicBezTo>
                  <a:pt x="16" y="450"/>
                  <a:pt x="16" y="456"/>
                  <a:pt x="16" y="456"/>
                </a:cubicBezTo>
                <a:cubicBezTo>
                  <a:pt x="16" y="457"/>
                  <a:pt x="83" y="462"/>
                  <a:pt x="127" y="464"/>
                </a:cubicBezTo>
                <a:cubicBezTo>
                  <a:pt x="105" y="467"/>
                  <a:pt x="105" y="467"/>
                  <a:pt x="105" y="467"/>
                </a:cubicBezTo>
                <a:cubicBezTo>
                  <a:pt x="105" y="469"/>
                  <a:pt x="105" y="469"/>
                  <a:pt x="105" y="469"/>
                </a:cubicBezTo>
                <a:cubicBezTo>
                  <a:pt x="105" y="469"/>
                  <a:pt x="136" y="470"/>
                  <a:pt x="137" y="470"/>
                </a:cubicBezTo>
                <a:cubicBezTo>
                  <a:pt x="138" y="470"/>
                  <a:pt x="136" y="518"/>
                  <a:pt x="136" y="518"/>
                </a:cubicBezTo>
                <a:cubicBezTo>
                  <a:pt x="134" y="520"/>
                  <a:pt x="134" y="520"/>
                  <a:pt x="134" y="520"/>
                </a:cubicBezTo>
                <a:cubicBezTo>
                  <a:pt x="30" y="527"/>
                  <a:pt x="30" y="527"/>
                  <a:pt x="30" y="527"/>
                </a:cubicBezTo>
                <a:cubicBezTo>
                  <a:pt x="30" y="527"/>
                  <a:pt x="26" y="532"/>
                  <a:pt x="27" y="535"/>
                </a:cubicBezTo>
                <a:cubicBezTo>
                  <a:pt x="25" y="537"/>
                  <a:pt x="25" y="537"/>
                  <a:pt x="25" y="537"/>
                </a:cubicBezTo>
                <a:cubicBezTo>
                  <a:pt x="25" y="537"/>
                  <a:pt x="21" y="544"/>
                  <a:pt x="30" y="544"/>
                </a:cubicBezTo>
                <a:cubicBezTo>
                  <a:pt x="30" y="544"/>
                  <a:pt x="35" y="544"/>
                  <a:pt x="35" y="538"/>
                </a:cubicBezTo>
                <a:cubicBezTo>
                  <a:pt x="32" y="537"/>
                  <a:pt x="32" y="537"/>
                  <a:pt x="32" y="537"/>
                </a:cubicBezTo>
                <a:cubicBezTo>
                  <a:pt x="32" y="532"/>
                  <a:pt x="32" y="532"/>
                  <a:pt x="32" y="532"/>
                </a:cubicBezTo>
                <a:cubicBezTo>
                  <a:pt x="86" y="533"/>
                  <a:pt x="86" y="533"/>
                  <a:pt x="86" y="533"/>
                </a:cubicBezTo>
                <a:cubicBezTo>
                  <a:pt x="87" y="537"/>
                  <a:pt x="87" y="537"/>
                  <a:pt x="87" y="537"/>
                </a:cubicBezTo>
                <a:cubicBezTo>
                  <a:pt x="87" y="537"/>
                  <a:pt x="83" y="539"/>
                  <a:pt x="83" y="540"/>
                </a:cubicBezTo>
                <a:cubicBezTo>
                  <a:pt x="84" y="541"/>
                  <a:pt x="83" y="544"/>
                  <a:pt x="88" y="544"/>
                </a:cubicBezTo>
                <a:cubicBezTo>
                  <a:pt x="94" y="544"/>
                  <a:pt x="96" y="541"/>
                  <a:pt x="96" y="541"/>
                </a:cubicBezTo>
                <a:cubicBezTo>
                  <a:pt x="95" y="539"/>
                  <a:pt x="95" y="539"/>
                  <a:pt x="95" y="539"/>
                </a:cubicBezTo>
                <a:cubicBezTo>
                  <a:pt x="92" y="537"/>
                  <a:pt x="92" y="537"/>
                  <a:pt x="92" y="537"/>
                </a:cubicBezTo>
                <a:cubicBezTo>
                  <a:pt x="92" y="537"/>
                  <a:pt x="91" y="533"/>
                  <a:pt x="94" y="533"/>
                </a:cubicBezTo>
                <a:cubicBezTo>
                  <a:pt x="97" y="532"/>
                  <a:pt x="131" y="533"/>
                  <a:pt x="140" y="533"/>
                </a:cubicBezTo>
                <a:cubicBezTo>
                  <a:pt x="142" y="533"/>
                  <a:pt x="145" y="533"/>
                  <a:pt x="149" y="533"/>
                </a:cubicBezTo>
                <a:cubicBezTo>
                  <a:pt x="152" y="533"/>
                  <a:pt x="154" y="534"/>
                  <a:pt x="156" y="535"/>
                </a:cubicBezTo>
                <a:cubicBezTo>
                  <a:pt x="160" y="536"/>
                  <a:pt x="172" y="538"/>
                  <a:pt x="173" y="539"/>
                </a:cubicBezTo>
                <a:cubicBezTo>
                  <a:pt x="174" y="539"/>
                  <a:pt x="191" y="541"/>
                  <a:pt x="198" y="541"/>
                </a:cubicBezTo>
                <a:cubicBezTo>
                  <a:pt x="204" y="541"/>
                  <a:pt x="212" y="541"/>
                  <a:pt x="214" y="539"/>
                </a:cubicBezTo>
                <a:cubicBezTo>
                  <a:pt x="214" y="538"/>
                  <a:pt x="214" y="536"/>
                  <a:pt x="214" y="534"/>
                </a:cubicBezTo>
                <a:cubicBezTo>
                  <a:pt x="229" y="537"/>
                  <a:pt x="229" y="537"/>
                  <a:pt x="229" y="537"/>
                </a:cubicBezTo>
                <a:cubicBezTo>
                  <a:pt x="229" y="537"/>
                  <a:pt x="230" y="534"/>
                  <a:pt x="230" y="533"/>
                </a:cubicBezTo>
                <a:cubicBezTo>
                  <a:pt x="231" y="533"/>
                  <a:pt x="237" y="535"/>
                  <a:pt x="241" y="538"/>
                </a:cubicBezTo>
                <a:cubicBezTo>
                  <a:pt x="242" y="540"/>
                  <a:pt x="249" y="540"/>
                  <a:pt x="255" y="541"/>
                </a:cubicBezTo>
                <a:cubicBezTo>
                  <a:pt x="256" y="542"/>
                  <a:pt x="257" y="542"/>
                  <a:pt x="257" y="542"/>
                </a:cubicBezTo>
                <a:cubicBezTo>
                  <a:pt x="257" y="542"/>
                  <a:pt x="259" y="542"/>
                  <a:pt x="262" y="542"/>
                </a:cubicBezTo>
                <a:cubicBezTo>
                  <a:pt x="268" y="542"/>
                  <a:pt x="273" y="542"/>
                  <a:pt x="275" y="542"/>
                </a:cubicBezTo>
                <a:cubicBezTo>
                  <a:pt x="276" y="542"/>
                  <a:pt x="278" y="542"/>
                  <a:pt x="279" y="542"/>
                </a:cubicBezTo>
                <a:cubicBezTo>
                  <a:pt x="288" y="541"/>
                  <a:pt x="298" y="541"/>
                  <a:pt x="298" y="541"/>
                </a:cubicBezTo>
                <a:cubicBezTo>
                  <a:pt x="299" y="541"/>
                  <a:pt x="300" y="531"/>
                  <a:pt x="300" y="531"/>
                </a:cubicBezTo>
                <a:cubicBezTo>
                  <a:pt x="301" y="515"/>
                  <a:pt x="301" y="515"/>
                  <a:pt x="301" y="515"/>
                </a:cubicBezTo>
                <a:cubicBezTo>
                  <a:pt x="304" y="498"/>
                  <a:pt x="304" y="498"/>
                  <a:pt x="304" y="498"/>
                </a:cubicBezTo>
                <a:cubicBezTo>
                  <a:pt x="304" y="498"/>
                  <a:pt x="313" y="481"/>
                  <a:pt x="315" y="475"/>
                </a:cubicBezTo>
                <a:cubicBezTo>
                  <a:pt x="316" y="469"/>
                  <a:pt x="318" y="437"/>
                  <a:pt x="318" y="434"/>
                </a:cubicBezTo>
                <a:cubicBezTo>
                  <a:pt x="319" y="431"/>
                  <a:pt x="332" y="392"/>
                  <a:pt x="332" y="389"/>
                </a:cubicBezTo>
                <a:cubicBezTo>
                  <a:pt x="333" y="387"/>
                  <a:pt x="333" y="366"/>
                  <a:pt x="333" y="361"/>
                </a:cubicBezTo>
                <a:cubicBezTo>
                  <a:pt x="334" y="356"/>
                  <a:pt x="339" y="333"/>
                  <a:pt x="338" y="330"/>
                </a:cubicBezTo>
                <a:cubicBezTo>
                  <a:pt x="338" y="326"/>
                  <a:pt x="339" y="316"/>
                  <a:pt x="341" y="312"/>
                </a:cubicBezTo>
                <a:cubicBezTo>
                  <a:pt x="342" y="309"/>
                  <a:pt x="346" y="300"/>
                  <a:pt x="347" y="297"/>
                </a:cubicBezTo>
                <a:cubicBezTo>
                  <a:pt x="349" y="293"/>
                  <a:pt x="349" y="290"/>
                  <a:pt x="350" y="291"/>
                </a:cubicBezTo>
                <a:cubicBezTo>
                  <a:pt x="351" y="291"/>
                  <a:pt x="351" y="292"/>
                  <a:pt x="351" y="292"/>
                </a:cubicBezTo>
                <a:cubicBezTo>
                  <a:pt x="351" y="292"/>
                  <a:pt x="351" y="293"/>
                  <a:pt x="351" y="293"/>
                </a:cubicBezTo>
                <a:cubicBezTo>
                  <a:pt x="351" y="295"/>
                  <a:pt x="351" y="300"/>
                  <a:pt x="350" y="304"/>
                </a:cubicBezTo>
                <a:cubicBezTo>
                  <a:pt x="349" y="309"/>
                  <a:pt x="348" y="313"/>
                  <a:pt x="349" y="317"/>
                </a:cubicBezTo>
                <a:cubicBezTo>
                  <a:pt x="349" y="317"/>
                  <a:pt x="349" y="317"/>
                  <a:pt x="349" y="317"/>
                </a:cubicBezTo>
                <a:cubicBezTo>
                  <a:pt x="349" y="318"/>
                  <a:pt x="350" y="319"/>
                  <a:pt x="351" y="320"/>
                </a:cubicBezTo>
                <a:cubicBezTo>
                  <a:pt x="354" y="324"/>
                  <a:pt x="355" y="324"/>
                  <a:pt x="356" y="328"/>
                </a:cubicBezTo>
                <a:cubicBezTo>
                  <a:pt x="357" y="331"/>
                  <a:pt x="357" y="336"/>
                  <a:pt x="357" y="339"/>
                </a:cubicBezTo>
                <a:cubicBezTo>
                  <a:pt x="356" y="342"/>
                  <a:pt x="353" y="344"/>
                  <a:pt x="354" y="347"/>
                </a:cubicBezTo>
                <a:cubicBezTo>
                  <a:pt x="355" y="351"/>
                  <a:pt x="357" y="358"/>
                  <a:pt x="357" y="360"/>
                </a:cubicBezTo>
                <a:cubicBezTo>
                  <a:pt x="357" y="361"/>
                  <a:pt x="355" y="389"/>
                  <a:pt x="354" y="396"/>
                </a:cubicBezTo>
                <a:cubicBezTo>
                  <a:pt x="352" y="404"/>
                  <a:pt x="350" y="414"/>
                  <a:pt x="349" y="419"/>
                </a:cubicBezTo>
                <a:cubicBezTo>
                  <a:pt x="348" y="424"/>
                  <a:pt x="347" y="435"/>
                  <a:pt x="346" y="439"/>
                </a:cubicBezTo>
                <a:cubicBezTo>
                  <a:pt x="344" y="443"/>
                  <a:pt x="341" y="447"/>
                  <a:pt x="341" y="451"/>
                </a:cubicBezTo>
                <a:cubicBezTo>
                  <a:pt x="341" y="456"/>
                  <a:pt x="339" y="468"/>
                  <a:pt x="339" y="472"/>
                </a:cubicBezTo>
                <a:cubicBezTo>
                  <a:pt x="340" y="477"/>
                  <a:pt x="340" y="479"/>
                  <a:pt x="340" y="482"/>
                </a:cubicBezTo>
                <a:cubicBezTo>
                  <a:pt x="340" y="485"/>
                  <a:pt x="338" y="484"/>
                  <a:pt x="336" y="488"/>
                </a:cubicBezTo>
                <a:cubicBezTo>
                  <a:pt x="335" y="492"/>
                  <a:pt x="330" y="507"/>
                  <a:pt x="330" y="512"/>
                </a:cubicBezTo>
                <a:cubicBezTo>
                  <a:pt x="331" y="517"/>
                  <a:pt x="329" y="522"/>
                  <a:pt x="328" y="525"/>
                </a:cubicBezTo>
                <a:cubicBezTo>
                  <a:pt x="327" y="529"/>
                  <a:pt x="326" y="538"/>
                  <a:pt x="327" y="538"/>
                </a:cubicBezTo>
                <a:cubicBezTo>
                  <a:pt x="327" y="539"/>
                  <a:pt x="326" y="541"/>
                  <a:pt x="326" y="541"/>
                </a:cubicBezTo>
                <a:cubicBezTo>
                  <a:pt x="326" y="542"/>
                  <a:pt x="340" y="542"/>
                  <a:pt x="356" y="542"/>
                </a:cubicBezTo>
                <a:cubicBezTo>
                  <a:pt x="356" y="542"/>
                  <a:pt x="356" y="542"/>
                  <a:pt x="356" y="543"/>
                </a:cubicBezTo>
                <a:cubicBezTo>
                  <a:pt x="357" y="545"/>
                  <a:pt x="356" y="547"/>
                  <a:pt x="362" y="547"/>
                </a:cubicBezTo>
                <a:cubicBezTo>
                  <a:pt x="368" y="547"/>
                  <a:pt x="437" y="547"/>
                  <a:pt x="437" y="547"/>
                </a:cubicBezTo>
                <a:cubicBezTo>
                  <a:pt x="437" y="547"/>
                  <a:pt x="438" y="542"/>
                  <a:pt x="439" y="538"/>
                </a:cubicBezTo>
                <a:cubicBezTo>
                  <a:pt x="448" y="538"/>
                  <a:pt x="461" y="538"/>
                  <a:pt x="477" y="538"/>
                </a:cubicBezTo>
                <a:cubicBezTo>
                  <a:pt x="501" y="540"/>
                  <a:pt x="501" y="540"/>
                  <a:pt x="501" y="540"/>
                </a:cubicBezTo>
                <a:cubicBezTo>
                  <a:pt x="501" y="540"/>
                  <a:pt x="502" y="540"/>
                  <a:pt x="504" y="540"/>
                </a:cubicBezTo>
                <a:cubicBezTo>
                  <a:pt x="503" y="543"/>
                  <a:pt x="503" y="546"/>
                  <a:pt x="505" y="546"/>
                </a:cubicBezTo>
                <a:cubicBezTo>
                  <a:pt x="509" y="546"/>
                  <a:pt x="540" y="546"/>
                  <a:pt x="540" y="546"/>
                </a:cubicBezTo>
                <a:cubicBezTo>
                  <a:pt x="540" y="546"/>
                  <a:pt x="540" y="544"/>
                  <a:pt x="540" y="541"/>
                </a:cubicBezTo>
                <a:cubicBezTo>
                  <a:pt x="549" y="541"/>
                  <a:pt x="555" y="542"/>
                  <a:pt x="556" y="543"/>
                </a:cubicBezTo>
                <a:cubicBezTo>
                  <a:pt x="556" y="543"/>
                  <a:pt x="558" y="544"/>
                  <a:pt x="558" y="545"/>
                </a:cubicBezTo>
                <a:cubicBezTo>
                  <a:pt x="558" y="547"/>
                  <a:pt x="558" y="547"/>
                  <a:pt x="558" y="547"/>
                </a:cubicBezTo>
                <a:cubicBezTo>
                  <a:pt x="558" y="547"/>
                  <a:pt x="547" y="549"/>
                  <a:pt x="563" y="549"/>
                </a:cubicBezTo>
                <a:cubicBezTo>
                  <a:pt x="563" y="549"/>
                  <a:pt x="571" y="550"/>
                  <a:pt x="572" y="548"/>
                </a:cubicBezTo>
                <a:cubicBezTo>
                  <a:pt x="566" y="547"/>
                  <a:pt x="566" y="547"/>
                  <a:pt x="566" y="547"/>
                </a:cubicBezTo>
                <a:cubicBezTo>
                  <a:pt x="565" y="543"/>
                  <a:pt x="565" y="543"/>
                  <a:pt x="565" y="543"/>
                </a:cubicBezTo>
                <a:cubicBezTo>
                  <a:pt x="568" y="542"/>
                  <a:pt x="568" y="542"/>
                  <a:pt x="568" y="542"/>
                </a:cubicBezTo>
                <a:cubicBezTo>
                  <a:pt x="568" y="542"/>
                  <a:pt x="599" y="541"/>
                  <a:pt x="600" y="541"/>
                </a:cubicBezTo>
                <a:cubicBezTo>
                  <a:pt x="602" y="541"/>
                  <a:pt x="602" y="546"/>
                  <a:pt x="602" y="546"/>
                </a:cubicBezTo>
                <a:cubicBezTo>
                  <a:pt x="602" y="546"/>
                  <a:pt x="598" y="545"/>
                  <a:pt x="598" y="547"/>
                </a:cubicBezTo>
                <a:cubicBezTo>
                  <a:pt x="597" y="548"/>
                  <a:pt x="599" y="549"/>
                  <a:pt x="603" y="549"/>
                </a:cubicBezTo>
                <a:cubicBezTo>
                  <a:pt x="608" y="550"/>
                  <a:pt x="607" y="549"/>
                  <a:pt x="608" y="548"/>
                </a:cubicBezTo>
                <a:cubicBezTo>
                  <a:pt x="608" y="546"/>
                  <a:pt x="606" y="544"/>
                  <a:pt x="606" y="544"/>
                </a:cubicBezTo>
                <a:cubicBezTo>
                  <a:pt x="606" y="544"/>
                  <a:pt x="606" y="541"/>
                  <a:pt x="605" y="539"/>
                </a:cubicBezTo>
                <a:cubicBezTo>
                  <a:pt x="605" y="536"/>
                  <a:pt x="592" y="535"/>
                  <a:pt x="588" y="535"/>
                </a:cubicBezTo>
                <a:cubicBezTo>
                  <a:pt x="585" y="535"/>
                  <a:pt x="556" y="532"/>
                  <a:pt x="556" y="532"/>
                </a:cubicBezTo>
                <a:cubicBezTo>
                  <a:pt x="540" y="530"/>
                  <a:pt x="540" y="530"/>
                  <a:pt x="540" y="530"/>
                </a:cubicBezTo>
                <a:cubicBezTo>
                  <a:pt x="541" y="522"/>
                  <a:pt x="541" y="513"/>
                  <a:pt x="542" y="510"/>
                </a:cubicBezTo>
                <a:cubicBezTo>
                  <a:pt x="544" y="507"/>
                  <a:pt x="550" y="484"/>
                  <a:pt x="554" y="474"/>
                </a:cubicBezTo>
                <a:cubicBezTo>
                  <a:pt x="573" y="474"/>
                  <a:pt x="603" y="474"/>
                  <a:pt x="617" y="473"/>
                </a:cubicBezTo>
                <a:cubicBezTo>
                  <a:pt x="617" y="475"/>
                  <a:pt x="618" y="476"/>
                  <a:pt x="618" y="477"/>
                </a:cubicBezTo>
                <a:cubicBezTo>
                  <a:pt x="622" y="498"/>
                  <a:pt x="619" y="517"/>
                  <a:pt x="618" y="520"/>
                </a:cubicBezTo>
                <a:cubicBezTo>
                  <a:pt x="617" y="522"/>
                  <a:pt x="618" y="525"/>
                  <a:pt x="617" y="527"/>
                </a:cubicBezTo>
                <a:cubicBezTo>
                  <a:pt x="617" y="528"/>
                  <a:pt x="606" y="535"/>
                  <a:pt x="606" y="537"/>
                </a:cubicBezTo>
                <a:cubicBezTo>
                  <a:pt x="605" y="539"/>
                  <a:pt x="607" y="541"/>
                  <a:pt x="607" y="542"/>
                </a:cubicBezTo>
                <a:cubicBezTo>
                  <a:pt x="607" y="543"/>
                  <a:pt x="607" y="544"/>
                  <a:pt x="612" y="545"/>
                </a:cubicBezTo>
                <a:cubicBezTo>
                  <a:pt x="615" y="546"/>
                  <a:pt x="626" y="543"/>
                  <a:pt x="634" y="540"/>
                </a:cubicBezTo>
                <a:cubicBezTo>
                  <a:pt x="634" y="541"/>
                  <a:pt x="635" y="542"/>
                  <a:pt x="635" y="542"/>
                </a:cubicBezTo>
                <a:cubicBezTo>
                  <a:pt x="635" y="542"/>
                  <a:pt x="635" y="542"/>
                  <a:pt x="635" y="542"/>
                </a:cubicBezTo>
                <a:cubicBezTo>
                  <a:pt x="635" y="544"/>
                  <a:pt x="635" y="544"/>
                  <a:pt x="635" y="544"/>
                </a:cubicBezTo>
                <a:cubicBezTo>
                  <a:pt x="635" y="544"/>
                  <a:pt x="633" y="544"/>
                  <a:pt x="633" y="545"/>
                </a:cubicBezTo>
                <a:cubicBezTo>
                  <a:pt x="633" y="546"/>
                  <a:pt x="632" y="546"/>
                  <a:pt x="637" y="546"/>
                </a:cubicBezTo>
                <a:cubicBezTo>
                  <a:pt x="641" y="546"/>
                  <a:pt x="641" y="546"/>
                  <a:pt x="641" y="545"/>
                </a:cubicBezTo>
                <a:cubicBezTo>
                  <a:pt x="641" y="544"/>
                  <a:pt x="638" y="544"/>
                  <a:pt x="638" y="544"/>
                </a:cubicBezTo>
                <a:cubicBezTo>
                  <a:pt x="638" y="542"/>
                  <a:pt x="638" y="542"/>
                  <a:pt x="638" y="542"/>
                </a:cubicBezTo>
                <a:cubicBezTo>
                  <a:pt x="639" y="542"/>
                  <a:pt x="639" y="542"/>
                  <a:pt x="639" y="542"/>
                </a:cubicBezTo>
                <a:cubicBezTo>
                  <a:pt x="639" y="540"/>
                  <a:pt x="639" y="540"/>
                  <a:pt x="639" y="540"/>
                </a:cubicBezTo>
                <a:cubicBezTo>
                  <a:pt x="680" y="540"/>
                  <a:pt x="680" y="540"/>
                  <a:pt x="680" y="540"/>
                </a:cubicBezTo>
                <a:cubicBezTo>
                  <a:pt x="680" y="543"/>
                  <a:pt x="680" y="543"/>
                  <a:pt x="680" y="543"/>
                </a:cubicBezTo>
                <a:cubicBezTo>
                  <a:pt x="681" y="544"/>
                  <a:pt x="681" y="544"/>
                  <a:pt x="681" y="544"/>
                </a:cubicBezTo>
                <a:cubicBezTo>
                  <a:pt x="681" y="544"/>
                  <a:pt x="681" y="544"/>
                  <a:pt x="681" y="544"/>
                </a:cubicBezTo>
                <a:cubicBezTo>
                  <a:pt x="681" y="544"/>
                  <a:pt x="678" y="544"/>
                  <a:pt x="677" y="545"/>
                </a:cubicBezTo>
                <a:cubicBezTo>
                  <a:pt x="677" y="545"/>
                  <a:pt x="678" y="547"/>
                  <a:pt x="683" y="547"/>
                </a:cubicBezTo>
                <a:cubicBezTo>
                  <a:pt x="689" y="547"/>
                  <a:pt x="690" y="545"/>
                  <a:pt x="690" y="545"/>
                </a:cubicBezTo>
                <a:cubicBezTo>
                  <a:pt x="690" y="544"/>
                  <a:pt x="686" y="544"/>
                  <a:pt x="686" y="544"/>
                </a:cubicBezTo>
                <a:cubicBezTo>
                  <a:pt x="686" y="544"/>
                  <a:pt x="686" y="543"/>
                  <a:pt x="686" y="543"/>
                </a:cubicBezTo>
                <a:cubicBezTo>
                  <a:pt x="686" y="543"/>
                  <a:pt x="686" y="543"/>
                  <a:pt x="686" y="543"/>
                </a:cubicBezTo>
                <a:cubicBezTo>
                  <a:pt x="686" y="540"/>
                  <a:pt x="686" y="540"/>
                  <a:pt x="686" y="540"/>
                </a:cubicBezTo>
                <a:cubicBezTo>
                  <a:pt x="755" y="540"/>
                  <a:pt x="755" y="540"/>
                  <a:pt x="755" y="540"/>
                </a:cubicBezTo>
                <a:cubicBezTo>
                  <a:pt x="776" y="540"/>
                  <a:pt x="776" y="540"/>
                  <a:pt x="776" y="540"/>
                </a:cubicBezTo>
                <a:cubicBezTo>
                  <a:pt x="775" y="543"/>
                  <a:pt x="775" y="543"/>
                  <a:pt x="775" y="543"/>
                </a:cubicBezTo>
                <a:cubicBezTo>
                  <a:pt x="775" y="543"/>
                  <a:pt x="772" y="544"/>
                  <a:pt x="772" y="546"/>
                </a:cubicBezTo>
                <a:cubicBezTo>
                  <a:pt x="772" y="547"/>
                  <a:pt x="774" y="548"/>
                  <a:pt x="776" y="548"/>
                </a:cubicBezTo>
                <a:cubicBezTo>
                  <a:pt x="779" y="548"/>
                  <a:pt x="782" y="548"/>
                  <a:pt x="782" y="545"/>
                </a:cubicBezTo>
                <a:cubicBezTo>
                  <a:pt x="782" y="545"/>
                  <a:pt x="781" y="543"/>
                  <a:pt x="779" y="543"/>
                </a:cubicBezTo>
                <a:cubicBezTo>
                  <a:pt x="779" y="540"/>
                  <a:pt x="779" y="540"/>
                  <a:pt x="779" y="540"/>
                </a:cubicBezTo>
                <a:cubicBezTo>
                  <a:pt x="779" y="540"/>
                  <a:pt x="828" y="539"/>
                  <a:pt x="829" y="539"/>
                </a:cubicBezTo>
                <a:cubicBezTo>
                  <a:pt x="829" y="539"/>
                  <a:pt x="829" y="542"/>
                  <a:pt x="829" y="542"/>
                </a:cubicBezTo>
                <a:cubicBezTo>
                  <a:pt x="831" y="542"/>
                  <a:pt x="831" y="542"/>
                  <a:pt x="831" y="542"/>
                </a:cubicBezTo>
                <a:cubicBezTo>
                  <a:pt x="831" y="544"/>
                  <a:pt x="831" y="544"/>
                  <a:pt x="831" y="544"/>
                </a:cubicBezTo>
                <a:cubicBezTo>
                  <a:pt x="831" y="544"/>
                  <a:pt x="826" y="545"/>
                  <a:pt x="826" y="545"/>
                </a:cubicBezTo>
                <a:cubicBezTo>
                  <a:pt x="826" y="546"/>
                  <a:pt x="826" y="548"/>
                  <a:pt x="832" y="548"/>
                </a:cubicBezTo>
                <a:cubicBezTo>
                  <a:pt x="837" y="548"/>
                  <a:pt x="837" y="546"/>
                  <a:pt x="837" y="546"/>
                </a:cubicBezTo>
                <a:cubicBezTo>
                  <a:pt x="837" y="546"/>
                  <a:pt x="835" y="545"/>
                  <a:pt x="833" y="545"/>
                </a:cubicBezTo>
                <a:cubicBezTo>
                  <a:pt x="833" y="543"/>
                  <a:pt x="833" y="543"/>
                  <a:pt x="833" y="543"/>
                </a:cubicBezTo>
                <a:cubicBezTo>
                  <a:pt x="833" y="543"/>
                  <a:pt x="834" y="542"/>
                  <a:pt x="834" y="542"/>
                </a:cubicBezTo>
                <a:cubicBezTo>
                  <a:pt x="834" y="542"/>
                  <a:pt x="833" y="538"/>
                  <a:pt x="833" y="537"/>
                </a:cubicBezTo>
                <a:cubicBezTo>
                  <a:pt x="833" y="537"/>
                  <a:pt x="832" y="533"/>
                  <a:pt x="828" y="533"/>
                </a:cubicBezTo>
                <a:cubicBezTo>
                  <a:pt x="824" y="533"/>
                  <a:pt x="742" y="528"/>
                  <a:pt x="742" y="528"/>
                </a:cubicBezTo>
                <a:cubicBezTo>
                  <a:pt x="741" y="525"/>
                  <a:pt x="741" y="525"/>
                  <a:pt x="741" y="525"/>
                </a:cubicBezTo>
                <a:cubicBezTo>
                  <a:pt x="741" y="525"/>
                  <a:pt x="741" y="480"/>
                  <a:pt x="741" y="480"/>
                </a:cubicBezTo>
                <a:cubicBezTo>
                  <a:pt x="741" y="480"/>
                  <a:pt x="747" y="480"/>
                  <a:pt x="747" y="480"/>
                </a:cubicBezTo>
                <a:cubicBezTo>
                  <a:pt x="747" y="480"/>
                  <a:pt x="746" y="482"/>
                  <a:pt x="748" y="482"/>
                </a:cubicBezTo>
                <a:cubicBezTo>
                  <a:pt x="750" y="482"/>
                  <a:pt x="750" y="480"/>
                  <a:pt x="750" y="480"/>
                </a:cubicBezTo>
                <a:cubicBezTo>
                  <a:pt x="750" y="480"/>
                  <a:pt x="762" y="479"/>
                  <a:pt x="762" y="479"/>
                </a:cubicBezTo>
                <a:cubicBezTo>
                  <a:pt x="762" y="479"/>
                  <a:pt x="762" y="480"/>
                  <a:pt x="763" y="480"/>
                </a:cubicBezTo>
                <a:cubicBezTo>
                  <a:pt x="764" y="480"/>
                  <a:pt x="765" y="479"/>
                  <a:pt x="765" y="479"/>
                </a:cubicBezTo>
                <a:cubicBezTo>
                  <a:pt x="770" y="478"/>
                  <a:pt x="770" y="478"/>
                  <a:pt x="770" y="478"/>
                </a:cubicBezTo>
                <a:cubicBezTo>
                  <a:pt x="770" y="476"/>
                  <a:pt x="770" y="476"/>
                  <a:pt x="770" y="476"/>
                </a:cubicBezTo>
                <a:cubicBezTo>
                  <a:pt x="765" y="476"/>
                  <a:pt x="765" y="476"/>
                  <a:pt x="765" y="476"/>
                </a:cubicBezTo>
                <a:cubicBezTo>
                  <a:pt x="765" y="476"/>
                  <a:pt x="765" y="474"/>
                  <a:pt x="764" y="474"/>
                </a:cubicBezTo>
                <a:cubicBezTo>
                  <a:pt x="762" y="474"/>
                  <a:pt x="762" y="476"/>
                  <a:pt x="762" y="476"/>
                </a:cubicBezTo>
                <a:cubicBezTo>
                  <a:pt x="760" y="476"/>
                  <a:pt x="760" y="476"/>
                  <a:pt x="760" y="476"/>
                </a:cubicBezTo>
                <a:cubicBezTo>
                  <a:pt x="760" y="476"/>
                  <a:pt x="758" y="473"/>
                  <a:pt x="757" y="473"/>
                </a:cubicBezTo>
                <a:cubicBezTo>
                  <a:pt x="757" y="473"/>
                  <a:pt x="757" y="473"/>
                  <a:pt x="757" y="472"/>
                </a:cubicBezTo>
                <a:cubicBezTo>
                  <a:pt x="784" y="472"/>
                  <a:pt x="784" y="472"/>
                  <a:pt x="784" y="472"/>
                </a:cubicBezTo>
                <a:cubicBezTo>
                  <a:pt x="784" y="472"/>
                  <a:pt x="825" y="464"/>
                  <a:pt x="836" y="463"/>
                </a:cubicBezTo>
                <a:cubicBezTo>
                  <a:pt x="838" y="463"/>
                  <a:pt x="838" y="463"/>
                  <a:pt x="838" y="463"/>
                </a:cubicBezTo>
                <a:cubicBezTo>
                  <a:pt x="838" y="463"/>
                  <a:pt x="836" y="450"/>
                  <a:pt x="836" y="448"/>
                </a:cubicBezTo>
                <a:cubicBezTo>
                  <a:pt x="836" y="445"/>
                  <a:pt x="841" y="382"/>
                  <a:pt x="843" y="370"/>
                </a:cubicBezTo>
                <a:cubicBezTo>
                  <a:pt x="846" y="358"/>
                  <a:pt x="863" y="291"/>
                  <a:pt x="862" y="286"/>
                </a:cubicBezTo>
                <a:close/>
                <a:moveTo>
                  <a:pt x="154" y="508"/>
                </a:moveTo>
                <a:cubicBezTo>
                  <a:pt x="156" y="470"/>
                  <a:pt x="156" y="470"/>
                  <a:pt x="156" y="470"/>
                </a:cubicBezTo>
                <a:cubicBezTo>
                  <a:pt x="156" y="470"/>
                  <a:pt x="165" y="469"/>
                  <a:pt x="168" y="469"/>
                </a:cubicBezTo>
                <a:cubicBezTo>
                  <a:pt x="169" y="469"/>
                  <a:pt x="170" y="469"/>
                  <a:pt x="171" y="469"/>
                </a:cubicBezTo>
                <a:cubicBezTo>
                  <a:pt x="170" y="470"/>
                  <a:pt x="170" y="471"/>
                  <a:pt x="170" y="473"/>
                </a:cubicBezTo>
                <a:cubicBezTo>
                  <a:pt x="170" y="475"/>
                  <a:pt x="168" y="483"/>
                  <a:pt x="166" y="487"/>
                </a:cubicBezTo>
                <a:cubicBezTo>
                  <a:pt x="164" y="491"/>
                  <a:pt x="163" y="492"/>
                  <a:pt x="164" y="495"/>
                </a:cubicBezTo>
                <a:cubicBezTo>
                  <a:pt x="164" y="498"/>
                  <a:pt x="164" y="498"/>
                  <a:pt x="164" y="500"/>
                </a:cubicBezTo>
                <a:cubicBezTo>
                  <a:pt x="163" y="502"/>
                  <a:pt x="161" y="505"/>
                  <a:pt x="159" y="506"/>
                </a:cubicBezTo>
                <a:cubicBezTo>
                  <a:pt x="158" y="506"/>
                  <a:pt x="156" y="508"/>
                  <a:pt x="154" y="510"/>
                </a:cubicBezTo>
                <a:cubicBezTo>
                  <a:pt x="154" y="508"/>
                  <a:pt x="154" y="508"/>
                  <a:pt x="154" y="508"/>
                </a:cubicBezTo>
                <a:close/>
                <a:moveTo>
                  <a:pt x="258" y="327"/>
                </a:moveTo>
                <a:cubicBezTo>
                  <a:pt x="258" y="326"/>
                  <a:pt x="261" y="327"/>
                  <a:pt x="264" y="326"/>
                </a:cubicBezTo>
                <a:cubicBezTo>
                  <a:pt x="266" y="325"/>
                  <a:pt x="268" y="325"/>
                  <a:pt x="271" y="326"/>
                </a:cubicBezTo>
                <a:cubicBezTo>
                  <a:pt x="273" y="326"/>
                  <a:pt x="275" y="326"/>
                  <a:pt x="277" y="326"/>
                </a:cubicBezTo>
                <a:cubicBezTo>
                  <a:pt x="272" y="327"/>
                  <a:pt x="267" y="328"/>
                  <a:pt x="261" y="329"/>
                </a:cubicBezTo>
                <a:cubicBezTo>
                  <a:pt x="259" y="328"/>
                  <a:pt x="258" y="328"/>
                  <a:pt x="258" y="327"/>
                </a:cubicBezTo>
                <a:close/>
                <a:moveTo>
                  <a:pt x="649" y="322"/>
                </a:moveTo>
                <a:cubicBezTo>
                  <a:pt x="650" y="323"/>
                  <a:pt x="650" y="323"/>
                  <a:pt x="650" y="324"/>
                </a:cubicBezTo>
                <a:cubicBezTo>
                  <a:pt x="650" y="324"/>
                  <a:pt x="650" y="324"/>
                  <a:pt x="650" y="325"/>
                </a:cubicBezTo>
                <a:cubicBezTo>
                  <a:pt x="650" y="325"/>
                  <a:pt x="649" y="325"/>
                  <a:pt x="648" y="325"/>
                </a:cubicBezTo>
                <a:cubicBezTo>
                  <a:pt x="649" y="324"/>
                  <a:pt x="649" y="323"/>
                  <a:pt x="649" y="322"/>
                </a:cubicBezTo>
                <a:close/>
                <a:moveTo>
                  <a:pt x="656" y="348"/>
                </a:moveTo>
                <a:cubicBezTo>
                  <a:pt x="656" y="349"/>
                  <a:pt x="655" y="350"/>
                  <a:pt x="655" y="351"/>
                </a:cubicBezTo>
                <a:cubicBezTo>
                  <a:pt x="648" y="351"/>
                  <a:pt x="648" y="351"/>
                  <a:pt x="648" y="351"/>
                </a:cubicBezTo>
                <a:cubicBezTo>
                  <a:pt x="648" y="348"/>
                  <a:pt x="648" y="346"/>
                  <a:pt x="648" y="345"/>
                </a:cubicBezTo>
                <a:cubicBezTo>
                  <a:pt x="648" y="344"/>
                  <a:pt x="648" y="344"/>
                  <a:pt x="648" y="343"/>
                </a:cubicBezTo>
                <a:cubicBezTo>
                  <a:pt x="651" y="343"/>
                  <a:pt x="653" y="342"/>
                  <a:pt x="655" y="342"/>
                </a:cubicBezTo>
                <a:cubicBezTo>
                  <a:pt x="656" y="345"/>
                  <a:pt x="656" y="347"/>
                  <a:pt x="656" y="348"/>
                </a:cubicBezTo>
                <a:close/>
                <a:moveTo>
                  <a:pt x="238" y="331"/>
                </a:moveTo>
                <a:cubicBezTo>
                  <a:pt x="238" y="331"/>
                  <a:pt x="238" y="331"/>
                  <a:pt x="238" y="331"/>
                </a:cubicBezTo>
                <a:cubicBezTo>
                  <a:pt x="239" y="331"/>
                  <a:pt x="239" y="331"/>
                  <a:pt x="239" y="331"/>
                </a:cubicBezTo>
                <a:cubicBezTo>
                  <a:pt x="239" y="331"/>
                  <a:pt x="240" y="331"/>
                  <a:pt x="243" y="331"/>
                </a:cubicBezTo>
                <a:cubicBezTo>
                  <a:pt x="244" y="331"/>
                  <a:pt x="245" y="331"/>
                  <a:pt x="247" y="332"/>
                </a:cubicBezTo>
                <a:cubicBezTo>
                  <a:pt x="233" y="334"/>
                  <a:pt x="222" y="337"/>
                  <a:pt x="219" y="337"/>
                </a:cubicBezTo>
                <a:cubicBezTo>
                  <a:pt x="215" y="337"/>
                  <a:pt x="212" y="336"/>
                  <a:pt x="212" y="336"/>
                </a:cubicBezTo>
                <a:cubicBezTo>
                  <a:pt x="211" y="336"/>
                  <a:pt x="207" y="336"/>
                  <a:pt x="204" y="336"/>
                </a:cubicBezTo>
                <a:cubicBezTo>
                  <a:pt x="202" y="336"/>
                  <a:pt x="200" y="336"/>
                  <a:pt x="198" y="335"/>
                </a:cubicBezTo>
                <a:cubicBezTo>
                  <a:pt x="196" y="335"/>
                  <a:pt x="193" y="335"/>
                  <a:pt x="192" y="335"/>
                </a:cubicBezTo>
                <a:cubicBezTo>
                  <a:pt x="191" y="336"/>
                  <a:pt x="188" y="335"/>
                  <a:pt x="186" y="335"/>
                </a:cubicBezTo>
                <a:cubicBezTo>
                  <a:pt x="186" y="334"/>
                  <a:pt x="184" y="333"/>
                  <a:pt x="184" y="332"/>
                </a:cubicBezTo>
                <a:cubicBezTo>
                  <a:pt x="183" y="331"/>
                  <a:pt x="183" y="329"/>
                  <a:pt x="182" y="327"/>
                </a:cubicBezTo>
                <a:cubicBezTo>
                  <a:pt x="182" y="327"/>
                  <a:pt x="183" y="327"/>
                  <a:pt x="183" y="327"/>
                </a:cubicBezTo>
                <a:cubicBezTo>
                  <a:pt x="184" y="326"/>
                  <a:pt x="184" y="326"/>
                  <a:pt x="184" y="326"/>
                </a:cubicBezTo>
                <a:cubicBezTo>
                  <a:pt x="185" y="326"/>
                  <a:pt x="186" y="328"/>
                  <a:pt x="187" y="329"/>
                </a:cubicBezTo>
                <a:cubicBezTo>
                  <a:pt x="188" y="329"/>
                  <a:pt x="190" y="331"/>
                  <a:pt x="191" y="330"/>
                </a:cubicBezTo>
                <a:cubicBezTo>
                  <a:pt x="192" y="330"/>
                  <a:pt x="194" y="330"/>
                  <a:pt x="195" y="329"/>
                </a:cubicBezTo>
                <a:cubicBezTo>
                  <a:pt x="195" y="329"/>
                  <a:pt x="196" y="329"/>
                  <a:pt x="197" y="329"/>
                </a:cubicBezTo>
                <a:cubicBezTo>
                  <a:pt x="199" y="329"/>
                  <a:pt x="200" y="332"/>
                  <a:pt x="203" y="331"/>
                </a:cubicBezTo>
                <a:cubicBezTo>
                  <a:pt x="205" y="331"/>
                  <a:pt x="209" y="332"/>
                  <a:pt x="210" y="333"/>
                </a:cubicBezTo>
                <a:cubicBezTo>
                  <a:pt x="211" y="333"/>
                  <a:pt x="212" y="335"/>
                  <a:pt x="214" y="335"/>
                </a:cubicBezTo>
                <a:cubicBezTo>
                  <a:pt x="217" y="334"/>
                  <a:pt x="224" y="332"/>
                  <a:pt x="238" y="331"/>
                </a:cubicBezTo>
                <a:close/>
                <a:moveTo>
                  <a:pt x="381" y="519"/>
                </a:moveTo>
                <a:cubicBezTo>
                  <a:pt x="378" y="517"/>
                  <a:pt x="378" y="507"/>
                  <a:pt x="378" y="505"/>
                </a:cubicBezTo>
                <a:cubicBezTo>
                  <a:pt x="378" y="504"/>
                  <a:pt x="380" y="473"/>
                  <a:pt x="382" y="459"/>
                </a:cubicBezTo>
                <a:cubicBezTo>
                  <a:pt x="382" y="461"/>
                  <a:pt x="383" y="463"/>
                  <a:pt x="383" y="463"/>
                </a:cubicBezTo>
                <a:cubicBezTo>
                  <a:pt x="383" y="464"/>
                  <a:pt x="385" y="464"/>
                  <a:pt x="387" y="465"/>
                </a:cubicBezTo>
                <a:cubicBezTo>
                  <a:pt x="387" y="465"/>
                  <a:pt x="387" y="465"/>
                  <a:pt x="387" y="465"/>
                </a:cubicBezTo>
                <a:cubicBezTo>
                  <a:pt x="387" y="468"/>
                  <a:pt x="387" y="471"/>
                  <a:pt x="387" y="474"/>
                </a:cubicBezTo>
                <a:cubicBezTo>
                  <a:pt x="388" y="476"/>
                  <a:pt x="387" y="486"/>
                  <a:pt x="386" y="494"/>
                </a:cubicBezTo>
                <a:cubicBezTo>
                  <a:pt x="385" y="502"/>
                  <a:pt x="386" y="517"/>
                  <a:pt x="386" y="518"/>
                </a:cubicBezTo>
                <a:cubicBezTo>
                  <a:pt x="387" y="520"/>
                  <a:pt x="388" y="520"/>
                  <a:pt x="389" y="521"/>
                </a:cubicBezTo>
                <a:cubicBezTo>
                  <a:pt x="389" y="522"/>
                  <a:pt x="388" y="523"/>
                  <a:pt x="386" y="525"/>
                </a:cubicBezTo>
                <a:cubicBezTo>
                  <a:pt x="383" y="524"/>
                  <a:pt x="383" y="520"/>
                  <a:pt x="381" y="519"/>
                </a:cubicBezTo>
                <a:close/>
                <a:moveTo>
                  <a:pt x="439" y="260"/>
                </a:moveTo>
                <a:cubicBezTo>
                  <a:pt x="439" y="262"/>
                  <a:pt x="439" y="264"/>
                  <a:pt x="439" y="265"/>
                </a:cubicBezTo>
                <a:cubicBezTo>
                  <a:pt x="439" y="267"/>
                  <a:pt x="436" y="269"/>
                  <a:pt x="435" y="271"/>
                </a:cubicBezTo>
                <a:cubicBezTo>
                  <a:pt x="434" y="272"/>
                  <a:pt x="431" y="278"/>
                  <a:pt x="430" y="280"/>
                </a:cubicBezTo>
                <a:cubicBezTo>
                  <a:pt x="429" y="282"/>
                  <a:pt x="427" y="290"/>
                  <a:pt x="427" y="291"/>
                </a:cubicBezTo>
                <a:cubicBezTo>
                  <a:pt x="426" y="293"/>
                  <a:pt x="421" y="302"/>
                  <a:pt x="420" y="304"/>
                </a:cubicBezTo>
                <a:cubicBezTo>
                  <a:pt x="419" y="306"/>
                  <a:pt x="418" y="306"/>
                  <a:pt x="417" y="308"/>
                </a:cubicBezTo>
                <a:cubicBezTo>
                  <a:pt x="416" y="309"/>
                  <a:pt x="416" y="310"/>
                  <a:pt x="416" y="311"/>
                </a:cubicBezTo>
                <a:cubicBezTo>
                  <a:pt x="415" y="312"/>
                  <a:pt x="415" y="312"/>
                  <a:pt x="412" y="313"/>
                </a:cubicBezTo>
                <a:cubicBezTo>
                  <a:pt x="411" y="313"/>
                  <a:pt x="410" y="313"/>
                  <a:pt x="409" y="314"/>
                </a:cubicBezTo>
                <a:cubicBezTo>
                  <a:pt x="410" y="306"/>
                  <a:pt x="412" y="295"/>
                  <a:pt x="411" y="291"/>
                </a:cubicBezTo>
                <a:cubicBezTo>
                  <a:pt x="410" y="287"/>
                  <a:pt x="409" y="276"/>
                  <a:pt x="410" y="270"/>
                </a:cubicBezTo>
                <a:cubicBezTo>
                  <a:pt x="411" y="265"/>
                  <a:pt x="410" y="254"/>
                  <a:pt x="409" y="252"/>
                </a:cubicBezTo>
                <a:cubicBezTo>
                  <a:pt x="409" y="252"/>
                  <a:pt x="409" y="246"/>
                  <a:pt x="407" y="242"/>
                </a:cubicBezTo>
                <a:cubicBezTo>
                  <a:pt x="406" y="238"/>
                  <a:pt x="399" y="227"/>
                  <a:pt x="399" y="224"/>
                </a:cubicBezTo>
                <a:cubicBezTo>
                  <a:pt x="399" y="224"/>
                  <a:pt x="399" y="223"/>
                  <a:pt x="399" y="223"/>
                </a:cubicBezTo>
                <a:cubicBezTo>
                  <a:pt x="399" y="223"/>
                  <a:pt x="401" y="218"/>
                  <a:pt x="399" y="216"/>
                </a:cubicBezTo>
                <a:cubicBezTo>
                  <a:pt x="399" y="216"/>
                  <a:pt x="399" y="216"/>
                  <a:pt x="399" y="216"/>
                </a:cubicBezTo>
                <a:cubicBezTo>
                  <a:pt x="402" y="216"/>
                  <a:pt x="405" y="216"/>
                  <a:pt x="406" y="215"/>
                </a:cubicBezTo>
                <a:cubicBezTo>
                  <a:pt x="407" y="213"/>
                  <a:pt x="404" y="208"/>
                  <a:pt x="403" y="205"/>
                </a:cubicBezTo>
                <a:cubicBezTo>
                  <a:pt x="401" y="203"/>
                  <a:pt x="401" y="184"/>
                  <a:pt x="401" y="180"/>
                </a:cubicBezTo>
                <a:cubicBezTo>
                  <a:pt x="401" y="175"/>
                  <a:pt x="399" y="169"/>
                  <a:pt x="401" y="169"/>
                </a:cubicBezTo>
                <a:cubicBezTo>
                  <a:pt x="401" y="171"/>
                  <a:pt x="403" y="172"/>
                  <a:pt x="404" y="172"/>
                </a:cubicBezTo>
                <a:cubicBezTo>
                  <a:pt x="405" y="173"/>
                  <a:pt x="406" y="174"/>
                  <a:pt x="406" y="175"/>
                </a:cubicBezTo>
                <a:cubicBezTo>
                  <a:pt x="407" y="178"/>
                  <a:pt x="403" y="183"/>
                  <a:pt x="404" y="186"/>
                </a:cubicBezTo>
                <a:cubicBezTo>
                  <a:pt x="405" y="189"/>
                  <a:pt x="405" y="191"/>
                  <a:pt x="408" y="191"/>
                </a:cubicBezTo>
                <a:cubicBezTo>
                  <a:pt x="408" y="191"/>
                  <a:pt x="408" y="191"/>
                  <a:pt x="408" y="191"/>
                </a:cubicBezTo>
                <a:cubicBezTo>
                  <a:pt x="410" y="192"/>
                  <a:pt x="413" y="193"/>
                  <a:pt x="413" y="193"/>
                </a:cubicBezTo>
                <a:cubicBezTo>
                  <a:pt x="413" y="193"/>
                  <a:pt x="413" y="201"/>
                  <a:pt x="413" y="203"/>
                </a:cubicBezTo>
                <a:cubicBezTo>
                  <a:pt x="412" y="203"/>
                  <a:pt x="412" y="203"/>
                  <a:pt x="412" y="204"/>
                </a:cubicBezTo>
                <a:cubicBezTo>
                  <a:pt x="412" y="204"/>
                  <a:pt x="412" y="205"/>
                  <a:pt x="412" y="205"/>
                </a:cubicBezTo>
                <a:cubicBezTo>
                  <a:pt x="412" y="206"/>
                  <a:pt x="413" y="206"/>
                  <a:pt x="413" y="206"/>
                </a:cubicBezTo>
                <a:cubicBezTo>
                  <a:pt x="413" y="207"/>
                  <a:pt x="414" y="208"/>
                  <a:pt x="415" y="209"/>
                </a:cubicBezTo>
                <a:cubicBezTo>
                  <a:pt x="415" y="213"/>
                  <a:pt x="416" y="209"/>
                  <a:pt x="415" y="213"/>
                </a:cubicBezTo>
                <a:cubicBezTo>
                  <a:pt x="414" y="216"/>
                  <a:pt x="415" y="219"/>
                  <a:pt x="418" y="222"/>
                </a:cubicBezTo>
                <a:cubicBezTo>
                  <a:pt x="420" y="226"/>
                  <a:pt x="422" y="228"/>
                  <a:pt x="421" y="232"/>
                </a:cubicBezTo>
                <a:cubicBezTo>
                  <a:pt x="421" y="237"/>
                  <a:pt x="421" y="240"/>
                  <a:pt x="421" y="240"/>
                </a:cubicBezTo>
                <a:cubicBezTo>
                  <a:pt x="421" y="240"/>
                  <a:pt x="421" y="240"/>
                  <a:pt x="422" y="240"/>
                </a:cubicBezTo>
                <a:cubicBezTo>
                  <a:pt x="421" y="240"/>
                  <a:pt x="421" y="240"/>
                  <a:pt x="421" y="240"/>
                </a:cubicBezTo>
                <a:cubicBezTo>
                  <a:pt x="419" y="243"/>
                  <a:pt x="420" y="246"/>
                  <a:pt x="421" y="249"/>
                </a:cubicBezTo>
                <a:cubicBezTo>
                  <a:pt x="422" y="251"/>
                  <a:pt x="421" y="259"/>
                  <a:pt x="421" y="260"/>
                </a:cubicBezTo>
                <a:cubicBezTo>
                  <a:pt x="421" y="261"/>
                  <a:pt x="424" y="265"/>
                  <a:pt x="424" y="266"/>
                </a:cubicBezTo>
                <a:cubicBezTo>
                  <a:pt x="424" y="267"/>
                  <a:pt x="425" y="271"/>
                  <a:pt x="427" y="271"/>
                </a:cubicBezTo>
                <a:cubicBezTo>
                  <a:pt x="429" y="272"/>
                  <a:pt x="430" y="267"/>
                  <a:pt x="430" y="267"/>
                </a:cubicBezTo>
                <a:cubicBezTo>
                  <a:pt x="430" y="268"/>
                  <a:pt x="433" y="267"/>
                  <a:pt x="434" y="266"/>
                </a:cubicBezTo>
                <a:cubicBezTo>
                  <a:pt x="435" y="265"/>
                  <a:pt x="438" y="262"/>
                  <a:pt x="439" y="260"/>
                </a:cubicBezTo>
                <a:close/>
                <a:moveTo>
                  <a:pt x="168" y="270"/>
                </a:moveTo>
                <a:cubicBezTo>
                  <a:pt x="168" y="270"/>
                  <a:pt x="171" y="270"/>
                  <a:pt x="172" y="270"/>
                </a:cubicBezTo>
                <a:cubicBezTo>
                  <a:pt x="172" y="270"/>
                  <a:pt x="175" y="270"/>
                  <a:pt x="175" y="270"/>
                </a:cubicBezTo>
                <a:cubicBezTo>
                  <a:pt x="176" y="270"/>
                  <a:pt x="177" y="269"/>
                  <a:pt x="178" y="268"/>
                </a:cubicBezTo>
                <a:cubicBezTo>
                  <a:pt x="179" y="267"/>
                  <a:pt x="179" y="267"/>
                  <a:pt x="181" y="267"/>
                </a:cubicBezTo>
                <a:cubicBezTo>
                  <a:pt x="182" y="267"/>
                  <a:pt x="182" y="268"/>
                  <a:pt x="185" y="266"/>
                </a:cubicBezTo>
                <a:cubicBezTo>
                  <a:pt x="187" y="265"/>
                  <a:pt x="187" y="267"/>
                  <a:pt x="191" y="267"/>
                </a:cubicBezTo>
                <a:cubicBezTo>
                  <a:pt x="195" y="266"/>
                  <a:pt x="209" y="260"/>
                  <a:pt x="209" y="260"/>
                </a:cubicBezTo>
                <a:cubicBezTo>
                  <a:pt x="210" y="259"/>
                  <a:pt x="211" y="258"/>
                  <a:pt x="211" y="257"/>
                </a:cubicBezTo>
                <a:cubicBezTo>
                  <a:pt x="213" y="256"/>
                  <a:pt x="213" y="256"/>
                  <a:pt x="213" y="256"/>
                </a:cubicBezTo>
                <a:cubicBezTo>
                  <a:pt x="214" y="258"/>
                  <a:pt x="214" y="258"/>
                  <a:pt x="215" y="260"/>
                </a:cubicBezTo>
                <a:cubicBezTo>
                  <a:pt x="216" y="263"/>
                  <a:pt x="215" y="264"/>
                  <a:pt x="220" y="265"/>
                </a:cubicBezTo>
                <a:cubicBezTo>
                  <a:pt x="224" y="265"/>
                  <a:pt x="229" y="266"/>
                  <a:pt x="230" y="265"/>
                </a:cubicBezTo>
                <a:cubicBezTo>
                  <a:pt x="231" y="263"/>
                  <a:pt x="233" y="260"/>
                  <a:pt x="234" y="259"/>
                </a:cubicBezTo>
                <a:cubicBezTo>
                  <a:pt x="234" y="258"/>
                  <a:pt x="233" y="256"/>
                  <a:pt x="234" y="254"/>
                </a:cubicBezTo>
                <a:cubicBezTo>
                  <a:pt x="235" y="252"/>
                  <a:pt x="236" y="251"/>
                  <a:pt x="235" y="250"/>
                </a:cubicBezTo>
                <a:cubicBezTo>
                  <a:pt x="235" y="248"/>
                  <a:pt x="234" y="246"/>
                  <a:pt x="232" y="244"/>
                </a:cubicBezTo>
                <a:cubicBezTo>
                  <a:pt x="231" y="243"/>
                  <a:pt x="231" y="242"/>
                  <a:pt x="231" y="241"/>
                </a:cubicBezTo>
                <a:cubicBezTo>
                  <a:pt x="231" y="241"/>
                  <a:pt x="231" y="241"/>
                  <a:pt x="231" y="241"/>
                </a:cubicBezTo>
                <a:cubicBezTo>
                  <a:pt x="234" y="240"/>
                  <a:pt x="236" y="237"/>
                  <a:pt x="237" y="237"/>
                </a:cubicBezTo>
                <a:cubicBezTo>
                  <a:pt x="238" y="236"/>
                  <a:pt x="245" y="229"/>
                  <a:pt x="247" y="228"/>
                </a:cubicBezTo>
                <a:cubicBezTo>
                  <a:pt x="249" y="226"/>
                  <a:pt x="249" y="226"/>
                  <a:pt x="249" y="225"/>
                </a:cubicBezTo>
                <a:cubicBezTo>
                  <a:pt x="250" y="224"/>
                  <a:pt x="249" y="221"/>
                  <a:pt x="251" y="221"/>
                </a:cubicBezTo>
                <a:cubicBezTo>
                  <a:pt x="252" y="220"/>
                  <a:pt x="259" y="218"/>
                  <a:pt x="260" y="216"/>
                </a:cubicBezTo>
                <a:cubicBezTo>
                  <a:pt x="261" y="215"/>
                  <a:pt x="262" y="214"/>
                  <a:pt x="261" y="212"/>
                </a:cubicBezTo>
                <a:cubicBezTo>
                  <a:pt x="262" y="208"/>
                  <a:pt x="262" y="203"/>
                  <a:pt x="264" y="200"/>
                </a:cubicBezTo>
                <a:cubicBezTo>
                  <a:pt x="267" y="195"/>
                  <a:pt x="268" y="188"/>
                  <a:pt x="270" y="184"/>
                </a:cubicBezTo>
                <a:cubicBezTo>
                  <a:pt x="272" y="181"/>
                  <a:pt x="273" y="174"/>
                  <a:pt x="275" y="173"/>
                </a:cubicBezTo>
                <a:cubicBezTo>
                  <a:pt x="277" y="172"/>
                  <a:pt x="277" y="171"/>
                  <a:pt x="278" y="171"/>
                </a:cubicBezTo>
                <a:cubicBezTo>
                  <a:pt x="278" y="171"/>
                  <a:pt x="278" y="171"/>
                  <a:pt x="279" y="171"/>
                </a:cubicBezTo>
                <a:cubicBezTo>
                  <a:pt x="280" y="172"/>
                  <a:pt x="282" y="177"/>
                  <a:pt x="283" y="178"/>
                </a:cubicBezTo>
                <a:cubicBezTo>
                  <a:pt x="285" y="180"/>
                  <a:pt x="284" y="183"/>
                  <a:pt x="283" y="187"/>
                </a:cubicBezTo>
                <a:cubicBezTo>
                  <a:pt x="283" y="191"/>
                  <a:pt x="283" y="196"/>
                  <a:pt x="284" y="199"/>
                </a:cubicBezTo>
                <a:cubicBezTo>
                  <a:pt x="285" y="203"/>
                  <a:pt x="285" y="202"/>
                  <a:pt x="285" y="207"/>
                </a:cubicBezTo>
                <a:cubicBezTo>
                  <a:pt x="286" y="212"/>
                  <a:pt x="284" y="212"/>
                  <a:pt x="286" y="214"/>
                </a:cubicBezTo>
                <a:cubicBezTo>
                  <a:pt x="287" y="216"/>
                  <a:pt x="288" y="216"/>
                  <a:pt x="290" y="216"/>
                </a:cubicBezTo>
                <a:cubicBezTo>
                  <a:pt x="290" y="219"/>
                  <a:pt x="288" y="223"/>
                  <a:pt x="287" y="225"/>
                </a:cubicBezTo>
                <a:cubicBezTo>
                  <a:pt x="285" y="229"/>
                  <a:pt x="284" y="257"/>
                  <a:pt x="284" y="261"/>
                </a:cubicBezTo>
                <a:cubicBezTo>
                  <a:pt x="285" y="265"/>
                  <a:pt x="289" y="300"/>
                  <a:pt x="291" y="306"/>
                </a:cubicBezTo>
                <a:cubicBezTo>
                  <a:pt x="294" y="312"/>
                  <a:pt x="290" y="317"/>
                  <a:pt x="292" y="320"/>
                </a:cubicBezTo>
                <a:cubicBezTo>
                  <a:pt x="292" y="321"/>
                  <a:pt x="292" y="322"/>
                  <a:pt x="292" y="324"/>
                </a:cubicBezTo>
                <a:cubicBezTo>
                  <a:pt x="290" y="322"/>
                  <a:pt x="288" y="321"/>
                  <a:pt x="288" y="321"/>
                </a:cubicBezTo>
                <a:cubicBezTo>
                  <a:pt x="286" y="320"/>
                  <a:pt x="278" y="320"/>
                  <a:pt x="277" y="320"/>
                </a:cubicBezTo>
                <a:cubicBezTo>
                  <a:pt x="276" y="320"/>
                  <a:pt x="271" y="318"/>
                  <a:pt x="269" y="318"/>
                </a:cubicBezTo>
                <a:cubicBezTo>
                  <a:pt x="268" y="317"/>
                  <a:pt x="265" y="317"/>
                  <a:pt x="265" y="317"/>
                </a:cubicBezTo>
                <a:cubicBezTo>
                  <a:pt x="265" y="317"/>
                  <a:pt x="259" y="317"/>
                  <a:pt x="255" y="316"/>
                </a:cubicBezTo>
                <a:cubicBezTo>
                  <a:pt x="254" y="316"/>
                  <a:pt x="253" y="315"/>
                  <a:pt x="252" y="315"/>
                </a:cubicBezTo>
                <a:cubicBezTo>
                  <a:pt x="250" y="313"/>
                  <a:pt x="244" y="312"/>
                  <a:pt x="243" y="311"/>
                </a:cubicBezTo>
                <a:cubicBezTo>
                  <a:pt x="242" y="310"/>
                  <a:pt x="241" y="311"/>
                  <a:pt x="239" y="312"/>
                </a:cubicBezTo>
                <a:cubicBezTo>
                  <a:pt x="237" y="312"/>
                  <a:pt x="236" y="312"/>
                  <a:pt x="235" y="311"/>
                </a:cubicBezTo>
                <a:cubicBezTo>
                  <a:pt x="233" y="310"/>
                  <a:pt x="230" y="306"/>
                  <a:pt x="228" y="306"/>
                </a:cubicBezTo>
                <a:cubicBezTo>
                  <a:pt x="226" y="306"/>
                  <a:pt x="226" y="306"/>
                  <a:pt x="223" y="306"/>
                </a:cubicBezTo>
                <a:cubicBezTo>
                  <a:pt x="221" y="306"/>
                  <a:pt x="221" y="305"/>
                  <a:pt x="219" y="304"/>
                </a:cubicBezTo>
                <a:cubicBezTo>
                  <a:pt x="218" y="302"/>
                  <a:pt x="217" y="302"/>
                  <a:pt x="215" y="303"/>
                </a:cubicBezTo>
                <a:cubicBezTo>
                  <a:pt x="212" y="304"/>
                  <a:pt x="210" y="301"/>
                  <a:pt x="207" y="300"/>
                </a:cubicBezTo>
                <a:cubicBezTo>
                  <a:pt x="204" y="299"/>
                  <a:pt x="203" y="296"/>
                  <a:pt x="201" y="296"/>
                </a:cubicBezTo>
                <a:cubicBezTo>
                  <a:pt x="200" y="295"/>
                  <a:pt x="200" y="296"/>
                  <a:pt x="199" y="294"/>
                </a:cubicBezTo>
                <a:cubicBezTo>
                  <a:pt x="199" y="293"/>
                  <a:pt x="198" y="294"/>
                  <a:pt x="196" y="294"/>
                </a:cubicBezTo>
                <a:cubicBezTo>
                  <a:pt x="193" y="294"/>
                  <a:pt x="194" y="293"/>
                  <a:pt x="193" y="292"/>
                </a:cubicBezTo>
                <a:cubicBezTo>
                  <a:pt x="192" y="291"/>
                  <a:pt x="191" y="290"/>
                  <a:pt x="190" y="289"/>
                </a:cubicBezTo>
                <a:cubicBezTo>
                  <a:pt x="189" y="288"/>
                  <a:pt x="189" y="287"/>
                  <a:pt x="187" y="288"/>
                </a:cubicBezTo>
                <a:cubicBezTo>
                  <a:pt x="185" y="289"/>
                  <a:pt x="184" y="286"/>
                  <a:pt x="184" y="286"/>
                </a:cubicBezTo>
                <a:cubicBezTo>
                  <a:pt x="184" y="285"/>
                  <a:pt x="182" y="283"/>
                  <a:pt x="180" y="282"/>
                </a:cubicBezTo>
                <a:cubicBezTo>
                  <a:pt x="179" y="281"/>
                  <a:pt x="178" y="280"/>
                  <a:pt x="177" y="279"/>
                </a:cubicBezTo>
                <a:cubicBezTo>
                  <a:pt x="175" y="278"/>
                  <a:pt x="174" y="276"/>
                  <a:pt x="174" y="276"/>
                </a:cubicBezTo>
                <a:cubicBezTo>
                  <a:pt x="174" y="275"/>
                  <a:pt x="172" y="274"/>
                  <a:pt x="171" y="273"/>
                </a:cubicBezTo>
                <a:cubicBezTo>
                  <a:pt x="170" y="273"/>
                  <a:pt x="167" y="271"/>
                  <a:pt x="167" y="270"/>
                </a:cubicBezTo>
                <a:cubicBezTo>
                  <a:pt x="166" y="269"/>
                  <a:pt x="167" y="270"/>
                  <a:pt x="168" y="270"/>
                </a:cubicBezTo>
                <a:close/>
                <a:moveTo>
                  <a:pt x="195" y="502"/>
                </a:moveTo>
                <a:cubicBezTo>
                  <a:pt x="195" y="502"/>
                  <a:pt x="195" y="502"/>
                  <a:pt x="196" y="502"/>
                </a:cubicBezTo>
                <a:cubicBezTo>
                  <a:pt x="197" y="502"/>
                  <a:pt x="197" y="502"/>
                  <a:pt x="197" y="502"/>
                </a:cubicBezTo>
                <a:cubicBezTo>
                  <a:pt x="198" y="503"/>
                  <a:pt x="201" y="503"/>
                  <a:pt x="205" y="503"/>
                </a:cubicBezTo>
                <a:cubicBezTo>
                  <a:pt x="203" y="504"/>
                  <a:pt x="201" y="505"/>
                  <a:pt x="197" y="511"/>
                </a:cubicBezTo>
                <a:cubicBezTo>
                  <a:pt x="195" y="507"/>
                  <a:pt x="195" y="502"/>
                  <a:pt x="195" y="502"/>
                </a:cubicBezTo>
                <a:close/>
                <a:moveTo>
                  <a:pt x="224" y="482"/>
                </a:moveTo>
                <a:cubicBezTo>
                  <a:pt x="223" y="484"/>
                  <a:pt x="221" y="486"/>
                  <a:pt x="219" y="488"/>
                </a:cubicBezTo>
                <a:cubicBezTo>
                  <a:pt x="219" y="488"/>
                  <a:pt x="219" y="489"/>
                  <a:pt x="218" y="489"/>
                </a:cubicBezTo>
                <a:cubicBezTo>
                  <a:pt x="219" y="487"/>
                  <a:pt x="219" y="484"/>
                  <a:pt x="220" y="483"/>
                </a:cubicBezTo>
                <a:cubicBezTo>
                  <a:pt x="221" y="479"/>
                  <a:pt x="221" y="478"/>
                  <a:pt x="222" y="473"/>
                </a:cubicBezTo>
                <a:cubicBezTo>
                  <a:pt x="222" y="469"/>
                  <a:pt x="224" y="468"/>
                  <a:pt x="225" y="465"/>
                </a:cubicBezTo>
                <a:cubicBezTo>
                  <a:pt x="225" y="464"/>
                  <a:pt x="225" y="464"/>
                  <a:pt x="225" y="463"/>
                </a:cubicBezTo>
                <a:cubicBezTo>
                  <a:pt x="231" y="463"/>
                  <a:pt x="231" y="463"/>
                  <a:pt x="231" y="463"/>
                </a:cubicBezTo>
                <a:cubicBezTo>
                  <a:pt x="231" y="465"/>
                  <a:pt x="230" y="470"/>
                  <a:pt x="228" y="472"/>
                </a:cubicBezTo>
                <a:cubicBezTo>
                  <a:pt x="227" y="474"/>
                  <a:pt x="225" y="478"/>
                  <a:pt x="224" y="479"/>
                </a:cubicBezTo>
                <a:cubicBezTo>
                  <a:pt x="224" y="479"/>
                  <a:pt x="224" y="481"/>
                  <a:pt x="224" y="482"/>
                </a:cubicBezTo>
                <a:close/>
                <a:moveTo>
                  <a:pt x="250" y="501"/>
                </a:moveTo>
                <a:cubicBezTo>
                  <a:pt x="249" y="500"/>
                  <a:pt x="247" y="497"/>
                  <a:pt x="247" y="497"/>
                </a:cubicBezTo>
                <a:cubicBezTo>
                  <a:pt x="249" y="491"/>
                  <a:pt x="249" y="491"/>
                  <a:pt x="249" y="491"/>
                </a:cubicBezTo>
                <a:cubicBezTo>
                  <a:pt x="252" y="491"/>
                  <a:pt x="256" y="491"/>
                  <a:pt x="259" y="491"/>
                </a:cubicBezTo>
                <a:cubicBezTo>
                  <a:pt x="260" y="491"/>
                  <a:pt x="262" y="491"/>
                  <a:pt x="262" y="490"/>
                </a:cubicBezTo>
                <a:cubicBezTo>
                  <a:pt x="262" y="490"/>
                  <a:pt x="262" y="490"/>
                  <a:pt x="262" y="490"/>
                </a:cubicBezTo>
                <a:cubicBezTo>
                  <a:pt x="263" y="490"/>
                  <a:pt x="263" y="490"/>
                  <a:pt x="263" y="490"/>
                </a:cubicBezTo>
                <a:cubicBezTo>
                  <a:pt x="263" y="490"/>
                  <a:pt x="263" y="490"/>
                  <a:pt x="263" y="489"/>
                </a:cubicBezTo>
                <a:cubicBezTo>
                  <a:pt x="264" y="488"/>
                  <a:pt x="267" y="485"/>
                  <a:pt x="267" y="482"/>
                </a:cubicBezTo>
                <a:cubicBezTo>
                  <a:pt x="267" y="478"/>
                  <a:pt x="269" y="480"/>
                  <a:pt x="269" y="477"/>
                </a:cubicBezTo>
                <a:cubicBezTo>
                  <a:pt x="269" y="475"/>
                  <a:pt x="270" y="474"/>
                  <a:pt x="271" y="472"/>
                </a:cubicBezTo>
                <a:cubicBezTo>
                  <a:pt x="270" y="475"/>
                  <a:pt x="270" y="477"/>
                  <a:pt x="270" y="479"/>
                </a:cubicBezTo>
                <a:cubicBezTo>
                  <a:pt x="269" y="488"/>
                  <a:pt x="270" y="495"/>
                  <a:pt x="269" y="502"/>
                </a:cubicBezTo>
                <a:cubicBezTo>
                  <a:pt x="268" y="508"/>
                  <a:pt x="268" y="516"/>
                  <a:pt x="268" y="517"/>
                </a:cubicBezTo>
                <a:cubicBezTo>
                  <a:pt x="268" y="518"/>
                  <a:pt x="268" y="520"/>
                  <a:pt x="266" y="522"/>
                </a:cubicBezTo>
                <a:cubicBezTo>
                  <a:pt x="266" y="522"/>
                  <a:pt x="266" y="522"/>
                  <a:pt x="266" y="522"/>
                </a:cubicBezTo>
                <a:cubicBezTo>
                  <a:pt x="264" y="520"/>
                  <a:pt x="253" y="507"/>
                  <a:pt x="253" y="507"/>
                </a:cubicBezTo>
                <a:cubicBezTo>
                  <a:pt x="252" y="507"/>
                  <a:pt x="252" y="507"/>
                  <a:pt x="251" y="505"/>
                </a:cubicBezTo>
                <a:cubicBezTo>
                  <a:pt x="251" y="503"/>
                  <a:pt x="251" y="502"/>
                  <a:pt x="250" y="501"/>
                </a:cubicBezTo>
                <a:close/>
                <a:moveTo>
                  <a:pt x="501" y="528"/>
                </a:moveTo>
                <a:cubicBezTo>
                  <a:pt x="499" y="529"/>
                  <a:pt x="499" y="529"/>
                  <a:pt x="499" y="529"/>
                </a:cubicBezTo>
                <a:cubicBezTo>
                  <a:pt x="439" y="533"/>
                  <a:pt x="439" y="533"/>
                  <a:pt x="439" y="533"/>
                </a:cubicBezTo>
                <a:cubicBezTo>
                  <a:pt x="439" y="532"/>
                  <a:pt x="439" y="532"/>
                  <a:pt x="439" y="531"/>
                </a:cubicBezTo>
                <a:cubicBezTo>
                  <a:pt x="439" y="530"/>
                  <a:pt x="435" y="521"/>
                  <a:pt x="436" y="519"/>
                </a:cubicBezTo>
                <a:cubicBezTo>
                  <a:pt x="436" y="517"/>
                  <a:pt x="438" y="511"/>
                  <a:pt x="438" y="509"/>
                </a:cubicBezTo>
                <a:cubicBezTo>
                  <a:pt x="438" y="506"/>
                  <a:pt x="439" y="485"/>
                  <a:pt x="438" y="483"/>
                </a:cubicBezTo>
                <a:cubicBezTo>
                  <a:pt x="436" y="480"/>
                  <a:pt x="436" y="478"/>
                  <a:pt x="436" y="477"/>
                </a:cubicBezTo>
                <a:cubicBezTo>
                  <a:pt x="436" y="477"/>
                  <a:pt x="436" y="476"/>
                  <a:pt x="436" y="475"/>
                </a:cubicBezTo>
                <a:cubicBezTo>
                  <a:pt x="443" y="475"/>
                  <a:pt x="465" y="475"/>
                  <a:pt x="487" y="474"/>
                </a:cubicBezTo>
                <a:cubicBezTo>
                  <a:pt x="484" y="475"/>
                  <a:pt x="484" y="475"/>
                  <a:pt x="484" y="475"/>
                </a:cubicBezTo>
                <a:cubicBezTo>
                  <a:pt x="472" y="476"/>
                  <a:pt x="472" y="476"/>
                  <a:pt x="472" y="476"/>
                </a:cubicBezTo>
                <a:cubicBezTo>
                  <a:pt x="472" y="478"/>
                  <a:pt x="472" y="478"/>
                  <a:pt x="472" y="478"/>
                </a:cubicBezTo>
                <a:cubicBezTo>
                  <a:pt x="501" y="480"/>
                  <a:pt x="501" y="480"/>
                  <a:pt x="501" y="480"/>
                </a:cubicBezTo>
                <a:lnTo>
                  <a:pt x="501" y="528"/>
                </a:lnTo>
                <a:close/>
                <a:moveTo>
                  <a:pt x="706" y="475"/>
                </a:moveTo>
                <a:cubicBezTo>
                  <a:pt x="697" y="479"/>
                  <a:pt x="697" y="479"/>
                  <a:pt x="697" y="479"/>
                </a:cubicBezTo>
                <a:cubicBezTo>
                  <a:pt x="697" y="480"/>
                  <a:pt x="697" y="480"/>
                  <a:pt x="697" y="480"/>
                </a:cubicBezTo>
                <a:cubicBezTo>
                  <a:pt x="702" y="481"/>
                  <a:pt x="702" y="481"/>
                  <a:pt x="702" y="481"/>
                </a:cubicBezTo>
                <a:cubicBezTo>
                  <a:pt x="702" y="481"/>
                  <a:pt x="702" y="482"/>
                  <a:pt x="704" y="482"/>
                </a:cubicBezTo>
                <a:cubicBezTo>
                  <a:pt x="706" y="482"/>
                  <a:pt x="706" y="480"/>
                  <a:pt x="706" y="480"/>
                </a:cubicBezTo>
                <a:cubicBezTo>
                  <a:pt x="717" y="480"/>
                  <a:pt x="717" y="480"/>
                  <a:pt x="717" y="480"/>
                </a:cubicBezTo>
                <a:cubicBezTo>
                  <a:pt x="717" y="480"/>
                  <a:pt x="717" y="481"/>
                  <a:pt x="719" y="481"/>
                </a:cubicBezTo>
                <a:cubicBezTo>
                  <a:pt x="720" y="482"/>
                  <a:pt x="720" y="480"/>
                  <a:pt x="720" y="480"/>
                </a:cubicBezTo>
                <a:cubicBezTo>
                  <a:pt x="727" y="480"/>
                  <a:pt x="727" y="480"/>
                  <a:pt x="727" y="480"/>
                </a:cubicBezTo>
                <a:cubicBezTo>
                  <a:pt x="727" y="525"/>
                  <a:pt x="727" y="525"/>
                  <a:pt x="727" y="525"/>
                </a:cubicBezTo>
                <a:cubicBezTo>
                  <a:pt x="725" y="527"/>
                  <a:pt x="725" y="527"/>
                  <a:pt x="725" y="527"/>
                </a:cubicBezTo>
                <a:cubicBezTo>
                  <a:pt x="725" y="527"/>
                  <a:pt x="663" y="533"/>
                  <a:pt x="645" y="534"/>
                </a:cubicBezTo>
                <a:cubicBezTo>
                  <a:pt x="645" y="534"/>
                  <a:pt x="645" y="534"/>
                  <a:pt x="645" y="534"/>
                </a:cubicBezTo>
                <a:cubicBezTo>
                  <a:pt x="649" y="531"/>
                  <a:pt x="647" y="524"/>
                  <a:pt x="647" y="519"/>
                </a:cubicBezTo>
                <a:cubicBezTo>
                  <a:pt x="647" y="514"/>
                  <a:pt x="648" y="499"/>
                  <a:pt x="652" y="501"/>
                </a:cubicBezTo>
                <a:cubicBezTo>
                  <a:pt x="656" y="503"/>
                  <a:pt x="666" y="525"/>
                  <a:pt x="666" y="525"/>
                </a:cubicBezTo>
                <a:cubicBezTo>
                  <a:pt x="668" y="525"/>
                  <a:pt x="668" y="525"/>
                  <a:pt x="668" y="525"/>
                </a:cubicBezTo>
                <a:cubicBezTo>
                  <a:pt x="668" y="525"/>
                  <a:pt x="669" y="524"/>
                  <a:pt x="668" y="521"/>
                </a:cubicBezTo>
                <a:cubicBezTo>
                  <a:pt x="666" y="518"/>
                  <a:pt x="661" y="504"/>
                  <a:pt x="660" y="500"/>
                </a:cubicBezTo>
                <a:cubicBezTo>
                  <a:pt x="659" y="496"/>
                  <a:pt x="659" y="486"/>
                  <a:pt x="658" y="484"/>
                </a:cubicBezTo>
                <a:cubicBezTo>
                  <a:pt x="658" y="483"/>
                  <a:pt x="655" y="478"/>
                  <a:pt x="651" y="475"/>
                </a:cubicBezTo>
                <a:cubicBezTo>
                  <a:pt x="651" y="474"/>
                  <a:pt x="650" y="474"/>
                  <a:pt x="649" y="473"/>
                </a:cubicBezTo>
                <a:cubicBezTo>
                  <a:pt x="662" y="474"/>
                  <a:pt x="677" y="474"/>
                  <a:pt x="677" y="474"/>
                </a:cubicBezTo>
                <a:cubicBezTo>
                  <a:pt x="705" y="473"/>
                  <a:pt x="705" y="473"/>
                  <a:pt x="705" y="473"/>
                </a:cubicBezTo>
                <a:lnTo>
                  <a:pt x="706" y="475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vert="horz" wrap="square" lIns="68569" tIns="34284" rIns="68569" bIns="34284" numCol="1" anchor="t" anchorCtr="0" compatLnSpc="1">
            <a:prstTxWarp prst="textNoShape">
              <a:avLst/>
            </a:prstTxWarp>
          </a:bodyPr>
          <a:lstStyle/>
          <a:p>
            <a:endParaRPr lang="de-DE" sz="1013" dirty="0"/>
          </a:p>
        </p:txBody>
      </p:sp>
      <p:sp>
        <p:nvSpPr>
          <p:cNvPr id="138" name="Freeform 207">
            <a:extLst>
              <a:ext uri="{FF2B5EF4-FFF2-40B4-BE49-F238E27FC236}">
                <a16:creationId xmlns:a16="http://schemas.microsoft.com/office/drawing/2014/main" id="{73D45DC1-4FD2-4606-B209-FAD3A26CF483}"/>
              </a:ext>
            </a:extLst>
          </p:cNvPr>
          <p:cNvSpPr>
            <a:spLocks/>
          </p:cNvSpPr>
          <p:nvPr/>
        </p:nvSpPr>
        <p:spPr bwMode="auto">
          <a:xfrm>
            <a:off x="1004318" y="4188236"/>
            <a:ext cx="219689" cy="192633"/>
          </a:xfrm>
          <a:custGeom>
            <a:avLst/>
            <a:gdLst>
              <a:gd name="T0" fmla="*/ 34 w 259"/>
              <a:gd name="T1" fmla="*/ 0 h 228"/>
              <a:gd name="T2" fmla="*/ 225 w 259"/>
              <a:gd name="T3" fmla="*/ 0 h 228"/>
              <a:gd name="T4" fmla="*/ 259 w 259"/>
              <a:gd name="T5" fmla="*/ 35 h 228"/>
              <a:gd name="T6" fmla="*/ 259 w 259"/>
              <a:gd name="T7" fmla="*/ 134 h 228"/>
              <a:gd name="T8" fmla="*/ 225 w 259"/>
              <a:gd name="T9" fmla="*/ 168 h 228"/>
              <a:gd name="T10" fmla="*/ 185 w 259"/>
              <a:gd name="T11" fmla="*/ 168 h 228"/>
              <a:gd name="T12" fmla="*/ 115 w 259"/>
              <a:gd name="T13" fmla="*/ 228 h 228"/>
              <a:gd name="T14" fmla="*/ 129 w 259"/>
              <a:gd name="T15" fmla="*/ 168 h 228"/>
              <a:gd name="T16" fmla="*/ 34 w 259"/>
              <a:gd name="T17" fmla="*/ 168 h 228"/>
              <a:gd name="T18" fmla="*/ 0 w 259"/>
              <a:gd name="T19" fmla="*/ 134 h 228"/>
              <a:gd name="T20" fmla="*/ 0 w 259"/>
              <a:gd name="T21" fmla="*/ 35 h 228"/>
              <a:gd name="T22" fmla="*/ 34 w 259"/>
              <a:gd name="T23" fmla="*/ 0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59" h="228">
                <a:moveTo>
                  <a:pt x="34" y="0"/>
                </a:moveTo>
                <a:cubicBezTo>
                  <a:pt x="225" y="0"/>
                  <a:pt x="225" y="0"/>
                  <a:pt x="225" y="0"/>
                </a:cubicBezTo>
                <a:cubicBezTo>
                  <a:pt x="244" y="0"/>
                  <a:pt x="259" y="15"/>
                  <a:pt x="259" y="35"/>
                </a:cubicBezTo>
                <a:cubicBezTo>
                  <a:pt x="259" y="134"/>
                  <a:pt x="259" y="134"/>
                  <a:pt x="259" y="134"/>
                </a:cubicBezTo>
                <a:cubicBezTo>
                  <a:pt x="259" y="153"/>
                  <a:pt x="244" y="168"/>
                  <a:pt x="225" y="168"/>
                </a:cubicBezTo>
                <a:cubicBezTo>
                  <a:pt x="185" y="168"/>
                  <a:pt x="185" y="168"/>
                  <a:pt x="185" y="168"/>
                </a:cubicBezTo>
                <a:cubicBezTo>
                  <a:pt x="115" y="228"/>
                  <a:pt x="115" y="228"/>
                  <a:pt x="115" y="228"/>
                </a:cubicBezTo>
                <a:cubicBezTo>
                  <a:pt x="129" y="168"/>
                  <a:pt x="129" y="168"/>
                  <a:pt x="129" y="168"/>
                </a:cubicBezTo>
                <a:cubicBezTo>
                  <a:pt x="34" y="168"/>
                  <a:pt x="34" y="168"/>
                  <a:pt x="34" y="168"/>
                </a:cubicBezTo>
                <a:cubicBezTo>
                  <a:pt x="15" y="168"/>
                  <a:pt x="0" y="153"/>
                  <a:pt x="0" y="134"/>
                </a:cubicBezTo>
                <a:cubicBezTo>
                  <a:pt x="0" y="35"/>
                  <a:pt x="0" y="35"/>
                  <a:pt x="0" y="35"/>
                </a:cubicBezTo>
                <a:cubicBezTo>
                  <a:pt x="0" y="15"/>
                  <a:pt x="15" y="0"/>
                  <a:pt x="34" y="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68569" tIns="34284" rIns="68569" bIns="34284" numCol="1" anchor="t" anchorCtr="0" compatLnSpc="1">
            <a:prstTxWarp prst="textNoShape">
              <a:avLst/>
            </a:prstTxWarp>
          </a:bodyPr>
          <a:lstStyle/>
          <a:p>
            <a:endParaRPr lang="de-DE" sz="1013" dirty="0"/>
          </a:p>
        </p:txBody>
      </p:sp>
      <p:sp>
        <p:nvSpPr>
          <p:cNvPr id="139" name="Freeform 208">
            <a:extLst>
              <a:ext uri="{FF2B5EF4-FFF2-40B4-BE49-F238E27FC236}">
                <a16:creationId xmlns:a16="http://schemas.microsoft.com/office/drawing/2014/main" id="{785133A1-B444-4399-ACFB-5192E7855606}"/>
              </a:ext>
            </a:extLst>
          </p:cNvPr>
          <p:cNvSpPr>
            <a:spLocks/>
          </p:cNvSpPr>
          <p:nvPr/>
        </p:nvSpPr>
        <p:spPr bwMode="auto">
          <a:xfrm>
            <a:off x="1317130" y="4303381"/>
            <a:ext cx="166660" cy="138523"/>
          </a:xfrm>
          <a:custGeom>
            <a:avLst/>
            <a:gdLst>
              <a:gd name="T0" fmla="*/ 25 w 197"/>
              <a:gd name="T1" fmla="*/ 0 h 163"/>
              <a:gd name="T2" fmla="*/ 172 w 197"/>
              <a:gd name="T3" fmla="*/ 0 h 163"/>
              <a:gd name="T4" fmla="*/ 197 w 197"/>
              <a:gd name="T5" fmla="*/ 25 h 163"/>
              <a:gd name="T6" fmla="*/ 197 w 197"/>
              <a:gd name="T7" fmla="*/ 96 h 163"/>
              <a:gd name="T8" fmla="*/ 172 w 197"/>
              <a:gd name="T9" fmla="*/ 121 h 163"/>
              <a:gd name="T10" fmla="*/ 132 w 197"/>
              <a:gd name="T11" fmla="*/ 121 h 163"/>
              <a:gd name="T12" fmla="*/ 83 w 197"/>
              <a:gd name="T13" fmla="*/ 163 h 163"/>
              <a:gd name="T14" fmla="*/ 93 w 197"/>
              <a:gd name="T15" fmla="*/ 121 h 163"/>
              <a:gd name="T16" fmla="*/ 25 w 197"/>
              <a:gd name="T17" fmla="*/ 121 h 163"/>
              <a:gd name="T18" fmla="*/ 0 w 197"/>
              <a:gd name="T19" fmla="*/ 96 h 163"/>
              <a:gd name="T20" fmla="*/ 0 w 197"/>
              <a:gd name="T21" fmla="*/ 25 h 163"/>
              <a:gd name="T22" fmla="*/ 25 w 197"/>
              <a:gd name="T23" fmla="*/ 0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97" h="163">
                <a:moveTo>
                  <a:pt x="25" y="0"/>
                </a:moveTo>
                <a:cubicBezTo>
                  <a:pt x="172" y="0"/>
                  <a:pt x="172" y="0"/>
                  <a:pt x="172" y="0"/>
                </a:cubicBezTo>
                <a:cubicBezTo>
                  <a:pt x="186" y="0"/>
                  <a:pt x="197" y="11"/>
                  <a:pt x="197" y="25"/>
                </a:cubicBezTo>
                <a:cubicBezTo>
                  <a:pt x="197" y="96"/>
                  <a:pt x="197" y="96"/>
                  <a:pt x="197" y="96"/>
                </a:cubicBezTo>
                <a:cubicBezTo>
                  <a:pt x="197" y="110"/>
                  <a:pt x="186" y="121"/>
                  <a:pt x="172" y="121"/>
                </a:cubicBezTo>
                <a:cubicBezTo>
                  <a:pt x="132" y="121"/>
                  <a:pt x="132" y="121"/>
                  <a:pt x="132" y="121"/>
                </a:cubicBezTo>
                <a:cubicBezTo>
                  <a:pt x="83" y="163"/>
                  <a:pt x="83" y="163"/>
                  <a:pt x="83" y="163"/>
                </a:cubicBezTo>
                <a:cubicBezTo>
                  <a:pt x="93" y="121"/>
                  <a:pt x="93" y="121"/>
                  <a:pt x="93" y="121"/>
                </a:cubicBezTo>
                <a:cubicBezTo>
                  <a:pt x="25" y="121"/>
                  <a:pt x="25" y="121"/>
                  <a:pt x="25" y="121"/>
                </a:cubicBezTo>
                <a:cubicBezTo>
                  <a:pt x="11" y="121"/>
                  <a:pt x="0" y="110"/>
                  <a:pt x="0" y="96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11"/>
                  <a:pt x="11" y="0"/>
                  <a:pt x="25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68569" tIns="34284" rIns="68569" bIns="34284" numCol="1" anchor="t" anchorCtr="0" compatLnSpc="1">
            <a:prstTxWarp prst="textNoShape">
              <a:avLst/>
            </a:prstTxWarp>
          </a:bodyPr>
          <a:lstStyle/>
          <a:p>
            <a:endParaRPr lang="de-DE" sz="1013" dirty="0"/>
          </a:p>
        </p:txBody>
      </p:sp>
      <p:sp>
        <p:nvSpPr>
          <p:cNvPr id="140" name="Freeform 209">
            <a:extLst>
              <a:ext uri="{FF2B5EF4-FFF2-40B4-BE49-F238E27FC236}">
                <a16:creationId xmlns:a16="http://schemas.microsoft.com/office/drawing/2014/main" id="{92B6B512-0EC7-4E2E-B3B0-612C5BAE25F3}"/>
              </a:ext>
            </a:extLst>
          </p:cNvPr>
          <p:cNvSpPr>
            <a:spLocks/>
          </p:cNvSpPr>
          <p:nvPr/>
        </p:nvSpPr>
        <p:spPr bwMode="auto">
          <a:xfrm>
            <a:off x="751136" y="4289097"/>
            <a:ext cx="132029" cy="114714"/>
          </a:xfrm>
          <a:custGeom>
            <a:avLst/>
            <a:gdLst>
              <a:gd name="T0" fmla="*/ 134 w 155"/>
              <a:gd name="T1" fmla="*/ 0 h 135"/>
              <a:gd name="T2" fmla="*/ 21 w 155"/>
              <a:gd name="T3" fmla="*/ 0 h 135"/>
              <a:gd name="T4" fmla="*/ 0 w 155"/>
              <a:gd name="T5" fmla="*/ 20 h 135"/>
              <a:gd name="T6" fmla="*/ 0 w 155"/>
              <a:gd name="T7" fmla="*/ 79 h 135"/>
              <a:gd name="T8" fmla="*/ 21 w 155"/>
              <a:gd name="T9" fmla="*/ 100 h 135"/>
              <a:gd name="T10" fmla="*/ 45 w 155"/>
              <a:gd name="T11" fmla="*/ 100 h 135"/>
              <a:gd name="T12" fmla="*/ 86 w 155"/>
              <a:gd name="T13" fmla="*/ 135 h 135"/>
              <a:gd name="T14" fmla="*/ 78 w 155"/>
              <a:gd name="T15" fmla="*/ 100 h 135"/>
              <a:gd name="T16" fmla="*/ 134 w 155"/>
              <a:gd name="T17" fmla="*/ 100 h 135"/>
              <a:gd name="T18" fmla="*/ 155 w 155"/>
              <a:gd name="T19" fmla="*/ 79 h 135"/>
              <a:gd name="T20" fmla="*/ 155 w 155"/>
              <a:gd name="T21" fmla="*/ 20 h 135"/>
              <a:gd name="T22" fmla="*/ 134 w 155"/>
              <a:gd name="T23" fmla="*/ 0 h 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55" h="135">
                <a:moveTo>
                  <a:pt x="134" y="0"/>
                </a:moveTo>
                <a:cubicBezTo>
                  <a:pt x="21" y="0"/>
                  <a:pt x="21" y="0"/>
                  <a:pt x="21" y="0"/>
                </a:cubicBezTo>
                <a:cubicBezTo>
                  <a:pt x="9" y="0"/>
                  <a:pt x="0" y="9"/>
                  <a:pt x="0" y="20"/>
                </a:cubicBezTo>
                <a:cubicBezTo>
                  <a:pt x="0" y="79"/>
                  <a:pt x="0" y="79"/>
                  <a:pt x="0" y="79"/>
                </a:cubicBezTo>
                <a:cubicBezTo>
                  <a:pt x="0" y="91"/>
                  <a:pt x="9" y="100"/>
                  <a:pt x="21" y="100"/>
                </a:cubicBezTo>
                <a:cubicBezTo>
                  <a:pt x="45" y="100"/>
                  <a:pt x="45" y="100"/>
                  <a:pt x="45" y="100"/>
                </a:cubicBezTo>
                <a:cubicBezTo>
                  <a:pt x="86" y="135"/>
                  <a:pt x="86" y="135"/>
                  <a:pt x="86" y="135"/>
                </a:cubicBezTo>
                <a:cubicBezTo>
                  <a:pt x="78" y="100"/>
                  <a:pt x="78" y="100"/>
                  <a:pt x="78" y="100"/>
                </a:cubicBezTo>
                <a:cubicBezTo>
                  <a:pt x="134" y="100"/>
                  <a:pt x="134" y="100"/>
                  <a:pt x="134" y="100"/>
                </a:cubicBezTo>
                <a:cubicBezTo>
                  <a:pt x="146" y="100"/>
                  <a:pt x="155" y="91"/>
                  <a:pt x="155" y="79"/>
                </a:cubicBezTo>
                <a:cubicBezTo>
                  <a:pt x="155" y="20"/>
                  <a:pt x="155" y="20"/>
                  <a:pt x="155" y="20"/>
                </a:cubicBezTo>
                <a:cubicBezTo>
                  <a:pt x="155" y="9"/>
                  <a:pt x="146" y="0"/>
                  <a:pt x="134" y="0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txBody>
          <a:bodyPr vert="horz" wrap="square" lIns="68569" tIns="34284" rIns="68569" bIns="34284" numCol="1" anchor="t" anchorCtr="0" compatLnSpc="1">
            <a:prstTxWarp prst="textNoShape">
              <a:avLst/>
            </a:prstTxWarp>
          </a:bodyPr>
          <a:lstStyle/>
          <a:p>
            <a:endParaRPr lang="de-DE" sz="1013" dirty="0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57B8C9E-9763-49E9-87ED-9A867A73E271}"/>
              </a:ext>
            </a:extLst>
          </p:cNvPr>
          <p:cNvGrpSpPr/>
          <p:nvPr/>
        </p:nvGrpSpPr>
        <p:grpSpPr>
          <a:xfrm>
            <a:off x="8780124" y="53408"/>
            <a:ext cx="384048" cy="384048"/>
            <a:chOff x="1062804" y="4171643"/>
            <a:chExt cx="685083" cy="685083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FDD0A000-3EF6-462A-B907-3F32C80B27EA}"/>
                </a:ext>
              </a:extLst>
            </p:cNvPr>
            <p:cNvSpPr/>
            <p:nvPr/>
          </p:nvSpPr>
          <p:spPr bwMode="gray">
            <a:xfrm>
              <a:off x="1062804" y="4171643"/>
              <a:ext cx="685083" cy="68508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sp>
          <p:nvSpPr>
            <p:cNvPr id="71" name="Freeform 12">
              <a:extLst>
                <a:ext uri="{FF2B5EF4-FFF2-40B4-BE49-F238E27FC236}">
                  <a16:creationId xmlns:a16="http://schemas.microsoft.com/office/drawing/2014/main" id="{7DFB493A-171F-42D5-BDB5-028CCAEAAB6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95414" y="4305884"/>
              <a:ext cx="418203" cy="354764"/>
            </a:xfrm>
            <a:custGeom>
              <a:avLst/>
              <a:gdLst>
                <a:gd name="T0" fmla="*/ 93 w 187"/>
                <a:gd name="T1" fmla="*/ 0 h 162"/>
                <a:gd name="T2" fmla="*/ 0 w 187"/>
                <a:gd name="T3" fmla="*/ 162 h 162"/>
                <a:gd name="T4" fmla="*/ 187 w 187"/>
                <a:gd name="T5" fmla="*/ 162 h 162"/>
                <a:gd name="T6" fmla="*/ 93 w 187"/>
                <a:gd name="T7" fmla="*/ 0 h 162"/>
                <a:gd name="T8" fmla="*/ 87 w 187"/>
                <a:gd name="T9" fmla="*/ 55 h 162"/>
                <a:gd name="T10" fmla="*/ 93 w 187"/>
                <a:gd name="T11" fmla="*/ 53 h 162"/>
                <a:gd name="T12" fmla="*/ 100 w 187"/>
                <a:gd name="T13" fmla="*/ 56 h 162"/>
                <a:gd name="T14" fmla="*/ 103 w 187"/>
                <a:gd name="T15" fmla="*/ 62 h 162"/>
                <a:gd name="T16" fmla="*/ 95 w 187"/>
                <a:gd name="T17" fmla="*/ 111 h 162"/>
                <a:gd name="T18" fmla="*/ 91 w 187"/>
                <a:gd name="T19" fmla="*/ 111 h 162"/>
                <a:gd name="T20" fmla="*/ 84 w 187"/>
                <a:gd name="T21" fmla="*/ 62 h 162"/>
                <a:gd name="T22" fmla="*/ 87 w 187"/>
                <a:gd name="T23" fmla="*/ 55 h 162"/>
                <a:gd name="T24" fmla="*/ 99 w 187"/>
                <a:gd name="T25" fmla="*/ 131 h 162"/>
                <a:gd name="T26" fmla="*/ 93 w 187"/>
                <a:gd name="T27" fmla="*/ 134 h 162"/>
                <a:gd name="T28" fmla="*/ 87 w 187"/>
                <a:gd name="T29" fmla="*/ 131 h 162"/>
                <a:gd name="T30" fmla="*/ 85 w 187"/>
                <a:gd name="T31" fmla="*/ 125 h 162"/>
                <a:gd name="T32" fmla="*/ 87 w 187"/>
                <a:gd name="T33" fmla="*/ 120 h 162"/>
                <a:gd name="T34" fmla="*/ 93 w 187"/>
                <a:gd name="T35" fmla="*/ 117 h 162"/>
                <a:gd name="T36" fmla="*/ 99 w 187"/>
                <a:gd name="T37" fmla="*/ 120 h 162"/>
                <a:gd name="T38" fmla="*/ 102 w 187"/>
                <a:gd name="T39" fmla="*/ 125 h 162"/>
                <a:gd name="T40" fmla="*/ 99 w 187"/>
                <a:gd name="T41" fmla="*/ 13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7" h="162">
                  <a:moveTo>
                    <a:pt x="93" y="0"/>
                  </a:moveTo>
                  <a:cubicBezTo>
                    <a:pt x="0" y="162"/>
                    <a:pt x="0" y="162"/>
                    <a:pt x="0" y="162"/>
                  </a:cubicBezTo>
                  <a:cubicBezTo>
                    <a:pt x="187" y="162"/>
                    <a:pt x="187" y="162"/>
                    <a:pt x="187" y="162"/>
                  </a:cubicBezTo>
                  <a:lnTo>
                    <a:pt x="93" y="0"/>
                  </a:lnTo>
                  <a:close/>
                  <a:moveTo>
                    <a:pt x="87" y="55"/>
                  </a:moveTo>
                  <a:cubicBezTo>
                    <a:pt x="89" y="54"/>
                    <a:pt x="91" y="53"/>
                    <a:pt x="93" y="53"/>
                  </a:cubicBezTo>
                  <a:cubicBezTo>
                    <a:pt x="96" y="53"/>
                    <a:pt x="98" y="54"/>
                    <a:pt x="100" y="56"/>
                  </a:cubicBezTo>
                  <a:cubicBezTo>
                    <a:pt x="102" y="57"/>
                    <a:pt x="103" y="60"/>
                    <a:pt x="103" y="62"/>
                  </a:cubicBezTo>
                  <a:cubicBezTo>
                    <a:pt x="103" y="65"/>
                    <a:pt x="100" y="81"/>
                    <a:pt x="95" y="111"/>
                  </a:cubicBezTo>
                  <a:cubicBezTo>
                    <a:pt x="91" y="111"/>
                    <a:pt x="91" y="111"/>
                    <a:pt x="91" y="111"/>
                  </a:cubicBezTo>
                  <a:cubicBezTo>
                    <a:pt x="86" y="81"/>
                    <a:pt x="84" y="65"/>
                    <a:pt x="84" y="62"/>
                  </a:cubicBezTo>
                  <a:cubicBezTo>
                    <a:pt x="84" y="59"/>
                    <a:pt x="85" y="57"/>
                    <a:pt x="87" y="55"/>
                  </a:cubicBezTo>
                  <a:close/>
                  <a:moveTo>
                    <a:pt x="99" y="131"/>
                  </a:moveTo>
                  <a:cubicBezTo>
                    <a:pt x="98" y="133"/>
                    <a:pt x="96" y="134"/>
                    <a:pt x="93" y="134"/>
                  </a:cubicBezTo>
                  <a:cubicBezTo>
                    <a:pt x="91" y="134"/>
                    <a:pt x="89" y="133"/>
                    <a:pt x="87" y="131"/>
                  </a:cubicBezTo>
                  <a:cubicBezTo>
                    <a:pt x="86" y="130"/>
                    <a:pt x="85" y="128"/>
                    <a:pt x="85" y="125"/>
                  </a:cubicBezTo>
                  <a:cubicBezTo>
                    <a:pt x="85" y="123"/>
                    <a:pt x="86" y="121"/>
                    <a:pt x="87" y="120"/>
                  </a:cubicBezTo>
                  <a:cubicBezTo>
                    <a:pt x="89" y="118"/>
                    <a:pt x="91" y="117"/>
                    <a:pt x="93" y="117"/>
                  </a:cubicBezTo>
                  <a:cubicBezTo>
                    <a:pt x="96" y="117"/>
                    <a:pt x="98" y="118"/>
                    <a:pt x="99" y="120"/>
                  </a:cubicBezTo>
                  <a:cubicBezTo>
                    <a:pt x="101" y="121"/>
                    <a:pt x="102" y="123"/>
                    <a:pt x="102" y="125"/>
                  </a:cubicBezTo>
                  <a:cubicBezTo>
                    <a:pt x="102" y="128"/>
                    <a:pt x="101" y="130"/>
                    <a:pt x="99" y="13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59373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Marcador de contenido 4">
            <a:extLst>
              <a:ext uri="{FF2B5EF4-FFF2-40B4-BE49-F238E27FC236}">
                <a16:creationId xmlns:a16="http://schemas.microsoft.com/office/drawing/2014/main" id="{58C6D2EC-55A1-CF45-9984-EB97A62155C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0"/>
            <a:ext cx="9143999" cy="5143500"/>
          </a:xfr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71263D4C-0798-3949-95D6-84BB8174B245}"/>
              </a:ext>
            </a:extLst>
          </p:cNvPr>
          <p:cNvSpPr txBox="1"/>
          <p:nvPr/>
        </p:nvSpPr>
        <p:spPr>
          <a:xfrm>
            <a:off x="2529325" y="629899"/>
            <a:ext cx="464046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92566"/>
                </a:solidFill>
                <a:latin typeface="Helvetica" pitchFamily="2" charset="0"/>
              </a:rPr>
              <a:t>Building Cyber Resilience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99358BD7-CAA4-8243-BF91-05A5089FAF09}"/>
              </a:ext>
            </a:extLst>
          </p:cNvPr>
          <p:cNvSpPr/>
          <p:nvPr/>
        </p:nvSpPr>
        <p:spPr>
          <a:xfrm>
            <a:off x="2529324" y="1681518"/>
            <a:ext cx="4085347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rgbClr val="6B2870"/>
                </a:solidFill>
                <a:latin typeface="Helvetica" pitchFamily="2" charset="0"/>
              </a:rPr>
              <a:t>Risks, Regulation, and Strategies</a:t>
            </a:r>
            <a:br>
              <a:rPr lang="es-CO" sz="2400" b="1" i="0" dirty="0">
                <a:solidFill>
                  <a:srgbClr val="222222"/>
                </a:solidFill>
                <a:effectLst/>
                <a:latin typeface="Roboto"/>
              </a:rPr>
            </a:br>
            <a:endParaRPr lang="es-CO" sz="2400" b="1" i="0" dirty="0">
              <a:solidFill>
                <a:srgbClr val="222222"/>
              </a:solidFill>
              <a:effectLst/>
              <a:latin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5059955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1ECDD16E-443E-4C5C-857B-267FEA1A6B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4683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A0FB00-88F7-4DF2-90A3-3295B50589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b="1" cap="all" dirty="0">
                <a:solidFill>
                  <a:srgbClr val="092566"/>
                </a:solidFill>
                <a:latin typeface="Helvetica" pitchFamily="2" charset="0"/>
              </a:rPr>
              <a:t>Agenda</a:t>
            </a:r>
            <a:endParaRPr lang="en-GB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0406B1-1DA8-4C93-96DA-FEE77CA39F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36241" y="1106999"/>
            <a:ext cx="7385883" cy="3263504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spcBef>
                <a:spcPts val="1600"/>
              </a:spcBef>
              <a:buNone/>
            </a:pPr>
            <a:r>
              <a:rPr lang="en-GB" sz="1800" b="1" dirty="0">
                <a:solidFill>
                  <a:schemeClr val="accent1"/>
                </a:solidFill>
              </a:rPr>
              <a:t>Cyber risk: </a:t>
            </a:r>
            <a:r>
              <a:rPr lang="en-GB" sz="1800" dirty="0">
                <a:solidFill>
                  <a:schemeClr val="accent3">
                    <a:lumMod val="50000"/>
                  </a:schemeClr>
                </a:solidFill>
              </a:rPr>
              <a:t>Why is cyber risk hear to stay and how does innovation impact the level of cyber risk going forward?</a:t>
            </a:r>
          </a:p>
          <a:p>
            <a:pPr marL="0" indent="0">
              <a:lnSpc>
                <a:spcPct val="100000"/>
              </a:lnSpc>
              <a:spcBef>
                <a:spcPts val="1600"/>
              </a:spcBef>
              <a:buNone/>
            </a:pPr>
            <a:r>
              <a:rPr lang="en-GB" sz="1800" b="1" dirty="0">
                <a:solidFill>
                  <a:schemeClr val="accent1"/>
                </a:solidFill>
              </a:rPr>
              <a:t>Regulatory environment: </a:t>
            </a:r>
            <a:r>
              <a:rPr lang="en-GB" sz="1800" dirty="0">
                <a:solidFill>
                  <a:schemeClr val="accent3">
                    <a:lumMod val="50000"/>
                  </a:schemeClr>
                </a:solidFill>
              </a:rPr>
              <a:t>In what ways </a:t>
            </a:r>
            <a:r>
              <a:rPr lang="en-US" sz="1800" dirty="0">
                <a:solidFill>
                  <a:schemeClr val="accent3">
                    <a:lumMod val="50000"/>
                  </a:schemeClr>
                </a:solidFill>
              </a:rPr>
              <a:t>can cyber events impact financial stability and </a:t>
            </a:r>
            <a:r>
              <a:rPr lang="en-GB" sz="1800" dirty="0">
                <a:solidFill>
                  <a:schemeClr val="accent3">
                    <a:lumMod val="50000"/>
                  </a:schemeClr>
                </a:solidFill>
              </a:rPr>
              <a:t>what are the regulatory challenges?</a:t>
            </a:r>
          </a:p>
          <a:p>
            <a:pPr marL="0" indent="0">
              <a:lnSpc>
                <a:spcPct val="100000"/>
              </a:lnSpc>
              <a:spcBef>
                <a:spcPts val="1600"/>
              </a:spcBef>
              <a:buNone/>
            </a:pPr>
            <a:r>
              <a:rPr lang="en-GB" sz="1800" b="1" dirty="0">
                <a:solidFill>
                  <a:schemeClr val="accent1"/>
                </a:solidFill>
              </a:rPr>
              <a:t>Cyber program: </a:t>
            </a:r>
            <a:r>
              <a:rPr lang="en-US" sz="1800" dirty="0">
                <a:solidFill>
                  <a:schemeClr val="accent3">
                    <a:lumMod val="50000"/>
                  </a:schemeClr>
                </a:solidFill>
              </a:rPr>
              <a:t>How do banks build an effective program while complying with an ever-increasing number of regulations across jurisdictions?</a:t>
            </a:r>
            <a:endParaRPr lang="en-GB" sz="1800" dirty="0">
              <a:solidFill>
                <a:schemeClr val="accent3">
                  <a:lumMod val="50000"/>
                </a:schemeClr>
              </a:solidFill>
            </a:endParaRPr>
          </a:p>
          <a:p>
            <a:pPr marL="0" indent="0">
              <a:lnSpc>
                <a:spcPct val="100000"/>
              </a:lnSpc>
              <a:spcBef>
                <a:spcPts val="1600"/>
              </a:spcBef>
              <a:buNone/>
            </a:pPr>
            <a:r>
              <a:rPr lang="en-GB" sz="1800" b="1" dirty="0">
                <a:solidFill>
                  <a:schemeClr val="accent1"/>
                </a:solidFill>
              </a:rPr>
              <a:t>Resilience regulation: </a:t>
            </a:r>
            <a:r>
              <a:rPr lang="en-US" sz="1800" dirty="0">
                <a:solidFill>
                  <a:schemeClr val="accent3">
                    <a:lumMod val="50000"/>
                  </a:schemeClr>
                </a:solidFill>
              </a:rPr>
              <a:t>How are financial regulators responding to the challenges of cyber risk?</a:t>
            </a:r>
          </a:p>
          <a:p>
            <a:pPr marL="0" indent="0">
              <a:lnSpc>
                <a:spcPct val="100000"/>
              </a:lnSpc>
              <a:spcBef>
                <a:spcPts val="1600"/>
              </a:spcBef>
              <a:buNone/>
            </a:pPr>
            <a:r>
              <a:rPr lang="en-GB" sz="1800" b="1" dirty="0">
                <a:solidFill>
                  <a:schemeClr val="accent1"/>
                </a:solidFill>
              </a:rPr>
              <a:t>Key challenges: </a:t>
            </a:r>
            <a:r>
              <a:rPr lang="en-US" sz="1800" dirty="0">
                <a:solidFill>
                  <a:schemeClr val="accent3">
                    <a:lumMod val="50000"/>
                  </a:schemeClr>
                </a:solidFill>
              </a:rPr>
              <a:t>What are the key challenges for financial institutions to deliver the transformational change required for cyber resilience?</a:t>
            </a:r>
            <a:endParaRPr lang="en-GB" sz="1800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100000"/>
              </a:lnSpc>
              <a:spcBef>
                <a:spcPts val="1600"/>
              </a:spcBef>
            </a:pPr>
            <a:endParaRPr lang="en-GB" sz="180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C93649B-9100-461A-BBD2-9F71F2018E98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62324" y="1085988"/>
            <a:ext cx="685083" cy="685083"/>
            <a:chOff x="700116" y="1398588"/>
            <a:chExt cx="1360292" cy="1360292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083B10E4-B5F3-47B2-AA19-4FFE9067D766}"/>
                </a:ext>
              </a:extLst>
            </p:cNvPr>
            <p:cNvSpPr/>
            <p:nvPr/>
          </p:nvSpPr>
          <p:spPr bwMode="gray">
            <a:xfrm>
              <a:off x="700116" y="1398588"/>
              <a:ext cx="1360292" cy="136029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6" name="Group 88">
              <a:extLst>
                <a:ext uri="{FF2B5EF4-FFF2-40B4-BE49-F238E27FC236}">
                  <a16:creationId xmlns:a16="http://schemas.microsoft.com/office/drawing/2014/main" id="{297E1921-33AF-4584-9409-E26474EB26FB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004221" y="1527526"/>
              <a:ext cx="761825" cy="1097359"/>
              <a:chOff x="2748" y="1759"/>
              <a:chExt cx="554" cy="798"/>
            </a:xfrm>
            <a:solidFill>
              <a:schemeClr val="accent1"/>
            </a:solidFill>
          </p:grpSpPr>
          <p:sp>
            <p:nvSpPr>
              <p:cNvPr id="7" name="Freeform 89">
                <a:extLst>
                  <a:ext uri="{FF2B5EF4-FFF2-40B4-BE49-F238E27FC236}">
                    <a16:creationId xmlns:a16="http://schemas.microsoft.com/office/drawing/2014/main" id="{62EE26A8-6EB9-488C-BF3B-EC9D360D54C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13" y="2045"/>
                <a:ext cx="426" cy="171"/>
              </a:xfrm>
              <a:custGeom>
                <a:avLst/>
                <a:gdLst>
                  <a:gd name="T0" fmla="*/ 194 w 203"/>
                  <a:gd name="T1" fmla="*/ 56 h 82"/>
                  <a:gd name="T2" fmla="*/ 164 w 203"/>
                  <a:gd name="T3" fmla="*/ 35 h 82"/>
                  <a:gd name="T4" fmla="*/ 153 w 203"/>
                  <a:gd name="T5" fmla="*/ 35 h 82"/>
                  <a:gd name="T6" fmla="*/ 167 w 203"/>
                  <a:gd name="T7" fmla="*/ 15 h 82"/>
                  <a:gd name="T8" fmla="*/ 159 w 203"/>
                  <a:gd name="T9" fmla="*/ 0 h 82"/>
                  <a:gd name="T10" fmla="*/ 115 w 203"/>
                  <a:gd name="T11" fmla="*/ 3 h 82"/>
                  <a:gd name="T12" fmla="*/ 88 w 203"/>
                  <a:gd name="T13" fmla="*/ 3 h 82"/>
                  <a:gd name="T14" fmla="*/ 44 w 203"/>
                  <a:gd name="T15" fmla="*/ 0 h 82"/>
                  <a:gd name="T16" fmla="*/ 36 w 203"/>
                  <a:gd name="T17" fmla="*/ 15 h 82"/>
                  <a:gd name="T18" fmla="*/ 50 w 203"/>
                  <a:gd name="T19" fmla="*/ 35 h 82"/>
                  <a:gd name="T20" fmla="*/ 39 w 203"/>
                  <a:gd name="T21" fmla="*/ 35 h 82"/>
                  <a:gd name="T22" fmla="*/ 9 w 203"/>
                  <a:gd name="T23" fmla="*/ 56 h 82"/>
                  <a:gd name="T24" fmla="*/ 0 w 203"/>
                  <a:gd name="T25" fmla="*/ 82 h 82"/>
                  <a:gd name="T26" fmla="*/ 203 w 203"/>
                  <a:gd name="T27" fmla="*/ 82 h 82"/>
                  <a:gd name="T28" fmla="*/ 194 w 203"/>
                  <a:gd name="T29" fmla="*/ 5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3" h="82">
                    <a:moveTo>
                      <a:pt x="194" y="56"/>
                    </a:moveTo>
                    <a:cubicBezTo>
                      <a:pt x="189" y="43"/>
                      <a:pt x="177" y="35"/>
                      <a:pt x="164" y="35"/>
                    </a:cubicBezTo>
                    <a:cubicBezTo>
                      <a:pt x="153" y="35"/>
                      <a:pt x="153" y="35"/>
                      <a:pt x="153" y="35"/>
                    </a:cubicBezTo>
                    <a:cubicBezTo>
                      <a:pt x="167" y="15"/>
                      <a:pt x="167" y="15"/>
                      <a:pt x="167" y="15"/>
                    </a:cubicBezTo>
                    <a:cubicBezTo>
                      <a:pt x="172" y="9"/>
                      <a:pt x="167" y="0"/>
                      <a:pt x="159" y="0"/>
                    </a:cubicBezTo>
                    <a:cubicBezTo>
                      <a:pt x="115" y="3"/>
                      <a:pt x="115" y="3"/>
                      <a:pt x="115" y="3"/>
                    </a:cubicBezTo>
                    <a:cubicBezTo>
                      <a:pt x="106" y="3"/>
                      <a:pt x="97" y="3"/>
                      <a:pt x="88" y="3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36" y="0"/>
                      <a:pt x="31" y="9"/>
                      <a:pt x="36" y="15"/>
                    </a:cubicBezTo>
                    <a:cubicBezTo>
                      <a:pt x="50" y="35"/>
                      <a:pt x="50" y="35"/>
                      <a:pt x="50" y="35"/>
                    </a:cubicBezTo>
                    <a:cubicBezTo>
                      <a:pt x="39" y="35"/>
                      <a:pt x="39" y="35"/>
                      <a:pt x="39" y="35"/>
                    </a:cubicBezTo>
                    <a:cubicBezTo>
                      <a:pt x="25" y="35"/>
                      <a:pt x="13" y="43"/>
                      <a:pt x="9" y="56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203" y="82"/>
                      <a:pt x="203" y="82"/>
                      <a:pt x="203" y="82"/>
                    </a:cubicBezTo>
                    <a:lnTo>
                      <a:pt x="194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8" name="Freeform 90">
                <a:extLst>
                  <a:ext uri="{FF2B5EF4-FFF2-40B4-BE49-F238E27FC236}">
                    <a16:creationId xmlns:a16="http://schemas.microsoft.com/office/drawing/2014/main" id="{67C582B0-A6D3-43D7-861E-B9B9AA94A1C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886" y="1924"/>
                <a:ext cx="275" cy="106"/>
              </a:xfrm>
              <a:custGeom>
                <a:avLst/>
                <a:gdLst>
                  <a:gd name="T0" fmla="*/ 6 w 131"/>
                  <a:gd name="T1" fmla="*/ 0 h 51"/>
                  <a:gd name="T2" fmla="*/ 1 w 131"/>
                  <a:gd name="T3" fmla="*/ 37 h 51"/>
                  <a:gd name="T4" fmla="*/ 9 w 131"/>
                  <a:gd name="T5" fmla="*/ 47 h 51"/>
                  <a:gd name="T6" fmla="*/ 46 w 131"/>
                  <a:gd name="T7" fmla="*/ 50 h 51"/>
                  <a:gd name="T8" fmla="*/ 55 w 131"/>
                  <a:gd name="T9" fmla="*/ 47 h 51"/>
                  <a:gd name="T10" fmla="*/ 59 w 131"/>
                  <a:gd name="T11" fmla="*/ 43 h 51"/>
                  <a:gd name="T12" fmla="*/ 67 w 131"/>
                  <a:gd name="T13" fmla="*/ 40 h 51"/>
                  <a:gd name="T14" fmla="*/ 75 w 131"/>
                  <a:gd name="T15" fmla="*/ 43 h 51"/>
                  <a:gd name="T16" fmla="*/ 79 w 131"/>
                  <a:gd name="T17" fmla="*/ 47 h 51"/>
                  <a:gd name="T18" fmla="*/ 87 w 131"/>
                  <a:gd name="T19" fmla="*/ 50 h 51"/>
                  <a:gd name="T20" fmla="*/ 123 w 131"/>
                  <a:gd name="T21" fmla="*/ 47 h 51"/>
                  <a:gd name="T22" fmla="*/ 131 w 131"/>
                  <a:gd name="T23" fmla="*/ 37 h 51"/>
                  <a:gd name="T24" fmla="*/ 126 w 131"/>
                  <a:gd name="T25" fmla="*/ 0 h 51"/>
                  <a:gd name="T26" fmla="*/ 66 w 131"/>
                  <a:gd name="T27" fmla="*/ 6 h 51"/>
                  <a:gd name="T28" fmla="*/ 6 w 131"/>
                  <a:gd name="T29" fmla="*/ 0 h 51"/>
                  <a:gd name="T30" fmla="*/ 51 w 131"/>
                  <a:gd name="T31" fmla="*/ 29 h 51"/>
                  <a:gd name="T32" fmla="*/ 36 w 131"/>
                  <a:gd name="T33" fmla="*/ 34 h 51"/>
                  <a:gd name="T34" fmla="*/ 22 w 131"/>
                  <a:gd name="T35" fmla="*/ 29 h 51"/>
                  <a:gd name="T36" fmla="*/ 22 w 131"/>
                  <a:gd name="T37" fmla="*/ 23 h 51"/>
                  <a:gd name="T38" fmla="*/ 36 w 131"/>
                  <a:gd name="T39" fmla="*/ 18 h 51"/>
                  <a:gd name="T40" fmla="*/ 51 w 131"/>
                  <a:gd name="T41" fmla="*/ 23 h 51"/>
                  <a:gd name="T42" fmla="*/ 51 w 131"/>
                  <a:gd name="T43" fmla="*/ 29 h 51"/>
                  <a:gd name="T44" fmla="*/ 81 w 131"/>
                  <a:gd name="T45" fmla="*/ 23 h 51"/>
                  <a:gd name="T46" fmla="*/ 96 w 131"/>
                  <a:gd name="T47" fmla="*/ 18 h 51"/>
                  <a:gd name="T48" fmla="*/ 110 w 131"/>
                  <a:gd name="T49" fmla="*/ 23 h 51"/>
                  <a:gd name="T50" fmla="*/ 110 w 131"/>
                  <a:gd name="T51" fmla="*/ 29 h 51"/>
                  <a:gd name="T52" fmla="*/ 96 w 131"/>
                  <a:gd name="T53" fmla="*/ 34 h 51"/>
                  <a:gd name="T54" fmla="*/ 81 w 131"/>
                  <a:gd name="T55" fmla="*/ 29 h 51"/>
                  <a:gd name="T56" fmla="*/ 81 w 131"/>
                  <a:gd name="T57" fmla="*/ 2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31" h="51">
                    <a:moveTo>
                      <a:pt x="6" y="0"/>
                    </a:moveTo>
                    <a:cubicBezTo>
                      <a:pt x="1" y="37"/>
                      <a:pt x="1" y="37"/>
                      <a:pt x="1" y="37"/>
                    </a:cubicBezTo>
                    <a:cubicBezTo>
                      <a:pt x="0" y="42"/>
                      <a:pt x="4" y="47"/>
                      <a:pt x="9" y="47"/>
                    </a:cubicBezTo>
                    <a:cubicBezTo>
                      <a:pt x="19" y="49"/>
                      <a:pt x="34" y="50"/>
                      <a:pt x="46" y="50"/>
                    </a:cubicBezTo>
                    <a:cubicBezTo>
                      <a:pt x="50" y="50"/>
                      <a:pt x="53" y="49"/>
                      <a:pt x="55" y="47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61" y="41"/>
                      <a:pt x="64" y="40"/>
                      <a:pt x="67" y="40"/>
                    </a:cubicBezTo>
                    <a:cubicBezTo>
                      <a:pt x="70" y="40"/>
                      <a:pt x="73" y="41"/>
                      <a:pt x="75" y="43"/>
                    </a:cubicBezTo>
                    <a:cubicBezTo>
                      <a:pt x="79" y="47"/>
                      <a:pt x="79" y="47"/>
                      <a:pt x="79" y="47"/>
                    </a:cubicBezTo>
                    <a:cubicBezTo>
                      <a:pt x="81" y="49"/>
                      <a:pt x="84" y="51"/>
                      <a:pt x="87" y="50"/>
                    </a:cubicBezTo>
                    <a:cubicBezTo>
                      <a:pt x="99" y="50"/>
                      <a:pt x="114" y="49"/>
                      <a:pt x="123" y="47"/>
                    </a:cubicBezTo>
                    <a:cubicBezTo>
                      <a:pt x="128" y="47"/>
                      <a:pt x="131" y="42"/>
                      <a:pt x="131" y="37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10" y="4"/>
                      <a:pt x="88" y="6"/>
                      <a:pt x="66" y="6"/>
                    </a:cubicBezTo>
                    <a:cubicBezTo>
                      <a:pt x="44" y="6"/>
                      <a:pt x="22" y="4"/>
                      <a:pt x="6" y="0"/>
                    </a:cubicBezTo>
                    <a:close/>
                    <a:moveTo>
                      <a:pt x="51" y="29"/>
                    </a:moveTo>
                    <a:cubicBezTo>
                      <a:pt x="48" y="31"/>
                      <a:pt x="42" y="34"/>
                      <a:pt x="36" y="34"/>
                    </a:cubicBezTo>
                    <a:cubicBezTo>
                      <a:pt x="30" y="34"/>
                      <a:pt x="25" y="31"/>
                      <a:pt x="22" y="29"/>
                    </a:cubicBezTo>
                    <a:cubicBezTo>
                      <a:pt x="20" y="27"/>
                      <a:pt x="20" y="25"/>
                      <a:pt x="22" y="23"/>
                    </a:cubicBezTo>
                    <a:cubicBezTo>
                      <a:pt x="25" y="21"/>
                      <a:pt x="30" y="18"/>
                      <a:pt x="36" y="18"/>
                    </a:cubicBezTo>
                    <a:cubicBezTo>
                      <a:pt x="42" y="18"/>
                      <a:pt x="48" y="21"/>
                      <a:pt x="51" y="23"/>
                    </a:cubicBezTo>
                    <a:cubicBezTo>
                      <a:pt x="53" y="25"/>
                      <a:pt x="53" y="27"/>
                      <a:pt x="51" y="29"/>
                    </a:cubicBezTo>
                    <a:close/>
                    <a:moveTo>
                      <a:pt x="81" y="23"/>
                    </a:moveTo>
                    <a:cubicBezTo>
                      <a:pt x="84" y="21"/>
                      <a:pt x="90" y="18"/>
                      <a:pt x="96" y="18"/>
                    </a:cubicBezTo>
                    <a:cubicBezTo>
                      <a:pt x="102" y="18"/>
                      <a:pt x="107" y="21"/>
                      <a:pt x="110" y="23"/>
                    </a:cubicBezTo>
                    <a:cubicBezTo>
                      <a:pt x="112" y="25"/>
                      <a:pt x="112" y="27"/>
                      <a:pt x="110" y="29"/>
                    </a:cubicBezTo>
                    <a:cubicBezTo>
                      <a:pt x="107" y="31"/>
                      <a:pt x="102" y="34"/>
                      <a:pt x="96" y="34"/>
                    </a:cubicBezTo>
                    <a:cubicBezTo>
                      <a:pt x="90" y="34"/>
                      <a:pt x="84" y="31"/>
                      <a:pt x="81" y="29"/>
                    </a:cubicBezTo>
                    <a:cubicBezTo>
                      <a:pt x="79" y="27"/>
                      <a:pt x="79" y="25"/>
                      <a:pt x="81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" name="Freeform 91">
                <a:extLst>
                  <a:ext uri="{FF2B5EF4-FFF2-40B4-BE49-F238E27FC236}">
                    <a16:creationId xmlns:a16="http://schemas.microsoft.com/office/drawing/2014/main" id="{88706B70-549B-4939-BDB8-6B87EE4EE1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49" y="1759"/>
                <a:ext cx="352" cy="152"/>
              </a:xfrm>
              <a:custGeom>
                <a:avLst/>
                <a:gdLst>
                  <a:gd name="T0" fmla="*/ 84 w 168"/>
                  <a:gd name="T1" fmla="*/ 73 h 73"/>
                  <a:gd name="T2" fmla="*/ 168 w 168"/>
                  <a:gd name="T3" fmla="*/ 53 h 73"/>
                  <a:gd name="T4" fmla="*/ 143 w 168"/>
                  <a:gd name="T5" fmla="*/ 39 h 73"/>
                  <a:gd name="T6" fmla="*/ 144 w 168"/>
                  <a:gd name="T7" fmla="*/ 46 h 73"/>
                  <a:gd name="T8" fmla="*/ 142 w 168"/>
                  <a:gd name="T9" fmla="*/ 51 h 73"/>
                  <a:gd name="T10" fmla="*/ 137 w 168"/>
                  <a:gd name="T11" fmla="*/ 48 h 73"/>
                  <a:gd name="T12" fmla="*/ 128 w 168"/>
                  <a:gd name="T13" fmla="*/ 13 h 73"/>
                  <a:gd name="T14" fmla="*/ 112 w 168"/>
                  <a:gd name="T15" fmla="*/ 2 h 73"/>
                  <a:gd name="T16" fmla="*/ 96 w 168"/>
                  <a:gd name="T17" fmla="*/ 6 h 73"/>
                  <a:gd name="T18" fmla="*/ 71 w 168"/>
                  <a:gd name="T19" fmla="*/ 6 h 73"/>
                  <a:gd name="T20" fmla="*/ 56 w 168"/>
                  <a:gd name="T21" fmla="*/ 2 h 73"/>
                  <a:gd name="T22" fmla="*/ 39 w 168"/>
                  <a:gd name="T23" fmla="*/ 13 h 73"/>
                  <a:gd name="T24" fmla="*/ 31 w 168"/>
                  <a:gd name="T25" fmla="*/ 48 h 73"/>
                  <a:gd name="T26" fmla="*/ 26 w 168"/>
                  <a:gd name="T27" fmla="*/ 51 h 73"/>
                  <a:gd name="T28" fmla="*/ 26 w 168"/>
                  <a:gd name="T29" fmla="*/ 51 h 73"/>
                  <a:gd name="T30" fmla="*/ 23 w 168"/>
                  <a:gd name="T31" fmla="*/ 46 h 73"/>
                  <a:gd name="T32" fmla="*/ 25 w 168"/>
                  <a:gd name="T33" fmla="*/ 39 h 73"/>
                  <a:gd name="T34" fmla="*/ 0 w 168"/>
                  <a:gd name="T35" fmla="*/ 53 h 73"/>
                  <a:gd name="T36" fmla="*/ 84 w 168"/>
                  <a:gd name="T37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8" h="73">
                    <a:moveTo>
                      <a:pt x="84" y="73"/>
                    </a:moveTo>
                    <a:cubicBezTo>
                      <a:pt x="130" y="73"/>
                      <a:pt x="168" y="64"/>
                      <a:pt x="168" y="53"/>
                    </a:cubicBezTo>
                    <a:cubicBezTo>
                      <a:pt x="168" y="48"/>
                      <a:pt x="158" y="43"/>
                      <a:pt x="143" y="39"/>
                    </a:cubicBezTo>
                    <a:cubicBezTo>
                      <a:pt x="144" y="46"/>
                      <a:pt x="144" y="46"/>
                      <a:pt x="144" y="46"/>
                    </a:cubicBezTo>
                    <a:cubicBezTo>
                      <a:pt x="145" y="48"/>
                      <a:pt x="144" y="51"/>
                      <a:pt x="142" y="51"/>
                    </a:cubicBezTo>
                    <a:cubicBezTo>
                      <a:pt x="140" y="52"/>
                      <a:pt x="137" y="50"/>
                      <a:pt x="137" y="48"/>
                    </a:cubicBezTo>
                    <a:cubicBezTo>
                      <a:pt x="128" y="13"/>
                      <a:pt x="128" y="13"/>
                      <a:pt x="128" y="13"/>
                    </a:cubicBezTo>
                    <a:cubicBezTo>
                      <a:pt x="127" y="5"/>
                      <a:pt x="119" y="0"/>
                      <a:pt x="112" y="2"/>
                    </a:cubicBezTo>
                    <a:cubicBezTo>
                      <a:pt x="96" y="6"/>
                      <a:pt x="96" y="6"/>
                      <a:pt x="96" y="6"/>
                    </a:cubicBezTo>
                    <a:cubicBezTo>
                      <a:pt x="88" y="8"/>
                      <a:pt x="79" y="8"/>
                      <a:pt x="71" y="6"/>
                    </a:cubicBezTo>
                    <a:cubicBezTo>
                      <a:pt x="56" y="2"/>
                      <a:pt x="56" y="2"/>
                      <a:pt x="56" y="2"/>
                    </a:cubicBezTo>
                    <a:cubicBezTo>
                      <a:pt x="48" y="1"/>
                      <a:pt x="41" y="5"/>
                      <a:pt x="39" y="13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30" y="50"/>
                      <a:pt x="28" y="52"/>
                      <a:pt x="26" y="51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4" y="51"/>
                      <a:pt x="22" y="48"/>
                      <a:pt x="23" y="46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9" y="43"/>
                      <a:pt x="0" y="48"/>
                      <a:pt x="0" y="53"/>
                    </a:cubicBezTo>
                    <a:cubicBezTo>
                      <a:pt x="0" y="64"/>
                      <a:pt x="38" y="73"/>
                      <a:pt x="84" y="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" name="Freeform 92">
                <a:extLst>
                  <a:ext uri="{FF2B5EF4-FFF2-40B4-BE49-F238E27FC236}">
                    <a16:creationId xmlns:a16="http://schemas.microsoft.com/office/drawing/2014/main" id="{5BE6674F-433C-4A29-975F-9E4C65182D1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748" y="2248"/>
                <a:ext cx="554" cy="309"/>
              </a:xfrm>
              <a:custGeom>
                <a:avLst/>
                <a:gdLst>
                  <a:gd name="T0" fmla="*/ 247 w 264"/>
                  <a:gd name="T1" fmla="*/ 0 h 148"/>
                  <a:gd name="T2" fmla="*/ 17 w 264"/>
                  <a:gd name="T3" fmla="*/ 0 h 148"/>
                  <a:gd name="T4" fmla="*/ 1 w 264"/>
                  <a:gd name="T5" fmla="*/ 18 h 148"/>
                  <a:gd name="T6" fmla="*/ 16 w 264"/>
                  <a:gd name="T7" fmla="*/ 134 h 148"/>
                  <a:gd name="T8" fmla="*/ 32 w 264"/>
                  <a:gd name="T9" fmla="*/ 148 h 148"/>
                  <a:gd name="T10" fmla="*/ 232 w 264"/>
                  <a:gd name="T11" fmla="*/ 148 h 148"/>
                  <a:gd name="T12" fmla="*/ 248 w 264"/>
                  <a:gd name="T13" fmla="*/ 134 h 148"/>
                  <a:gd name="T14" fmla="*/ 263 w 264"/>
                  <a:gd name="T15" fmla="*/ 18 h 148"/>
                  <a:gd name="T16" fmla="*/ 247 w 264"/>
                  <a:gd name="T17" fmla="*/ 0 h 148"/>
                  <a:gd name="T18" fmla="*/ 132 w 264"/>
                  <a:gd name="T19" fmla="*/ 90 h 148"/>
                  <a:gd name="T20" fmla="*/ 115 w 264"/>
                  <a:gd name="T21" fmla="*/ 74 h 148"/>
                  <a:gd name="T22" fmla="*/ 132 w 264"/>
                  <a:gd name="T23" fmla="*/ 57 h 148"/>
                  <a:gd name="T24" fmla="*/ 149 w 264"/>
                  <a:gd name="T25" fmla="*/ 74 h 148"/>
                  <a:gd name="T26" fmla="*/ 132 w 264"/>
                  <a:gd name="T27" fmla="*/ 9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4" h="148">
                    <a:moveTo>
                      <a:pt x="24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8"/>
                      <a:pt x="1" y="18"/>
                    </a:cubicBezTo>
                    <a:cubicBezTo>
                      <a:pt x="16" y="134"/>
                      <a:pt x="16" y="134"/>
                      <a:pt x="16" y="134"/>
                    </a:cubicBezTo>
                    <a:cubicBezTo>
                      <a:pt x="18" y="142"/>
                      <a:pt x="24" y="148"/>
                      <a:pt x="32" y="148"/>
                    </a:cubicBezTo>
                    <a:cubicBezTo>
                      <a:pt x="232" y="148"/>
                      <a:pt x="232" y="148"/>
                      <a:pt x="232" y="148"/>
                    </a:cubicBezTo>
                    <a:cubicBezTo>
                      <a:pt x="240" y="148"/>
                      <a:pt x="246" y="142"/>
                      <a:pt x="248" y="134"/>
                    </a:cubicBezTo>
                    <a:cubicBezTo>
                      <a:pt x="263" y="18"/>
                      <a:pt x="263" y="18"/>
                      <a:pt x="263" y="18"/>
                    </a:cubicBezTo>
                    <a:cubicBezTo>
                      <a:pt x="264" y="8"/>
                      <a:pt x="257" y="0"/>
                      <a:pt x="247" y="0"/>
                    </a:cubicBezTo>
                    <a:close/>
                    <a:moveTo>
                      <a:pt x="132" y="90"/>
                    </a:moveTo>
                    <a:cubicBezTo>
                      <a:pt x="123" y="90"/>
                      <a:pt x="115" y="83"/>
                      <a:pt x="115" y="74"/>
                    </a:cubicBezTo>
                    <a:cubicBezTo>
                      <a:pt x="115" y="64"/>
                      <a:pt x="123" y="57"/>
                      <a:pt x="132" y="57"/>
                    </a:cubicBezTo>
                    <a:cubicBezTo>
                      <a:pt x="141" y="57"/>
                      <a:pt x="149" y="64"/>
                      <a:pt x="149" y="74"/>
                    </a:cubicBezTo>
                    <a:cubicBezTo>
                      <a:pt x="149" y="83"/>
                      <a:pt x="141" y="90"/>
                      <a:pt x="132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C6877AE-EE8C-4B04-B132-7A23A7333B98}"/>
              </a:ext>
            </a:extLst>
          </p:cNvPr>
          <p:cNvGrpSpPr>
            <a:grpSpLocks noChangeAspect="1"/>
          </p:cNvGrpSpPr>
          <p:nvPr/>
        </p:nvGrpSpPr>
        <p:grpSpPr>
          <a:xfrm>
            <a:off x="762324" y="2598558"/>
            <a:ext cx="685083" cy="685083"/>
            <a:chOff x="676331" y="2546807"/>
            <a:chExt cx="951614" cy="951614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77E2CAC-979E-4EAA-B9C7-A6D00F8C2DEC}"/>
                </a:ext>
              </a:extLst>
            </p:cNvPr>
            <p:cNvSpPr/>
            <p:nvPr/>
          </p:nvSpPr>
          <p:spPr bwMode="gray">
            <a:xfrm>
              <a:off x="676331" y="2546807"/>
              <a:ext cx="951614" cy="95161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sp>
          <p:nvSpPr>
            <p:cNvPr id="33" name="Oval 93">
              <a:extLst>
                <a:ext uri="{FF2B5EF4-FFF2-40B4-BE49-F238E27FC236}">
                  <a16:creationId xmlns:a16="http://schemas.microsoft.com/office/drawing/2014/main" id="{677EC2C1-0635-4594-90FC-A22993B7A3A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90929" y="2668279"/>
              <a:ext cx="114203" cy="116261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94">
              <a:extLst>
                <a:ext uri="{FF2B5EF4-FFF2-40B4-BE49-F238E27FC236}">
                  <a16:creationId xmlns:a16="http://schemas.microsoft.com/office/drawing/2014/main" id="{FC9CA20F-37F1-46E9-B1E5-2FC14C0B44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2867877"/>
              <a:ext cx="23664" cy="23664"/>
            </a:xfrm>
            <a:custGeom>
              <a:avLst/>
              <a:gdLst>
                <a:gd name="T0" fmla="*/ 10 w 11"/>
                <a:gd name="T1" fmla="*/ 0 h 11"/>
                <a:gd name="T2" fmla="*/ 1 w 11"/>
                <a:gd name="T3" fmla="*/ 0 h 11"/>
                <a:gd name="T4" fmla="*/ 0 w 11"/>
                <a:gd name="T5" fmla="*/ 1 h 11"/>
                <a:gd name="T6" fmla="*/ 0 w 11"/>
                <a:gd name="T7" fmla="*/ 10 h 11"/>
                <a:gd name="T8" fmla="*/ 1 w 11"/>
                <a:gd name="T9" fmla="*/ 11 h 11"/>
                <a:gd name="T10" fmla="*/ 10 w 11"/>
                <a:gd name="T11" fmla="*/ 11 h 11"/>
                <a:gd name="T12" fmla="*/ 11 w 11"/>
                <a:gd name="T13" fmla="*/ 10 h 11"/>
                <a:gd name="T14" fmla="*/ 11 w 11"/>
                <a:gd name="T15" fmla="*/ 1 h 11"/>
                <a:gd name="T16" fmla="*/ 10 w 11"/>
                <a:gd name="T17" fmla="*/ 0 h 11"/>
                <a:gd name="T18" fmla="*/ 9 w 11"/>
                <a:gd name="T19" fmla="*/ 9 h 11"/>
                <a:gd name="T20" fmla="*/ 3 w 11"/>
                <a:gd name="T21" fmla="*/ 9 h 11"/>
                <a:gd name="T22" fmla="*/ 3 w 11"/>
                <a:gd name="T23" fmla="*/ 3 h 11"/>
                <a:gd name="T24" fmla="*/ 9 w 11"/>
                <a:gd name="T25" fmla="*/ 3 h 11"/>
                <a:gd name="T26" fmla="*/ 9 w 11"/>
                <a:gd name="T27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1"/>
                    <a:pt x="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1"/>
                    <a:pt x="11" y="1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0"/>
                    <a:pt x="10" y="0"/>
                  </a:cubicBezTo>
                  <a:close/>
                  <a:moveTo>
                    <a:pt x="9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9" y="3"/>
                    <a:pt x="9" y="3"/>
                    <a:pt x="9" y="3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95">
              <a:extLst>
                <a:ext uri="{FF2B5EF4-FFF2-40B4-BE49-F238E27FC236}">
                  <a16:creationId xmlns:a16="http://schemas.microsoft.com/office/drawing/2014/main" id="{974E4961-76E8-4166-98C2-D15D7062B0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2942983"/>
              <a:ext cx="23664" cy="25721"/>
            </a:xfrm>
            <a:custGeom>
              <a:avLst/>
              <a:gdLst>
                <a:gd name="T0" fmla="*/ 10 w 11"/>
                <a:gd name="T1" fmla="*/ 0 h 12"/>
                <a:gd name="T2" fmla="*/ 1 w 11"/>
                <a:gd name="T3" fmla="*/ 0 h 12"/>
                <a:gd name="T4" fmla="*/ 0 w 11"/>
                <a:gd name="T5" fmla="*/ 2 h 12"/>
                <a:gd name="T6" fmla="*/ 0 w 11"/>
                <a:gd name="T7" fmla="*/ 10 h 12"/>
                <a:gd name="T8" fmla="*/ 1 w 11"/>
                <a:gd name="T9" fmla="*/ 12 h 12"/>
                <a:gd name="T10" fmla="*/ 10 w 11"/>
                <a:gd name="T11" fmla="*/ 12 h 12"/>
                <a:gd name="T12" fmla="*/ 11 w 11"/>
                <a:gd name="T13" fmla="*/ 10 h 12"/>
                <a:gd name="T14" fmla="*/ 11 w 11"/>
                <a:gd name="T15" fmla="*/ 2 h 12"/>
                <a:gd name="T16" fmla="*/ 10 w 11"/>
                <a:gd name="T17" fmla="*/ 0 h 12"/>
                <a:gd name="T18" fmla="*/ 9 w 11"/>
                <a:gd name="T19" fmla="*/ 9 h 12"/>
                <a:gd name="T20" fmla="*/ 3 w 11"/>
                <a:gd name="T21" fmla="*/ 9 h 12"/>
                <a:gd name="T22" fmla="*/ 3 w 11"/>
                <a:gd name="T23" fmla="*/ 3 h 12"/>
                <a:gd name="T24" fmla="*/ 9 w 11"/>
                <a:gd name="T25" fmla="*/ 3 h 12"/>
                <a:gd name="T26" fmla="*/ 9 w 11"/>
                <a:gd name="T2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2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1"/>
                    <a:pt x="1" y="12"/>
                    <a:pt x="1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2"/>
                    <a:pt x="11" y="11"/>
                    <a:pt x="11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1"/>
                    <a:pt x="11" y="0"/>
                    <a:pt x="10" y="0"/>
                  </a:cubicBezTo>
                  <a:close/>
                  <a:moveTo>
                    <a:pt x="9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9" y="3"/>
                    <a:pt x="9" y="3"/>
                    <a:pt x="9" y="3"/>
                  </a:cubicBezTo>
                  <a:lnTo>
                    <a:pt x="9" y="9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6" name="Freeform 96">
              <a:extLst>
                <a:ext uri="{FF2B5EF4-FFF2-40B4-BE49-F238E27FC236}">
                  <a16:creationId xmlns:a16="http://schemas.microsoft.com/office/drawing/2014/main" id="{8E1F14E6-DD0C-42C8-A367-8EA4E7E261C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60690" y="3021176"/>
              <a:ext cx="23664" cy="23664"/>
            </a:xfrm>
            <a:custGeom>
              <a:avLst/>
              <a:gdLst>
                <a:gd name="T0" fmla="*/ 10 w 11"/>
                <a:gd name="T1" fmla="*/ 0 h 11"/>
                <a:gd name="T2" fmla="*/ 1 w 11"/>
                <a:gd name="T3" fmla="*/ 0 h 11"/>
                <a:gd name="T4" fmla="*/ 0 w 11"/>
                <a:gd name="T5" fmla="*/ 1 h 11"/>
                <a:gd name="T6" fmla="*/ 0 w 11"/>
                <a:gd name="T7" fmla="*/ 10 h 11"/>
                <a:gd name="T8" fmla="*/ 1 w 11"/>
                <a:gd name="T9" fmla="*/ 11 h 11"/>
                <a:gd name="T10" fmla="*/ 10 w 11"/>
                <a:gd name="T11" fmla="*/ 11 h 11"/>
                <a:gd name="T12" fmla="*/ 11 w 11"/>
                <a:gd name="T13" fmla="*/ 10 h 11"/>
                <a:gd name="T14" fmla="*/ 11 w 11"/>
                <a:gd name="T15" fmla="*/ 1 h 11"/>
                <a:gd name="T16" fmla="*/ 10 w 11"/>
                <a:gd name="T17" fmla="*/ 0 h 11"/>
                <a:gd name="T18" fmla="*/ 9 w 11"/>
                <a:gd name="T19" fmla="*/ 8 h 11"/>
                <a:gd name="T20" fmla="*/ 3 w 11"/>
                <a:gd name="T21" fmla="*/ 8 h 11"/>
                <a:gd name="T22" fmla="*/ 3 w 11"/>
                <a:gd name="T23" fmla="*/ 2 h 11"/>
                <a:gd name="T24" fmla="*/ 9 w 11"/>
                <a:gd name="T25" fmla="*/ 2 h 11"/>
                <a:gd name="T26" fmla="*/ 9 w 11"/>
                <a:gd name="T27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1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0"/>
                    <a:pt x="1" y="11"/>
                    <a:pt x="1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1" y="11"/>
                    <a:pt x="11" y="10"/>
                    <a:pt x="11" y="10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0" y="0"/>
                  </a:cubicBezTo>
                  <a:close/>
                  <a:moveTo>
                    <a:pt x="9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9" y="2"/>
                    <a:pt x="9" y="2"/>
                    <a:pt x="9" y="2"/>
                  </a:cubicBezTo>
                  <a:lnTo>
                    <a:pt x="9" y="8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7" name="Rectangle 97">
              <a:extLst>
                <a:ext uri="{FF2B5EF4-FFF2-40B4-BE49-F238E27FC236}">
                  <a16:creationId xmlns:a16="http://schemas.microsoft.com/office/drawing/2014/main" id="{B3B428A9-59E1-4046-952A-E920C040EFB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869935"/>
              <a:ext cx="139924" cy="7202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Rectangle 98">
              <a:extLst>
                <a:ext uri="{FF2B5EF4-FFF2-40B4-BE49-F238E27FC236}">
                  <a16:creationId xmlns:a16="http://schemas.microsoft.com/office/drawing/2014/main" id="{504EFBFC-2B44-4B3A-A91B-5DA9EBE19FD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885367"/>
              <a:ext cx="49385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9" name="Rectangle 99">
              <a:extLst>
                <a:ext uri="{FF2B5EF4-FFF2-40B4-BE49-F238E27FC236}">
                  <a16:creationId xmlns:a16="http://schemas.microsoft.com/office/drawing/2014/main" id="{0D27D924-589E-4052-8D3B-B20CCD7529D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948128"/>
              <a:ext cx="139924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0" name="Rectangle 100">
              <a:extLst>
                <a:ext uri="{FF2B5EF4-FFF2-40B4-BE49-F238E27FC236}">
                  <a16:creationId xmlns:a16="http://schemas.microsoft.com/office/drawing/2014/main" id="{01AE0E64-CE07-4092-B44D-869A3981D6C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2960474"/>
              <a:ext cx="49385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" name="Rectangle 101">
              <a:extLst>
                <a:ext uri="{FF2B5EF4-FFF2-40B4-BE49-F238E27FC236}">
                  <a16:creationId xmlns:a16="http://schemas.microsoft.com/office/drawing/2014/main" id="{EE7B8042-5CE0-4B0B-9819-FE2EA340F74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3023234"/>
              <a:ext cx="139924" cy="4115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2" name="Rectangle 102">
              <a:extLst>
                <a:ext uri="{FF2B5EF4-FFF2-40B4-BE49-F238E27FC236}">
                  <a16:creationId xmlns:a16="http://schemas.microsoft.com/office/drawing/2014/main" id="{C0DDB485-E4EB-45A5-9461-84133D2774B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213161" y="3035580"/>
              <a:ext cx="49385" cy="6173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3" name="Freeform 103">
              <a:extLst>
                <a:ext uri="{FF2B5EF4-FFF2-40B4-BE49-F238E27FC236}">
                  <a16:creationId xmlns:a16="http://schemas.microsoft.com/office/drawing/2014/main" id="{E9F32A1A-D661-4E92-9D49-4C5BE66EE837}"/>
                </a:ext>
              </a:extLst>
            </p:cNvPr>
            <p:cNvSpPr>
              <a:spLocks/>
            </p:cNvSpPr>
            <p:nvPr/>
          </p:nvSpPr>
          <p:spPr bwMode="gray">
            <a:xfrm>
              <a:off x="1217277" y="2749559"/>
              <a:ext cx="77164" cy="32923"/>
            </a:xfrm>
            <a:custGeom>
              <a:avLst/>
              <a:gdLst>
                <a:gd name="T0" fmla="*/ 5 w 36"/>
                <a:gd name="T1" fmla="*/ 14 h 15"/>
                <a:gd name="T2" fmla="*/ 9 w 36"/>
                <a:gd name="T3" fmla="*/ 12 h 15"/>
                <a:gd name="T4" fmla="*/ 21 w 36"/>
                <a:gd name="T5" fmla="*/ 15 h 15"/>
                <a:gd name="T6" fmla="*/ 36 w 36"/>
                <a:gd name="T7" fmla="*/ 8 h 15"/>
                <a:gd name="T8" fmla="*/ 21 w 36"/>
                <a:gd name="T9" fmla="*/ 0 h 15"/>
                <a:gd name="T10" fmla="*/ 7 w 36"/>
                <a:gd name="T11" fmla="*/ 5 h 15"/>
                <a:gd name="T12" fmla="*/ 5 w 36"/>
                <a:gd name="T13" fmla="*/ 4 h 15"/>
                <a:gd name="T14" fmla="*/ 0 w 36"/>
                <a:gd name="T15" fmla="*/ 9 h 15"/>
                <a:gd name="T16" fmla="*/ 5 w 36"/>
                <a:gd name="T1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5">
                  <a:moveTo>
                    <a:pt x="5" y="14"/>
                  </a:moveTo>
                  <a:cubicBezTo>
                    <a:pt x="7" y="14"/>
                    <a:pt x="8" y="13"/>
                    <a:pt x="9" y="12"/>
                  </a:cubicBezTo>
                  <a:cubicBezTo>
                    <a:pt x="11" y="14"/>
                    <a:pt x="16" y="15"/>
                    <a:pt x="21" y="15"/>
                  </a:cubicBezTo>
                  <a:cubicBezTo>
                    <a:pt x="29" y="15"/>
                    <a:pt x="36" y="12"/>
                    <a:pt x="36" y="8"/>
                  </a:cubicBezTo>
                  <a:cubicBezTo>
                    <a:pt x="36" y="3"/>
                    <a:pt x="29" y="0"/>
                    <a:pt x="21" y="0"/>
                  </a:cubicBezTo>
                  <a:cubicBezTo>
                    <a:pt x="15" y="0"/>
                    <a:pt x="9" y="2"/>
                    <a:pt x="7" y="5"/>
                  </a:cubicBezTo>
                  <a:cubicBezTo>
                    <a:pt x="6" y="5"/>
                    <a:pt x="6" y="4"/>
                    <a:pt x="5" y="4"/>
                  </a:cubicBezTo>
                  <a:cubicBezTo>
                    <a:pt x="2" y="4"/>
                    <a:pt x="0" y="7"/>
                    <a:pt x="0" y="9"/>
                  </a:cubicBezTo>
                  <a:cubicBezTo>
                    <a:pt x="0" y="12"/>
                    <a:pt x="2" y="14"/>
                    <a:pt x="5" y="14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4" name="Freeform 104">
              <a:extLst>
                <a:ext uri="{FF2B5EF4-FFF2-40B4-BE49-F238E27FC236}">
                  <a16:creationId xmlns:a16="http://schemas.microsoft.com/office/drawing/2014/main" id="{FD8401C8-E5EB-412B-A3F9-4475E451FB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09247" y="2769107"/>
              <a:ext cx="312772" cy="404340"/>
            </a:xfrm>
            <a:custGeom>
              <a:avLst/>
              <a:gdLst>
                <a:gd name="T0" fmla="*/ 141 w 145"/>
                <a:gd name="T1" fmla="*/ 0 h 188"/>
                <a:gd name="T2" fmla="*/ 117 w 145"/>
                <a:gd name="T3" fmla="*/ 0 h 188"/>
                <a:gd name="T4" fmla="*/ 93 w 145"/>
                <a:gd name="T5" fmla="*/ 0 h 188"/>
                <a:gd name="T6" fmla="*/ 90 w 145"/>
                <a:gd name="T7" fmla="*/ 0 h 188"/>
                <a:gd name="T8" fmla="*/ 71 w 145"/>
                <a:gd name="T9" fmla="*/ 10 h 188"/>
                <a:gd name="T10" fmla="*/ 59 w 145"/>
                <a:gd name="T11" fmla="*/ 8 h 188"/>
                <a:gd name="T12" fmla="*/ 55 w 145"/>
                <a:gd name="T13" fmla="*/ 9 h 188"/>
                <a:gd name="T14" fmla="*/ 46 w 145"/>
                <a:gd name="T15" fmla="*/ 0 h 188"/>
                <a:gd name="T16" fmla="*/ 46 w 145"/>
                <a:gd name="T17" fmla="*/ 0 h 188"/>
                <a:gd name="T18" fmla="*/ 35 w 145"/>
                <a:gd name="T19" fmla="*/ 0 h 188"/>
                <a:gd name="T20" fmla="*/ 5 w 145"/>
                <a:gd name="T21" fmla="*/ 0 h 188"/>
                <a:gd name="T22" fmla="*/ 0 w 145"/>
                <a:gd name="T23" fmla="*/ 5 h 188"/>
                <a:gd name="T24" fmla="*/ 0 w 145"/>
                <a:gd name="T25" fmla="*/ 183 h 188"/>
                <a:gd name="T26" fmla="*/ 5 w 145"/>
                <a:gd name="T27" fmla="*/ 188 h 188"/>
                <a:gd name="T28" fmla="*/ 141 w 145"/>
                <a:gd name="T29" fmla="*/ 188 h 188"/>
                <a:gd name="T30" fmla="*/ 145 w 145"/>
                <a:gd name="T31" fmla="*/ 183 h 188"/>
                <a:gd name="T32" fmla="*/ 145 w 145"/>
                <a:gd name="T33" fmla="*/ 5 h 188"/>
                <a:gd name="T34" fmla="*/ 141 w 145"/>
                <a:gd name="T35" fmla="*/ 0 h 188"/>
                <a:gd name="T36" fmla="*/ 130 w 145"/>
                <a:gd name="T37" fmla="*/ 175 h 188"/>
                <a:gd name="T38" fmla="*/ 15 w 145"/>
                <a:gd name="T39" fmla="*/ 175 h 188"/>
                <a:gd name="T40" fmla="*/ 15 w 145"/>
                <a:gd name="T41" fmla="*/ 13 h 188"/>
                <a:gd name="T42" fmla="*/ 52 w 145"/>
                <a:gd name="T43" fmla="*/ 13 h 188"/>
                <a:gd name="T44" fmla="*/ 52 w 145"/>
                <a:gd name="T45" fmla="*/ 17 h 188"/>
                <a:gd name="T46" fmla="*/ 93 w 145"/>
                <a:gd name="T47" fmla="*/ 17 h 188"/>
                <a:gd name="T48" fmla="*/ 93 w 145"/>
                <a:gd name="T49" fmla="*/ 13 h 188"/>
                <a:gd name="T50" fmla="*/ 130 w 145"/>
                <a:gd name="T51" fmla="*/ 13 h 188"/>
                <a:gd name="T52" fmla="*/ 130 w 145"/>
                <a:gd name="T53" fmla="*/ 17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5" h="188">
                  <a:moveTo>
                    <a:pt x="141" y="0"/>
                  </a:moveTo>
                  <a:cubicBezTo>
                    <a:pt x="117" y="0"/>
                    <a:pt x="117" y="0"/>
                    <a:pt x="117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89" y="6"/>
                    <a:pt x="81" y="10"/>
                    <a:pt x="71" y="10"/>
                  </a:cubicBezTo>
                  <a:cubicBezTo>
                    <a:pt x="67" y="10"/>
                    <a:pt x="63" y="9"/>
                    <a:pt x="59" y="8"/>
                  </a:cubicBezTo>
                  <a:cubicBezTo>
                    <a:pt x="58" y="9"/>
                    <a:pt x="56" y="9"/>
                    <a:pt x="55" y="9"/>
                  </a:cubicBezTo>
                  <a:cubicBezTo>
                    <a:pt x="50" y="9"/>
                    <a:pt x="46" y="5"/>
                    <a:pt x="46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183"/>
                    <a:pt x="0" y="183"/>
                    <a:pt x="0" y="183"/>
                  </a:cubicBezTo>
                  <a:cubicBezTo>
                    <a:pt x="0" y="186"/>
                    <a:pt x="2" y="188"/>
                    <a:pt x="5" y="188"/>
                  </a:cubicBezTo>
                  <a:cubicBezTo>
                    <a:pt x="141" y="188"/>
                    <a:pt x="141" y="188"/>
                    <a:pt x="141" y="188"/>
                  </a:cubicBezTo>
                  <a:cubicBezTo>
                    <a:pt x="143" y="188"/>
                    <a:pt x="145" y="186"/>
                    <a:pt x="145" y="183"/>
                  </a:cubicBezTo>
                  <a:cubicBezTo>
                    <a:pt x="145" y="5"/>
                    <a:pt x="145" y="5"/>
                    <a:pt x="145" y="5"/>
                  </a:cubicBezTo>
                  <a:cubicBezTo>
                    <a:pt x="145" y="2"/>
                    <a:pt x="143" y="0"/>
                    <a:pt x="141" y="0"/>
                  </a:cubicBezTo>
                  <a:close/>
                  <a:moveTo>
                    <a:pt x="130" y="175"/>
                  </a:moveTo>
                  <a:cubicBezTo>
                    <a:pt x="15" y="175"/>
                    <a:pt x="15" y="175"/>
                    <a:pt x="15" y="175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2" y="17"/>
                    <a:pt x="52" y="17"/>
                    <a:pt x="52" y="17"/>
                  </a:cubicBezTo>
                  <a:cubicBezTo>
                    <a:pt x="93" y="17"/>
                    <a:pt x="93" y="17"/>
                    <a:pt x="93" y="17"/>
                  </a:cubicBezTo>
                  <a:cubicBezTo>
                    <a:pt x="93" y="13"/>
                    <a:pt x="93" y="13"/>
                    <a:pt x="93" y="13"/>
                  </a:cubicBezTo>
                  <a:cubicBezTo>
                    <a:pt x="130" y="13"/>
                    <a:pt x="130" y="13"/>
                    <a:pt x="130" y="13"/>
                  </a:cubicBezTo>
                  <a:lnTo>
                    <a:pt x="130" y="175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5" name="Freeform 105">
              <a:extLst>
                <a:ext uri="{FF2B5EF4-FFF2-40B4-BE49-F238E27FC236}">
                  <a16:creationId xmlns:a16="http://schemas.microsoft.com/office/drawing/2014/main" id="{B9D8771E-B167-4C73-B4D3-EAA84D7451A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89072" y="2790713"/>
              <a:ext cx="235608" cy="601880"/>
            </a:xfrm>
            <a:custGeom>
              <a:avLst/>
              <a:gdLst>
                <a:gd name="T0" fmla="*/ 96 w 109"/>
                <a:gd name="T1" fmla="*/ 7 h 280"/>
                <a:gd name="T2" fmla="*/ 89 w 109"/>
                <a:gd name="T3" fmla="*/ 6 h 280"/>
                <a:gd name="T4" fmla="*/ 75 w 109"/>
                <a:gd name="T5" fmla="*/ 1 h 280"/>
                <a:gd name="T6" fmla="*/ 74 w 109"/>
                <a:gd name="T7" fmla="*/ 1 h 280"/>
                <a:gd name="T8" fmla="*/ 73 w 109"/>
                <a:gd name="T9" fmla="*/ 1 h 280"/>
                <a:gd name="T10" fmla="*/ 58 w 109"/>
                <a:gd name="T11" fmla="*/ 6 h 280"/>
                <a:gd name="T12" fmla="*/ 1 w 109"/>
                <a:gd name="T13" fmla="*/ 43 h 280"/>
                <a:gd name="T14" fmla="*/ 1 w 109"/>
                <a:gd name="T15" fmla="*/ 54 h 280"/>
                <a:gd name="T16" fmla="*/ 38 w 109"/>
                <a:gd name="T17" fmla="*/ 96 h 280"/>
                <a:gd name="T18" fmla="*/ 39 w 109"/>
                <a:gd name="T19" fmla="*/ 111 h 280"/>
                <a:gd name="T20" fmla="*/ 41 w 109"/>
                <a:gd name="T21" fmla="*/ 263 h 280"/>
                <a:gd name="T22" fmla="*/ 43 w 109"/>
                <a:gd name="T23" fmla="*/ 268 h 280"/>
                <a:gd name="T24" fmla="*/ 54 w 109"/>
                <a:gd name="T25" fmla="*/ 280 h 280"/>
                <a:gd name="T26" fmla="*/ 64 w 109"/>
                <a:gd name="T27" fmla="*/ 264 h 280"/>
                <a:gd name="T28" fmla="*/ 68 w 109"/>
                <a:gd name="T29" fmla="*/ 161 h 280"/>
                <a:gd name="T30" fmla="*/ 69 w 109"/>
                <a:gd name="T31" fmla="*/ 148 h 280"/>
                <a:gd name="T32" fmla="*/ 80 w 109"/>
                <a:gd name="T33" fmla="*/ 263 h 280"/>
                <a:gd name="T34" fmla="*/ 82 w 109"/>
                <a:gd name="T35" fmla="*/ 267 h 280"/>
                <a:gd name="T36" fmla="*/ 93 w 109"/>
                <a:gd name="T37" fmla="*/ 280 h 280"/>
                <a:gd name="T38" fmla="*/ 103 w 109"/>
                <a:gd name="T39" fmla="*/ 264 h 280"/>
                <a:gd name="T40" fmla="*/ 109 w 109"/>
                <a:gd name="T41" fmla="*/ 184 h 280"/>
                <a:gd name="T42" fmla="*/ 96 w 109"/>
                <a:gd name="T43" fmla="*/ 173 h 280"/>
                <a:gd name="T44" fmla="*/ 36 w 109"/>
                <a:gd name="T45" fmla="*/ 74 h 280"/>
                <a:gd name="T46" fmla="*/ 36 w 109"/>
                <a:gd name="T47" fmla="*/ 74 h 280"/>
                <a:gd name="T48" fmla="*/ 35 w 109"/>
                <a:gd name="T49" fmla="*/ 81 h 280"/>
                <a:gd name="T50" fmla="*/ 27 w 109"/>
                <a:gd name="T51" fmla="*/ 42 h 280"/>
                <a:gd name="T52" fmla="*/ 37 w 109"/>
                <a:gd name="T53" fmla="*/ 70 h 280"/>
                <a:gd name="T54" fmla="*/ 58 w 109"/>
                <a:gd name="T55" fmla="*/ 6 h 280"/>
                <a:gd name="T56" fmla="*/ 74 w 109"/>
                <a:gd name="T57" fmla="*/ 73 h 280"/>
                <a:gd name="T58" fmla="*/ 70 w 109"/>
                <a:gd name="T59" fmla="*/ 10 h 280"/>
                <a:gd name="T60" fmla="*/ 74 w 109"/>
                <a:gd name="T61" fmla="*/ 3 h 280"/>
                <a:gd name="T62" fmla="*/ 78 w 109"/>
                <a:gd name="T63" fmla="*/ 10 h 280"/>
                <a:gd name="T64" fmla="*/ 74 w 109"/>
                <a:gd name="T65" fmla="*/ 73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9" h="280">
                  <a:moveTo>
                    <a:pt x="96" y="173"/>
                  </a:moveTo>
                  <a:cubicBezTo>
                    <a:pt x="96" y="7"/>
                    <a:pt x="96" y="7"/>
                    <a:pt x="96" y="7"/>
                  </a:cubicBezTo>
                  <a:cubicBezTo>
                    <a:pt x="92" y="6"/>
                    <a:pt x="90" y="6"/>
                    <a:pt x="89" y="6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5" y="1"/>
                    <a:pt x="75" y="1"/>
                    <a:pt x="75" y="1"/>
                  </a:cubicBezTo>
                  <a:cubicBezTo>
                    <a:pt x="74" y="1"/>
                    <a:pt x="74" y="1"/>
                    <a:pt x="74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73" y="1"/>
                    <a:pt x="73" y="1"/>
                    <a:pt x="73" y="1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ubicBezTo>
                    <a:pt x="56" y="5"/>
                    <a:pt x="10" y="17"/>
                    <a:pt x="1" y="43"/>
                  </a:cubicBezTo>
                  <a:cubicBezTo>
                    <a:pt x="0" y="44"/>
                    <a:pt x="0" y="45"/>
                    <a:pt x="1" y="46"/>
                  </a:cubicBezTo>
                  <a:cubicBezTo>
                    <a:pt x="0" y="48"/>
                    <a:pt x="0" y="51"/>
                    <a:pt x="1" y="54"/>
                  </a:cubicBezTo>
                  <a:cubicBezTo>
                    <a:pt x="1" y="54"/>
                    <a:pt x="29" y="102"/>
                    <a:pt x="37" y="97"/>
                  </a:cubicBezTo>
                  <a:cubicBezTo>
                    <a:pt x="38" y="97"/>
                    <a:pt x="38" y="96"/>
                    <a:pt x="38" y="96"/>
                  </a:cubicBezTo>
                  <a:cubicBezTo>
                    <a:pt x="39" y="96"/>
                    <a:pt x="39" y="97"/>
                    <a:pt x="39" y="98"/>
                  </a:cubicBezTo>
                  <a:cubicBezTo>
                    <a:pt x="40" y="107"/>
                    <a:pt x="39" y="111"/>
                    <a:pt x="39" y="111"/>
                  </a:cubicBezTo>
                  <a:cubicBezTo>
                    <a:pt x="39" y="111"/>
                    <a:pt x="39" y="111"/>
                    <a:pt x="39" y="111"/>
                  </a:cubicBezTo>
                  <a:cubicBezTo>
                    <a:pt x="37" y="127"/>
                    <a:pt x="34" y="167"/>
                    <a:pt x="41" y="263"/>
                  </a:cubicBezTo>
                  <a:cubicBezTo>
                    <a:pt x="41" y="263"/>
                    <a:pt x="42" y="264"/>
                    <a:pt x="43" y="264"/>
                  </a:cubicBezTo>
                  <a:cubicBezTo>
                    <a:pt x="43" y="268"/>
                    <a:pt x="43" y="268"/>
                    <a:pt x="43" y="268"/>
                  </a:cubicBezTo>
                  <a:cubicBezTo>
                    <a:pt x="43" y="274"/>
                    <a:pt x="48" y="280"/>
                    <a:pt x="54" y="280"/>
                  </a:cubicBezTo>
                  <a:cubicBezTo>
                    <a:pt x="54" y="280"/>
                    <a:pt x="54" y="280"/>
                    <a:pt x="54" y="280"/>
                  </a:cubicBezTo>
                  <a:cubicBezTo>
                    <a:pt x="60" y="280"/>
                    <a:pt x="64" y="274"/>
                    <a:pt x="64" y="268"/>
                  </a:cubicBezTo>
                  <a:cubicBezTo>
                    <a:pt x="64" y="264"/>
                    <a:pt x="64" y="264"/>
                    <a:pt x="64" y="264"/>
                  </a:cubicBezTo>
                  <a:cubicBezTo>
                    <a:pt x="65" y="264"/>
                    <a:pt x="66" y="264"/>
                    <a:pt x="66" y="263"/>
                  </a:cubicBezTo>
                  <a:cubicBezTo>
                    <a:pt x="68" y="228"/>
                    <a:pt x="66" y="190"/>
                    <a:pt x="68" y="161"/>
                  </a:cubicBezTo>
                  <a:cubicBezTo>
                    <a:pt x="68" y="160"/>
                    <a:pt x="68" y="160"/>
                    <a:pt x="68" y="159"/>
                  </a:cubicBezTo>
                  <a:cubicBezTo>
                    <a:pt x="68" y="156"/>
                    <a:pt x="68" y="152"/>
                    <a:pt x="69" y="148"/>
                  </a:cubicBezTo>
                  <a:cubicBezTo>
                    <a:pt x="70" y="139"/>
                    <a:pt x="71" y="131"/>
                    <a:pt x="73" y="126"/>
                  </a:cubicBezTo>
                  <a:cubicBezTo>
                    <a:pt x="82" y="148"/>
                    <a:pt x="78" y="210"/>
                    <a:pt x="80" y="263"/>
                  </a:cubicBezTo>
                  <a:cubicBezTo>
                    <a:pt x="81" y="264"/>
                    <a:pt x="81" y="264"/>
                    <a:pt x="82" y="264"/>
                  </a:cubicBezTo>
                  <a:cubicBezTo>
                    <a:pt x="82" y="267"/>
                    <a:pt x="82" y="267"/>
                    <a:pt x="82" y="267"/>
                  </a:cubicBezTo>
                  <a:cubicBezTo>
                    <a:pt x="82" y="274"/>
                    <a:pt x="87" y="280"/>
                    <a:pt x="93" y="280"/>
                  </a:cubicBezTo>
                  <a:cubicBezTo>
                    <a:pt x="93" y="280"/>
                    <a:pt x="93" y="280"/>
                    <a:pt x="93" y="280"/>
                  </a:cubicBezTo>
                  <a:cubicBezTo>
                    <a:pt x="99" y="280"/>
                    <a:pt x="103" y="274"/>
                    <a:pt x="103" y="267"/>
                  </a:cubicBezTo>
                  <a:cubicBezTo>
                    <a:pt x="103" y="264"/>
                    <a:pt x="103" y="264"/>
                    <a:pt x="103" y="264"/>
                  </a:cubicBezTo>
                  <a:cubicBezTo>
                    <a:pt x="104" y="263"/>
                    <a:pt x="105" y="263"/>
                    <a:pt x="105" y="263"/>
                  </a:cubicBezTo>
                  <a:cubicBezTo>
                    <a:pt x="107" y="231"/>
                    <a:pt x="109" y="205"/>
                    <a:pt x="109" y="184"/>
                  </a:cubicBezTo>
                  <a:cubicBezTo>
                    <a:pt x="107" y="184"/>
                    <a:pt x="107" y="184"/>
                    <a:pt x="107" y="184"/>
                  </a:cubicBezTo>
                  <a:cubicBezTo>
                    <a:pt x="101" y="184"/>
                    <a:pt x="96" y="179"/>
                    <a:pt x="96" y="173"/>
                  </a:cubicBezTo>
                  <a:close/>
                  <a:moveTo>
                    <a:pt x="37" y="70"/>
                  </a:moveTo>
                  <a:cubicBezTo>
                    <a:pt x="36" y="71"/>
                    <a:pt x="36" y="72"/>
                    <a:pt x="36" y="74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6" y="74"/>
                    <a:pt x="36" y="74"/>
                    <a:pt x="36" y="74"/>
                  </a:cubicBezTo>
                  <a:cubicBezTo>
                    <a:pt x="35" y="76"/>
                    <a:pt x="35" y="78"/>
                    <a:pt x="35" y="80"/>
                  </a:cubicBezTo>
                  <a:cubicBezTo>
                    <a:pt x="35" y="80"/>
                    <a:pt x="35" y="80"/>
                    <a:pt x="35" y="81"/>
                  </a:cubicBezTo>
                  <a:cubicBezTo>
                    <a:pt x="30" y="67"/>
                    <a:pt x="21" y="51"/>
                    <a:pt x="19" y="46"/>
                  </a:cubicBezTo>
                  <a:cubicBezTo>
                    <a:pt x="22" y="45"/>
                    <a:pt x="25" y="43"/>
                    <a:pt x="27" y="42"/>
                  </a:cubicBezTo>
                  <a:cubicBezTo>
                    <a:pt x="31" y="40"/>
                    <a:pt x="39" y="36"/>
                    <a:pt x="45" y="33"/>
                  </a:cubicBezTo>
                  <a:lnTo>
                    <a:pt x="37" y="70"/>
                  </a:lnTo>
                  <a:close/>
                  <a:moveTo>
                    <a:pt x="58" y="6"/>
                  </a:moveTo>
                  <a:cubicBezTo>
                    <a:pt x="58" y="6"/>
                    <a:pt x="58" y="6"/>
                    <a:pt x="58" y="6"/>
                  </a:cubicBezTo>
                  <a:cubicBezTo>
                    <a:pt x="58" y="6"/>
                    <a:pt x="58" y="6"/>
                    <a:pt x="58" y="6"/>
                  </a:cubicBezTo>
                  <a:close/>
                  <a:moveTo>
                    <a:pt x="74" y="73"/>
                  </a:moveTo>
                  <a:cubicBezTo>
                    <a:pt x="69" y="68"/>
                    <a:pt x="69" y="68"/>
                    <a:pt x="69" y="68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69" y="9"/>
                    <a:pt x="69" y="9"/>
                    <a:pt x="69" y="8"/>
                  </a:cubicBezTo>
                  <a:cubicBezTo>
                    <a:pt x="69" y="5"/>
                    <a:pt x="71" y="3"/>
                    <a:pt x="74" y="3"/>
                  </a:cubicBezTo>
                  <a:cubicBezTo>
                    <a:pt x="76" y="3"/>
                    <a:pt x="78" y="5"/>
                    <a:pt x="78" y="8"/>
                  </a:cubicBezTo>
                  <a:cubicBezTo>
                    <a:pt x="78" y="9"/>
                    <a:pt x="78" y="9"/>
                    <a:pt x="78" y="10"/>
                  </a:cubicBezTo>
                  <a:cubicBezTo>
                    <a:pt x="79" y="68"/>
                    <a:pt x="79" y="68"/>
                    <a:pt x="79" y="68"/>
                  </a:cubicBezTo>
                  <a:lnTo>
                    <a:pt x="74" y="73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3D2F4EE-7F87-4583-811B-A7C82B650460}"/>
              </a:ext>
            </a:extLst>
          </p:cNvPr>
          <p:cNvGrpSpPr>
            <a:grpSpLocks noChangeAspect="1"/>
          </p:cNvGrpSpPr>
          <p:nvPr/>
        </p:nvGrpSpPr>
        <p:grpSpPr>
          <a:xfrm>
            <a:off x="762324" y="3354843"/>
            <a:ext cx="685083" cy="685083"/>
            <a:chOff x="676331" y="3719310"/>
            <a:chExt cx="951614" cy="95161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93829178-5C60-490C-B3C0-4AA132B108BC}"/>
                </a:ext>
              </a:extLst>
            </p:cNvPr>
            <p:cNvSpPr/>
            <p:nvPr/>
          </p:nvSpPr>
          <p:spPr bwMode="gray">
            <a:xfrm>
              <a:off x="676331" y="3719310"/>
              <a:ext cx="951614" cy="951614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46" name="Group 70">
              <a:extLst>
                <a:ext uri="{FF2B5EF4-FFF2-40B4-BE49-F238E27FC236}">
                  <a16:creationId xmlns:a16="http://schemas.microsoft.com/office/drawing/2014/main" id="{356EA0E7-5347-47F3-AF0B-0CD095381F50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 rot="5400000">
              <a:off x="849838" y="3834995"/>
              <a:ext cx="606448" cy="609664"/>
              <a:chOff x="2645" y="1778"/>
              <a:chExt cx="754" cy="758"/>
            </a:xfrm>
            <a:solidFill>
              <a:schemeClr val="accent1"/>
            </a:solidFill>
          </p:grpSpPr>
          <p:sp>
            <p:nvSpPr>
              <p:cNvPr id="47" name="Freeform 71">
                <a:extLst>
                  <a:ext uri="{FF2B5EF4-FFF2-40B4-BE49-F238E27FC236}">
                    <a16:creationId xmlns:a16="http://schemas.microsoft.com/office/drawing/2014/main" id="{D947915E-C1A6-4185-9309-D61BE9C3EA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645" y="2008"/>
                <a:ext cx="314" cy="302"/>
              </a:xfrm>
              <a:custGeom>
                <a:avLst/>
                <a:gdLst>
                  <a:gd name="T0" fmla="*/ 144 w 150"/>
                  <a:gd name="T1" fmla="*/ 63 h 145"/>
                  <a:gd name="T2" fmla="*/ 81 w 150"/>
                  <a:gd name="T3" fmla="*/ 2 h 145"/>
                  <a:gd name="T4" fmla="*/ 70 w 150"/>
                  <a:gd name="T5" fmla="*/ 3 h 145"/>
                  <a:gd name="T6" fmla="*/ 64 w 150"/>
                  <a:gd name="T7" fmla="*/ 13 h 145"/>
                  <a:gd name="T8" fmla="*/ 64 w 150"/>
                  <a:gd name="T9" fmla="*/ 53 h 145"/>
                  <a:gd name="T10" fmla="*/ 20 w 150"/>
                  <a:gd name="T11" fmla="*/ 53 h 145"/>
                  <a:gd name="T12" fmla="*/ 0 w 150"/>
                  <a:gd name="T13" fmla="*/ 73 h 145"/>
                  <a:gd name="T14" fmla="*/ 20 w 150"/>
                  <a:gd name="T15" fmla="*/ 93 h 145"/>
                  <a:gd name="T16" fmla="*/ 64 w 150"/>
                  <a:gd name="T17" fmla="*/ 93 h 145"/>
                  <a:gd name="T18" fmla="*/ 64 w 150"/>
                  <a:gd name="T19" fmla="*/ 133 h 145"/>
                  <a:gd name="T20" fmla="*/ 70 w 150"/>
                  <a:gd name="T21" fmla="*/ 143 h 145"/>
                  <a:gd name="T22" fmla="*/ 76 w 150"/>
                  <a:gd name="T23" fmla="*/ 145 h 145"/>
                  <a:gd name="T24" fmla="*/ 81 w 150"/>
                  <a:gd name="T25" fmla="*/ 144 h 145"/>
                  <a:gd name="T26" fmla="*/ 144 w 150"/>
                  <a:gd name="T27" fmla="*/ 83 h 145"/>
                  <a:gd name="T28" fmla="*/ 150 w 150"/>
                  <a:gd name="T29" fmla="*/ 73 h 145"/>
                  <a:gd name="T30" fmla="*/ 144 w 150"/>
                  <a:gd name="T31" fmla="*/ 63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0" h="145">
                    <a:moveTo>
                      <a:pt x="144" y="63"/>
                    </a:moveTo>
                    <a:cubicBezTo>
                      <a:pt x="81" y="2"/>
                      <a:pt x="81" y="2"/>
                      <a:pt x="81" y="2"/>
                    </a:cubicBezTo>
                    <a:cubicBezTo>
                      <a:pt x="78" y="0"/>
                      <a:pt x="73" y="1"/>
                      <a:pt x="70" y="3"/>
                    </a:cubicBezTo>
                    <a:cubicBezTo>
                      <a:pt x="66" y="5"/>
                      <a:pt x="64" y="9"/>
                      <a:pt x="64" y="13"/>
                    </a:cubicBezTo>
                    <a:cubicBezTo>
                      <a:pt x="64" y="53"/>
                      <a:pt x="64" y="53"/>
                      <a:pt x="64" y="53"/>
                    </a:cubicBezTo>
                    <a:cubicBezTo>
                      <a:pt x="20" y="53"/>
                      <a:pt x="20" y="53"/>
                      <a:pt x="20" y="53"/>
                    </a:cubicBezTo>
                    <a:cubicBezTo>
                      <a:pt x="9" y="53"/>
                      <a:pt x="0" y="62"/>
                      <a:pt x="0" y="73"/>
                    </a:cubicBezTo>
                    <a:cubicBezTo>
                      <a:pt x="0" y="84"/>
                      <a:pt x="9" y="93"/>
                      <a:pt x="20" y="93"/>
                    </a:cubicBezTo>
                    <a:cubicBezTo>
                      <a:pt x="64" y="93"/>
                      <a:pt x="64" y="93"/>
                      <a:pt x="64" y="93"/>
                    </a:cubicBezTo>
                    <a:cubicBezTo>
                      <a:pt x="64" y="133"/>
                      <a:pt x="64" y="133"/>
                      <a:pt x="64" y="133"/>
                    </a:cubicBezTo>
                    <a:cubicBezTo>
                      <a:pt x="64" y="137"/>
                      <a:pt x="66" y="141"/>
                      <a:pt x="70" y="143"/>
                    </a:cubicBezTo>
                    <a:cubicBezTo>
                      <a:pt x="72" y="144"/>
                      <a:pt x="74" y="145"/>
                      <a:pt x="76" y="145"/>
                    </a:cubicBezTo>
                    <a:cubicBezTo>
                      <a:pt x="78" y="145"/>
                      <a:pt x="80" y="145"/>
                      <a:pt x="81" y="144"/>
                    </a:cubicBezTo>
                    <a:cubicBezTo>
                      <a:pt x="144" y="83"/>
                      <a:pt x="144" y="83"/>
                      <a:pt x="144" y="83"/>
                    </a:cubicBezTo>
                    <a:cubicBezTo>
                      <a:pt x="147" y="80"/>
                      <a:pt x="150" y="77"/>
                      <a:pt x="150" y="73"/>
                    </a:cubicBezTo>
                    <a:cubicBezTo>
                      <a:pt x="150" y="69"/>
                      <a:pt x="148" y="66"/>
                      <a:pt x="144" y="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8" name="Freeform 72">
                <a:extLst>
                  <a:ext uri="{FF2B5EF4-FFF2-40B4-BE49-F238E27FC236}">
                    <a16:creationId xmlns:a16="http://schemas.microsoft.com/office/drawing/2014/main" id="{2685A228-F4C8-4FFF-857C-46F4763B3C8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179" y="1782"/>
                <a:ext cx="111" cy="754"/>
              </a:xfrm>
              <a:custGeom>
                <a:avLst/>
                <a:gdLst>
                  <a:gd name="T0" fmla="*/ 21 w 53"/>
                  <a:gd name="T1" fmla="*/ 361 h 361"/>
                  <a:gd name="T2" fmla="*/ 20 w 53"/>
                  <a:gd name="T3" fmla="*/ 361 h 361"/>
                  <a:gd name="T4" fmla="*/ 1 w 53"/>
                  <a:gd name="T5" fmla="*/ 340 h 361"/>
                  <a:gd name="T6" fmla="*/ 6 w 53"/>
                  <a:gd name="T7" fmla="*/ 286 h 361"/>
                  <a:gd name="T8" fmla="*/ 13 w 53"/>
                  <a:gd name="T9" fmla="*/ 181 h 361"/>
                  <a:gd name="T10" fmla="*/ 6 w 53"/>
                  <a:gd name="T11" fmla="*/ 76 h 361"/>
                  <a:gd name="T12" fmla="*/ 1 w 53"/>
                  <a:gd name="T13" fmla="*/ 22 h 361"/>
                  <a:gd name="T14" fmla="*/ 20 w 53"/>
                  <a:gd name="T15" fmla="*/ 1 h 361"/>
                  <a:gd name="T16" fmla="*/ 41 w 53"/>
                  <a:gd name="T17" fmla="*/ 20 h 361"/>
                  <a:gd name="T18" fmla="*/ 46 w 53"/>
                  <a:gd name="T19" fmla="*/ 72 h 361"/>
                  <a:gd name="T20" fmla="*/ 53 w 53"/>
                  <a:gd name="T21" fmla="*/ 181 h 361"/>
                  <a:gd name="T22" fmla="*/ 46 w 53"/>
                  <a:gd name="T23" fmla="*/ 290 h 361"/>
                  <a:gd name="T24" fmla="*/ 41 w 53"/>
                  <a:gd name="T25" fmla="*/ 342 h 361"/>
                  <a:gd name="T26" fmla="*/ 21 w 53"/>
                  <a:gd name="T27" fmla="*/ 361 h 3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3" h="361">
                    <a:moveTo>
                      <a:pt x="21" y="361"/>
                    </a:moveTo>
                    <a:cubicBezTo>
                      <a:pt x="21" y="361"/>
                      <a:pt x="20" y="361"/>
                      <a:pt x="20" y="361"/>
                    </a:cubicBezTo>
                    <a:cubicBezTo>
                      <a:pt x="9" y="360"/>
                      <a:pt x="0" y="351"/>
                      <a:pt x="1" y="340"/>
                    </a:cubicBezTo>
                    <a:cubicBezTo>
                      <a:pt x="3" y="322"/>
                      <a:pt x="4" y="304"/>
                      <a:pt x="6" y="286"/>
                    </a:cubicBezTo>
                    <a:cubicBezTo>
                      <a:pt x="10" y="251"/>
                      <a:pt x="13" y="215"/>
                      <a:pt x="13" y="181"/>
                    </a:cubicBezTo>
                    <a:cubicBezTo>
                      <a:pt x="13" y="147"/>
                      <a:pt x="10" y="111"/>
                      <a:pt x="6" y="76"/>
                    </a:cubicBezTo>
                    <a:cubicBezTo>
                      <a:pt x="4" y="58"/>
                      <a:pt x="3" y="40"/>
                      <a:pt x="1" y="22"/>
                    </a:cubicBezTo>
                    <a:cubicBezTo>
                      <a:pt x="0" y="11"/>
                      <a:pt x="9" y="2"/>
                      <a:pt x="20" y="1"/>
                    </a:cubicBezTo>
                    <a:cubicBezTo>
                      <a:pt x="31" y="0"/>
                      <a:pt x="40" y="8"/>
                      <a:pt x="41" y="20"/>
                    </a:cubicBezTo>
                    <a:cubicBezTo>
                      <a:pt x="42" y="37"/>
                      <a:pt x="44" y="55"/>
                      <a:pt x="46" y="72"/>
                    </a:cubicBezTo>
                    <a:cubicBezTo>
                      <a:pt x="49" y="108"/>
                      <a:pt x="53" y="145"/>
                      <a:pt x="53" y="181"/>
                    </a:cubicBezTo>
                    <a:cubicBezTo>
                      <a:pt x="53" y="217"/>
                      <a:pt x="49" y="254"/>
                      <a:pt x="46" y="290"/>
                    </a:cubicBezTo>
                    <a:cubicBezTo>
                      <a:pt x="44" y="307"/>
                      <a:pt x="42" y="325"/>
                      <a:pt x="41" y="342"/>
                    </a:cubicBezTo>
                    <a:cubicBezTo>
                      <a:pt x="40" y="353"/>
                      <a:pt x="32" y="361"/>
                      <a:pt x="21" y="36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9" name="Freeform 73">
                <a:extLst>
                  <a:ext uri="{FF2B5EF4-FFF2-40B4-BE49-F238E27FC236}">
                    <a16:creationId xmlns:a16="http://schemas.microsoft.com/office/drawing/2014/main" id="{1368F2D2-95E0-461B-9FDD-485FE6001BD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018" y="1780"/>
                <a:ext cx="163" cy="756"/>
              </a:xfrm>
              <a:custGeom>
                <a:avLst/>
                <a:gdLst>
                  <a:gd name="T0" fmla="*/ 22 w 78"/>
                  <a:gd name="T1" fmla="*/ 362 h 362"/>
                  <a:gd name="T2" fmla="*/ 17 w 78"/>
                  <a:gd name="T3" fmla="*/ 361 h 362"/>
                  <a:gd name="T4" fmla="*/ 3 w 78"/>
                  <a:gd name="T5" fmla="*/ 336 h 362"/>
                  <a:gd name="T6" fmla="*/ 11 w 78"/>
                  <a:gd name="T7" fmla="*/ 310 h 362"/>
                  <a:gd name="T8" fmla="*/ 38 w 78"/>
                  <a:gd name="T9" fmla="*/ 182 h 362"/>
                  <a:gd name="T10" fmla="*/ 11 w 78"/>
                  <a:gd name="T11" fmla="*/ 54 h 362"/>
                  <a:gd name="T12" fmla="*/ 3 w 78"/>
                  <a:gd name="T13" fmla="*/ 28 h 362"/>
                  <a:gd name="T14" fmla="*/ 17 w 78"/>
                  <a:gd name="T15" fmla="*/ 3 h 362"/>
                  <a:gd name="T16" fmla="*/ 42 w 78"/>
                  <a:gd name="T17" fmla="*/ 16 h 362"/>
                  <a:gd name="T18" fmla="*/ 49 w 78"/>
                  <a:gd name="T19" fmla="*/ 42 h 362"/>
                  <a:gd name="T20" fmla="*/ 78 w 78"/>
                  <a:gd name="T21" fmla="*/ 182 h 362"/>
                  <a:gd name="T22" fmla="*/ 49 w 78"/>
                  <a:gd name="T23" fmla="*/ 322 h 362"/>
                  <a:gd name="T24" fmla="*/ 42 w 78"/>
                  <a:gd name="T25" fmla="*/ 348 h 362"/>
                  <a:gd name="T26" fmla="*/ 22 w 78"/>
                  <a:gd name="T27" fmla="*/ 3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8" h="362">
                    <a:moveTo>
                      <a:pt x="22" y="362"/>
                    </a:moveTo>
                    <a:cubicBezTo>
                      <a:pt x="20" y="362"/>
                      <a:pt x="19" y="362"/>
                      <a:pt x="17" y="361"/>
                    </a:cubicBezTo>
                    <a:cubicBezTo>
                      <a:pt x="6" y="358"/>
                      <a:pt x="0" y="347"/>
                      <a:pt x="3" y="336"/>
                    </a:cubicBezTo>
                    <a:cubicBezTo>
                      <a:pt x="6" y="328"/>
                      <a:pt x="8" y="319"/>
                      <a:pt x="11" y="310"/>
                    </a:cubicBezTo>
                    <a:cubicBezTo>
                      <a:pt x="25" y="268"/>
                      <a:pt x="38" y="224"/>
                      <a:pt x="38" y="182"/>
                    </a:cubicBezTo>
                    <a:cubicBezTo>
                      <a:pt x="38" y="140"/>
                      <a:pt x="25" y="96"/>
                      <a:pt x="11" y="54"/>
                    </a:cubicBezTo>
                    <a:cubicBezTo>
                      <a:pt x="8" y="45"/>
                      <a:pt x="6" y="36"/>
                      <a:pt x="3" y="28"/>
                    </a:cubicBezTo>
                    <a:cubicBezTo>
                      <a:pt x="0" y="17"/>
                      <a:pt x="6" y="6"/>
                      <a:pt x="17" y="3"/>
                    </a:cubicBezTo>
                    <a:cubicBezTo>
                      <a:pt x="27" y="0"/>
                      <a:pt x="38" y="6"/>
                      <a:pt x="42" y="16"/>
                    </a:cubicBezTo>
                    <a:cubicBezTo>
                      <a:pt x="44" y="25"/>
                      <a:pt x="47" y="33"/>
                      <a:pt x="49" y="42"/>
                    </a:cubicBezTo>
                    <a:cubicBezTo>
                      <a:pt x="64" y="87"/>
                      <a:pt x="78" y="134"/>
                      <a:pt x="78" y="182"/>
                    </a:cubicBezTo>
                    <a:cubicBezTo>
                      <a:pt x="78" y="230"/>
                      <a:pt x="64" y="277"/>
                      <a:pt x="49" y="322"/>
                    </a:cubicBezTo>
                    <a:cubicBezTo>
                      <a:pt x="47" y="331"/>
                      <a:pt x="44" y="339"/>
                      <a:pt x="42" y="348"/>
                    </a:cubicBezTo>
                    <a:cubicBezTo>
                      <a:pt x="39" y="356"/>
                      <a:pt x="31" y="362"/>
                      <a:pt x="22" y="36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0" name="Freeform 74">
                <a:extLst>
                  <a:ext uri="{FF2B5EF4-FFF2-40B4-BE49-F238E27FC236}">
                    <a16:creationId xmlns:a16="http://schemas.microsoft.com/office/drawing/2014/main" id="{7611E192-4F0F-4082-BA45-0C729B0E678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58" y="1778"/>
                <a:ext cx="216" cy="758"/>
              </a:xfrm>
              <a:custGeom>
                <a:avLst/>
                <a:gdLst>
                  <a:gd name="T0" fmla="*/ 23 w 103"/>
                  <a:gd name="T1" fmla="*/ 363 h 363"/>
                  <a:gd name="T2" fmla="*/ 13 w 103"/>
                  <a:gd name="T3" fmla="*/ 361 h 363"/>
                  <a:gd name="T4" fmla="*/ 5 w 103"/>
                  <a:gd name="T5" fmla="*/ 333 h 363"/>
                  <a:gd name="T6" fmla="*/ 15 w 103"/>
                  <a:gd name="T7" fmla="*/ 316 h 363"/>
                  <a:gd name="T8" fmla="*/ 63 w 103"/>
                  <a:gd name="T9" fmla="*/ 183 h 363"/>
                  <a:gd name="T10" fmla="*/ 14 w 103"/>
                  <a:gd name="T11" fmla="*/ 50 h 363"/>
                  <a:gd name="T12" fmla="*/ 5 w 103"/>
                  <a:gd name="T13" fmla="*/ 33 h 363"/>
                  <a:gd name="T14" fmla="*/ 13 w 103"/>
                  <a:gd name="T15" fmla="*/ 5 h 363"/>
                  <a:gd name="T16" fmla="*/ 40 w 103"/>
                  <a:gd name="T17" fmla="*/ 13 h 363"/>
                  <a:gd name="T18" fmla="*/ 49 w 103"/>
                  <a:gd name="T19" fmla="*/ 30 h 363"/>
                  <a:gd name="T20" fmla="*/ 103 w 103"/>
                  <a:gd name="T21" fmla="*/ 183 h 363"/>
                  <a:gd name="T22" fmla="*/ 49 w 103"/>
                  <a:gd name="T23" fmla="*/ 336 h 363"/>
                  <a:gd name="T24" fmla="*/ 40 w 103"/>
                  <a:gd name="T25" fmla="*/ 353 h 363"/>
                  <a:gd name="T26" fmla="*/ 23 w 103"/>
                  <a:gd name="T27" fmla="*/ 363 h 3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3" h="363">
                    <a:moveTo>
                      <a:pt x="23" y="363"/>
                    </a:moveTo>
                    <a:cubicBezTo>
                      <a:pt x="19" y="363"/>
                      <a:pt x="16" y="362"/>
                      <a:pt x="13" y="361"/>
                    </a:cubicBezTo>
                    <a:cubicBezTo>
                      <a:pt x="3" y="355"/>
                      <a:pt x="0" y="343"/>
                      <a:pt x="5" y="333"/>
                    </a:cubicBezTo>
                    <a:cubicBezTo>
                      <a:pt x="8" y="328"/>
                      <a:pt x="11" y="322"/>
                      <a:pt x="15" y="316"/>
                    </a:cubicBezTo>
                    <a:cubicBezTo>
                      <a:pt x="38" y="274"/>
                      <a:pt x="63" y="231"/>
                      <a:pt x="63" y="183"/>
                    </a:cubicBezTo>
                    <a:cubicBezTo>
                      <a:pt x="63" y="135"/>
                      <a:pt x="38" y="92"/>
                      <a:pt x="14" y="50"/>
                    </a:cubicBezTo>
                    <a:cubicBezTo>
                      <a:pt x="11" y="44"/>
                      <a:pt x="8" y="38"/>
                      <a:pt x="5" y="33"/>
                    </a:cubicBezTo>
                    <a:cubicBezTo>
                      <a:pt x="0" y="23"/>
                      <a:pt x="3" y="11"/>
                      <a:pt x="13" y="5"/>
                    </a:cubicBezTo>
                    <a:cubicBezTo>
                      <a:pt x="23" y="0"/>
                      <a:pt x="35" y="4"/>
                      <a:pt x="40" y="13"/>
                    </a:cubicBezTo>
                    <a:cubicBezTo>
                      <a:pt x="43" y="19"/>
                      <a:pt x="46" y="24"/>
                      <a:pt x="49" y="30"/>
                    </a:cubicBezTo>
                    <a:cubicBezTo>
                      <a:pt x="75" y="77"/>
                      <a:pt x="103" y="125"/>
                      <a:pt x="103" y="183"/>
                    </a:cubicBezTo>
                    <a:cubicBezTo>
                      <a:pt x="103" y="241"/>
                      <a:pt x="76" y="289"/>
                      <a:pt x="49" y="336"/>
                    </a:cubicBezTo>
                    <a:cubicBezTo>
                      <a:pt x="46" y="342"/>
                      <a:pt x="43" y="347"/>
                      <a:pt x="40" y="353"/>
                    </a:cubicBezTo>
                    <a:cubicBezTo>
                      <a:pt x="36" y="359"/>
                      <a:pt x="30" y="363"/>
                      <a:pt x="23" y="3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1" name="Freeform 75">
                <a:extLst>
                  <a:ext uri="{FF2B5EF4-FFF2-40B4-BE49-F238E27FC236}">
                    <a16:creationId xmlns:a16="http://schemas.microsoft.com/office/drawing/2014/main" id="{CA905895-E44B-4850-B392-FA4E2FC4B9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15" y="1784"/>
                <a:ext cx="84" cy="752"/>
              </a:xfrm>
              <a:custGeom>
                <a:avLst/>
                <a:gdLst>
                  <a:gd name="T0" fmla="*/ 20 w 40"/>
                  <a:gd name="T1" fmla="*/ 360 h 360"/>
                  <a:gd name="T2" fmla="*/ 0 w 40"/>
                  <a:gd name="T3" fmla="*/ 340 h 360"/>
                  <a:gd name="T4" fmla="*/ 0 w 40"/>
                  <a:gd name="T5" fmla="*/ 20 h 360"/>
                  <a:gd name="T6" fmla="*/ 20 w 40"/>
                  <a:gd name="T7" fmla="*/ 0 h 360"/>
                  <a:gd name="T8" fmla="*/ 40 w 40"/>
                  <a:gd name="T9" fmla="*/ 20 h 360"/>
                  <a:gd name="T10" fmla="*/ 40 w 40"/>
                  <a:gd name="T11" fmla="*/ 340 h 360"/>
                  <a:gd name="T12" fmla="*/ 20 w 40"/>
                  <a:gd name="T13" fmla="*/ 36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" h="360">
                    <a:moveTo>
                      <a:pt x="20" y="360"/>
                    </a:moveTo>
                    <a:cubicBezTo>
                      <a:pt x="9" y="360"/>
                      <a:pt x="0" y="351"/>
                      <a:pt x="0" y="34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9"/>
                      <a:pt x="9" y="0"/>
                      <a:pt x="20" y="0"/>
                    </a:cubicBezTo>
                    <a:cubicBezTo>
                      <a:pt x="31" y="0"/>
                      <a:pt x="40" y="9"/>
                      <a:pt x="40" y="20"/>
                    </a:cubicBezTo>
                    <a:cubicBezTo>
                      <a:pt x="40" y="340"/>
                      <a:pt x="40" y="340"/>
                      <a:pt x="40" y="340"/>
                    </a:cubicBezTo>
                    <a:cubicBezTo>
                      <a:pt x="40" y="351"/>
                      <a:pt x="31" y="360"/>
                      <a:pt x="20" y="36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0C10FA7-B1B0-4D22-9504-9A98287C78C5}"/>
              </a:ext>
            </a:extLst>
          </p:cNvPr>
          <p:cNvGrpSpPr/>
          <p:nvPr/>
        </p:nvGrpSpPr>
        <p:grpSpPr>
          <a:xfrm>
            <a:off x="762324" y="1842273"/>
            <a:ext cx="685083" cy="685083"/>
            <a:chOff x="1062804" y="1765211"/>
            <a:chExt cx="685083" cy="685083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DACA59ED-13E6-47FF-8E0C-14547C91326A}"/>
                </a:ext>
              </a:extLst>
            </p:cNvPr>
            <p:cNvSpPr/>
            <p:nvPr/>
          </p:nvSpPr>
          <p:spPr bwMode="gray">
            <a:xfrm>
              <a:off x="1062804" y="1765211"/>
              <a:ext cx="685083" cy="68508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1645BD6C-5900-47E6-9DF8-8B38F5D3E614}"/>
                </a:ext>
              </a:extLst>
            </p:cNvPr>
            <p:cNvGrpSpPr/>
            <p:nvPr/>
          </p:nvGrpSpPr>
          <p:grpSpPr>
            <a:xfrm>
              <a:off x="1237683" y="1908727"/>
              <a:ext cx="344611" cy="404623"/>
              <a:chOff x="9432806" y="3717836"/>
              <a:chExt cx="155510" cy="186499"/>
            </a:xfrm>
            <a:solidFill>
              <a:schemeClr val="accent1"/>
            </a:solidFill>
          </p:grpSpPr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CB6FC28-41FD-40A5-BEDE-765F822A5978}"/>
                  </a:ext>
                </a:extLst>
              </p:cNvPr>
              <p:cNvSpPr/>
              <p:nvPr/>
            </p:nvSpPr>
            <p:spPr>
              <a:xfrm>
                <a:off x="9432806" y="3717836"/>
                <a:ext cx="155510" cy="186499"/>
              </a:xfrm>
              <a:custGeom>
                <a:avLst/>
                <a:gdLst>
                  <a:gd name="connsiteX0" fmla="*/ 15539 w 155510"/>
                  <a:gd name="connsiteY0" fmla="*/ 172967 h 186499"/>
                  <a:gd name="connsiteX1" fmla="*/ 15539 w 155510"/>
                  <a:gd name="connsiteY1" fmla="*/ 14443 h 186499"/>
                  <a:gd name="connsiteX2" fmla="*/ 78245 w 155510"/>
                  <a:gd name="connsiteY2" fmla="*/ 14443 h 186499"/>
                  <a:gd name="connsiteX3" fmla="*/ 78245 w 155510"/>
                  <a:gd name="connsiteY3" fmla="*/ 63399 h 186499"/>
                  <a:gd name="connsiteX4" fmla="*/ 140951 w 155510"/>
                  <a:gd name="connsiteY4" fmla="*/ 63399 h 186499"/>
                  <a:gd name="connsiteX5" fmla="*/ 140951 w 155510"/>
                  <a:gd name="connsiteY5" fmla="*/ 172967 h 186499"/>
                  <a:gd name="connsiteX6" fmla="*/ 15539 w 155510"/>
                  <a:gd name="connsiteY6" fmla="*/ 172967 h 186499"/>
                  <a:gd name="connsiteX7" fmla="*/ 93294 w 155510"/>
                  <a:gd name="connsiteY7" fmla="*/ 20271 h 186499"/>
                  <a:gd name="connsiteX8" fmla="*/ 124647 w 155510"/>
                  <a:gd name="connsiteY8" fmla="*/ 49411 h 186499"/>
                  <a:gd name="connsiteX9" fmla="*/ 93294 w 155510"/>
                  <a:gd name="connsiteY9" fmla="*/ 49411 h 186499"/>
                  <a:gd name="connsiteX10" fmla="*/ 93294 w 155510"/>
                  <a:gd name="connsiteY10" fmla="*/ 20271 h 186499"/>
                  <a:gd name="connsiteX11" fmla="*/ 93294 w 155510"/>
                  <a:gd name="connsiteY11" fmla="*/ 455 h 186499"/>
                  <a:gd name="connsiteX12" fmla="*/ 490 w 155510"/>
                  <a:gd name="connsiteY12" fmla="*/ 455 h 186499"/>
                  <a:gd name="connsiteX13" fmla="*/ 490 w 155510"/>
                  <a:gd name="connsiteY13" fmla="*/ 186954 h 186499"/>
                  <a:gd name="connsiteX14" fmla="*/ 156000 w 155510"/>
                  <a:gd name="connsiteY14" fmla="*/ 186954 h 186499"/>
                  <a:gd name="connsiteX15" fmla="*/ 156000 w 155510"/>
                  <a:gd name="connsiteY15" fmla="*/ 51743 h 186499"/>
                  <a:gd name="connsiteX16" fmla="*/ 93294 w 155510"/>
                  <a:gd name="connsiteY16" fmla="*/ 455 h 186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55510" h="186499">
                    <a:moveTo>
                      <a:pt x="15539" y="172967"/>
                    </a:moveTo>
                    <a:lnTo>
                      <a:pt x="15539" y="14443"/>
                    </a:lnTo>
                    <a:lnTo>
                      <a:pt x="78245" y="14443"/>
                    </a:lnTo>
                    <a:lnTo>
                      <a:pt x="78245" y="63399"/>
                    </a:lnTo>
                    <a:lnTo>
                      <a:pt x="140951" y="63399"/>
                    </a:lnTo>
                    <a:lnTo>
                      <a:pt x="140951" y="172967"/>
                    </a:lnTo>
                    <a:lnTo>
                      <a:pt x="15539" y="172967"/>
                    </a:lnTo>
                    <a:close/>
                    <a:moveTo>
                      <a:pt x="93294" y="20271"/>
                    </a:moveTo>
                    <a:lnTo>
                      <a:pt x="124647" y="49411"/>
                    </a:lnTo>
                    <a:lnTo>
                      <a:pt x="93294" y="49411"/>
                    </a:lnTo>
                    <a:lnTo>
                      <a:pt x="93294" y="20271"/>
                    </a:lnTo>
                    <a:close/>
                    <a:moveTo>
                      <a:pt x="93294" y="455"/>
                    </a:moveTo>
                    <a:lnTo>
                      <a:pt x="490" y="455"/>
                    </a:lnTo>
                    <a:lnTo>
                      <a:pt x="490" y="186954"/>
                    </a:lnTo>
                    <a:lnTo>
                      <a:pt x="156000" y="186954"/>
                    </a:lnTo>
                    <a:lnTo>
                      <a:pt x="156000" y="51743"/>
                    </a:lnTo>
                    <a:lnTo>
                      <a:pt x="93294" y="455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98D31F20-CC12-477C-919A-3FF390866DFE}"/>
                  </a:ext>
                </a:extLst>
              </p:cNvPr>
              <p:cNvSpPr/>
              <p:nvPr/>
            </p:nvSpPr>
            <p:spPr>
              <a:xfrm>
                <a:off x="9462905" y="3804091"/>
                <a:ext cx="95313" cy="9325"/>
              </a:xfrm>
              <a:custGeom>
                <a:avLst/>
                <a:gdLst>
                  <a:gd name="connsiteX0" fmla="*/ 490 w 95312"/>
                  <a:gd name="connsiteY0" fmla="*/ 455 h 9324"/>
                  <a:gd name="connsiteX1" fmla="*/ 95803 w 95312"/>
                  <a:gd name="connsiteY1" fmla="*/ 455 h 9324"/>
                  <a:gd name="connsiteX2" fmla="*/ 95803 w 95312"/>
                  <a:gd name="connsiteY2" fmla="*/ 9780 h 9324"/>
                  <a:gd name="connsiteX3" fmla="*/ 490 w 95312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312" h="9324">
                    <a:moveTo>
                      <a:pt x="490" y="455"/>
                    </a:moveTo>
                    <a:lnTo>
                      <a:pt x="95803" y="455"/>
                    </a:lnTo>
                    <a:lnTo>
                      <a:pt x="95803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A78C9635-BC3C-4B37-9099-633B76484459}"/>
                  </a:ext>
                </a:extLst>
              </p:cNvPr>
              <p:cNvSpPr/>
              <p:nvPr/>
            </p:nvSpPr>
            <p:spPr>
              <a:xfrm>
                <a:off x="9462905" y="3785442"/>
                <a:ext cx="32607" cy="9325"/>
              </a:xfrm>
              <a:custGeom>
                <a:avLst/>
                <a:gdLst>
                  <a:gd name="connsiteX0" fmla="*/ 490 w 32606"/>
                  <a:gd name="connsiteY0" fmla="*/ 455 h 9324"/>
                  <a:gd name="connsiteX1" fmla="*/ 33097 w 32606"/>
                  <a:gd name="connsiteY1" fmla="*/ 455 h 9324"/>
                  <a:gd name="connsiteX2" fmla="*/ 33097 w 32606"/>
                  <a:gd name="connsiteY2" fmla="*/ 9780 h 9324"/>
                  <a:gd name="connsiteX3" fmla="*/ 490 w 32606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606" h="9324">
                    <a:moveTo>
                      <a:pt x="490" y="455"/>
                    </a:moveTo>
                    <a:lnTo>
                      <a:pt x="33097" y="455"/>
                    </a:lnTo>
                    <a:lnTo>
                      <a:pt x="33097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9B946493-5640-448B-B971-7E5067DDB976}"/>
                  </a:ext>
                </a:extLst>
              </p:cNvPr>
              <p:cNvSpPr/>
              <p:nvPr/>
            </p:nvSpPr>
            <p:spPr>
              <a:xfrm>
                <a:off x="9462905" y="3822741"/>
                <a:ext cx="95313" cy="9325"/>
              </a:xfrm>
              <a:custGeom>
                <a:avLst/>
                <a:gdLst>
                  <a:gd name="connsiteX0" fmla="*/ 490 w 95312"/>
                  <a:gd name="connsiteY0" fmla="*/ 455 h 9324"/>
                  <a:gd name="connsiteX1" fmla="*/ 95803 w 95312"/>
                  <a:gd name="connsiteY1" fmla="*/ 455 h 9324"/>
                  <a:gd name="connsiteX2" fmla="*/ 95803 w 95312"/>
                  <a:gd name="connsiteY2" fmla="*/ 9780 h 9324"/>
                  <a:gd name="connsiteX3" fmla="*/ 490 w 95312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312" h="9324">
                    <a:moveTo>
                      <a:pt x="490" y="455"/>
                    </a:moveTo>
                    <a:lnTo>
                      <a:pt x="95803" y="455"/>
                    </a:lnTo>
                    <a:lnTo>
                      <a:pt x="95803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69B58407-8071-4753-AC73-D6484A801A15}"/>
                  </a:ext>
                </a:extLst>
              </p:cNvPr>
              <p:cNvSpPr/>
              <p:nvPr/>
            </p:nvSpPr>
            <p:spPr>
              <a:xfrm>
                <a:off x="9462905" y="3841391"/>
                <a:ext cx="95313" cy="9325"/>
              </a:xfrm>
              <a:custGeom>
                <a:avLst/>
                <a:gdLst>
                  <a:gd name="connsiteX0" fmla="*/ 490 w 95312"/>
                  <a:gd name="connsiteY0" fmla="*/ 455 h 9324"/>
                  <a:gd name="connsiteX1" fmla="*/ 95803 w 95312"/>
                  <a:gd name="connsiteY1" fmla="*/ 455 h 9324"/>
                  <a:gd name="connsiteX2" fmla="*/ 95803 w 95312"/>
                  <a:gd name="connsiteY2" fmla="*/ 9780 h 9324"/>
                  <a:gd name="connsiteX3" fmla="*/ 490 w 95312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312" h="9324">
                    <a:moveTo>
                      <a:pt x="490" y="455"/>
                    </a:moveTo>
                    <a:lnTo>
                      <a:pt x="95803" y="455"/>
                    </a:lnTo>
                    <a:lnTo>
                      <a:pt x="95803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843A15A5-9A76-497E-996F-4AD841808A82}"/>
                  </a:ext>
                </a:extLst>
              </p:cNvPr>
              <p:cNvSpPr/>
              <p:nvPr/>
            </p:nvSpPr>
            <p:spPr>
              <a:xfrm>
                <a:off x="9462905" y="3860041"/>
                <a:ext cx="95313" cy="9325"/>
              </a:xfrm>
              <a:custGeom>
                <a:avLst/>
                <a:gdLst>
                  <a:gd name="connsiteX0" fmla="*/ 490 w 95312"/>
                  <a:gd name="connsiteY0" fmla="*/ 455 h 9324"/>
                  <a:gd name="connsiteX1" fmla="*/ 95803 w 95312"/>
                  <a:gd name="connsiteY1" fmla="*/ 455 h 9324"/>
                  <a:gd name="connsiteX2" fmla="*/ 95803 w 95312"/>
                  <a:gd name="connsiteY2" fmla="*/ 9780 h 9324"/>
                  <a:gd name="connsiteX3" fmla="*/ 490 w 95312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312" h="9324">
                    <a:moveTo>
                      <a:pt x="490" y="455"/>
                    </a:moveTo>
                    <a:lnTo>
                      <a:pt x="95803" y="455"/>
                    </a:lnTo>
                    <a:lnTo>
                      <a:pt x="95803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88C6B12-C052-47CC-B461-D7F4B7F146F4}"/>
              </a:ext>
            </a:extLst>
          </p:cNvPr>
          <p:cNvGrpSpPr/>
          <p:nvPr/>
        </p:nvGrpSpPr>
        <p:grpSpPr>
          <a:xfrm>
            <a:off x="762324" y="4111130"/>
            <a:ext cx="685083" cy="685083"/>
            <a:chOff x="1062804" y="4171643"/>
            <a:chExt cx="685083" cy="685083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248204B8-3C4E-4C26-A202-AB959AFF09A8}"/>
                </a:ext>
              </a:extLst>
            </p:cNvPr>
            <p:cNvSpPr/>
            <p:nvPr/>
          </p:nvSpPr>
          <p:spPr bwMode="gray">
            <a:xfrm>
              <a:off x="1062804" y="4171643"/>
              <a:ext cx="685083" cy="68508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id="{CCB3C4FB-FDD9-426F-8F81-199DB9A78E7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195414" y="4305884"/>
              <a:ext cx="418203" cy="354764"/>
            </a:xfrm>
            <a:custGeom>
              <a:avLst/>
              <a:gdLst>
                <a:gd name="T0" fmla="*/ 93 w 187"/>
                <a:gd name="T1" fmla="*/ 0 h 162"/>
                <a:gd name="T2" fmla="*/ 0 w 187"/>
                <a:gd name="T3" fmla="*/ 162 h 162"/>
                <a:gd name="T4" fmla="*/ 187 w 187"/>
                <a:gd name="T5" fmla="*/ 162 h 162"/>
                <a:gd name="T6" fmla="*/ 93 w 187"/>
                <a:gd name="T7" fmla="*/ 0 h 162"/>
                <a:gd name="T8" fmla="*/ 87 w 187"/>
                <a:gd name="T9" fmla="*/ 55 h 162"/>
                <a:gd name="T10" fmla="*/ 93 w 187"/>
                <a:gd name="T11" fmla="*/ 53 h 162"/>
                <a:gd name="T12" fmla="*/ 100 w 187"/>
                <a:gd name="T13" fmla="*/ 56 h 162"/>
                <a:gd name="T14" fmla="*/ 103 w 187"/>
                <a:gd name="T15" fmla="*/ 62 h 162"/>
                <a:gd name="T16" fmla="*/ 95 w 187"/>
                <a:gd name="T17" fmla="*/ 111 h 162"/>
                <a:gd name="T18" fmla="*/ 91 w 187"/>
                <a:gd name="T19" fmla="*/ 111 h 162"/>
                <a:gd name="T20" fmla="*/ 84 w 187"/>
                <a:gd name="T21" fmla="*/ 62 h 162"/>
                <a:gd name="T22" fmla="*/ 87 w 187"/>
                <a:gd name="T23" fmla="*/ 55 h 162"/>
                <a:gd name="T24" fmla="*/ 99 w 187"/>
                <a:gd name="T25" fmla="*/ 131 h 162"/>
                <a:gd name="T26" fmla="*/ 93 w 187"/>
                <a:gd name="T27" fmla="*/ 134 h 162"/>
                <a:gd name="T28" fmla="*/ 87 w 187"/>
                <a:gd name="T29" fmla="*/ 131 h 162"/>
                <a:gd name="T30" fmla="*/ 85 w 187"/>
                <a:gd name="T31" fmla="*/ 125 h 162"/>
                <a:gd name="T32" fmla="*/ 87 w 187"/>
                <a:gd name="T33" fmla="*/ 120 h 162"/>
                <a:gd name="T34" fmla="*/ 93 w 187"/>
                <a:gd name="T35" fmla="*/ 117 h 162"/>
                <a:gd name="T36" fmla="*/ 99 w 187"/>
                <a:gd name="T37" fmla="*/ 120 h 162"/>
                <a:gd name="T38" fmla="*/ 102 w 187"/>
                <a:gd name="T39" fmla="*/ 125 h 162"/>
                <a:gd name="T40" fmla="*/ 99 w 187"/>
                <a:gd name="T41" fmla="*/ 131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7" h="162">
                  <a:moveTo>
                    <a:pt x="93" y="0"/>
                  </a:moveTo>
                  <a:cubicBezTo>
                    <a:pt x="0" y="162"/>
                    <a:pt x="0" y="162"/>
                    <a:pt x="0" y="162"/>
                  </a:cubicBezTo>
                  <a:cubicBezTo>
                    <a:pt x="187" y="162"/>
                    <a:pt x="187" y="162"/>
                    <a:pt x="187" y="162"/>
                  </a:cubicBezTo>
                  <a:lnTo>
                    <a:pt x="93" y="0"/>
                  </a:lnTo>
                  <a:close/>
                  <a:moveTo>
                    <a:pt x="87" y="55"/>
                  </a:moveTo>
                  <a:cubicBezTo>
                    <a:pt x="89" y="54"/>
                    <a:pt x="91" y="53"/>
                    <a:pt x="93" y="53"/>
                  </a:cubicBezTo>
                  <a:cubicBezTo>
                    <a:pt x="96" y="53"/>
                    <a:pt x="98" y="54"/>
                    <a:pt x="100" y="56"/>
                  </a:cubicBezTo>
                  <a:cubicBezTo>
                    <a:pt x="102" y="57"/>
                    <a:pt x="103" y="60"/>
                    <a:pt x="103" y="62"/>
                  </a:cubicBezTo>
                  <a:cubicBezTo>
                    <a:pt x="103" y="65"/>
                    <a:pt x="100" y="81"/>
                    <a:pt x="95" y="111"/>
                  </a:cubicBezTo>
                  <a:cubicBezTo>
                    <a:pt x="91" y="111"/>
                    <a:pt x="91" y="111"/>
                    <a:pt x="91" y="111"/>
                  </a:cubicBezTo>
                  <a:cubicBezTo>
                    <a:pt x="86" y="81"/>
                    <a:pt x="84" y="65"/>
                    <a:pt x="84" y="62"/>
                  </a:cubicBezTo>
                  <a:cubicBezTo>
                    <a:pt x="84" y="59"/>
                    <a:pt x="85" y="57"/>
                    <a:pt x="87" y="55"/>
                  </a:cubicBezTo>
                  <a:close/>
                  <a:moveTo>
                    <a:pt x="99" y="131"/>
                  </a:moveTo>
                  <a:cubicBezTo>
                    <a:pt x="98" y="133"/>
                    <a:pt x="96" y="134"/>
                    <a:pt x="93" y="134"/>
                  </a:cubicBezTo>
                  <a:cubicBezTo>
                    <a:pt x="91" y="134"/>
                    <a:pt x="89" y="133"/>
                    <a:pt x="87" y="131"/>
                  </a:cubicBezTo>
                  <a:cubicBezTo>
                    <a:pt x="86" y="130"/>
                    <a:pt x="85" y="128"/>
                    <a:pt x="85" y="125"/>
                  </a:cubicBezTo>
                  <a:cubicBezTo>
                    <a:pt x="85" y="123"/>
                    <a:pt x="86" y="121"/>
                    <a:pt x="87" y="120"/>
                  </a:cubicBezTo>
                  <a:cubicBezTo>
                    <a:pt x="89" y="118"/>
                    <a:pt x="91" y="117"/>
                    <a:pt x="93" y="117"/>
                  </a:cubicBezTo>
                  <a:cubicBezTo>
                    <a:pt x="96" y="117"/>
                    <a:pt x="98" y="118"/>
                    <a:pt x="99" y="120"/>
                  </a:cubicBezTo>
                  <a:cubicBezTo>
                    <a:pt x="101" y="121"/>
                    <a:pt x="102" y="123"/>
                    <a:pt x="102" y="125"/>
                  </a:cubicBezTo>
                  <a:cubicBezTo>
                    <a:pt x="102" y="128"/>
                    <a:pt x="101" y="130"/>
                    <a:pt x="99" y="13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GB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99966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6FB047-6A61-4EDA-84A7-B943B24F13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852324"/>
              </p:ext>
            </p:extLst>
          </p:nvPr>
        </p:nvGraphicFramePr>
        <p:xfrm>
          <a:off x="97274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4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6FB047-6A61-4EDA-84A7-B943B24F13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7274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F760B672-E7B8-4507-9DBF-F58C42CB6BA5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222" t="139" r="6112" b="297"/>
          <a:stretch/>
        </p:blipFill>
        <p:spPr>
          <a:xfrm>
            <a:off x="0" y="2382"/>
            <a:ext cx="9234761" cy="518683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21B52C24-88D7-41F3-A49D-DAE728324A5E}"/>
              </a:ext>
            </a:extLst>
          </p:cNvPr>
          <p:cNvSpPr/>
          <p:nvPr/>
        </p:nvSpPr>
        <p:spPr>
          <a:xfrm>
            <a:off x="0" y="0"/>
            <a:ext cx="9234761" cy="5193814"/>
          </a:xfrm>
          <a:prstGeom prst="rect">
            <a:avLst/>
          </a:prstGeom>
          <a:gradFill>
            <a:gsLst>
              <a:gs pos="19000">
                <a:srgbClr val="079B84">
                  <a:alpha val="75000"/>
                </a:srgbClr>
              </a:gs>
              <a:gs pos="100000">
                <a:schemeClr val="accent1">
                  <a:alpha val="93000"/>
                </a:schemeClr>
              </a:gs>
            </a:gsLst>
            <a:lin ang="78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rtlCol="0" anchor="ctr"/>
          <a:lstStyle/>
          <a:p>
            <a:pPr algn="ctr"/>
            <a:endParaRPr lang="de-DE" sz="750" kern="0" dirty="0">
              <a:solidFill>
                <a:schemeClr val="tx1"/>
              </a:solidFill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27A7CAD-3947-4A27-9692-1CF0763634A4}"/>
              </a:ext>
            </a:extLst>
          </p:cNvPr>
          <p:cNvSpPr/>
          <p:nvPr/>
        </p:nvSpPr>
        <p:spPr>
          <a:xfrm>
            <a:off x="514620" y="1961140"/>
            <a:ext cx="1802607" cy="1802607"/>
          </a:xfrm>
          <a:prstGeom prst="ellipse">
            <a:avLst/>
          </a:prstGeom>
          <a:solidFill>
            <a:srgbClr val="FFFFFF">
              <a:alpha val="30196"/>
            </a:srgbClr>
          </a:solidFill>
          <a:ln w="190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rtlCol="0" anchor="ctr"/>
          <a:lstStyle/>
          <a:p>
            <a:pPr algn="ctr"/>
            <a:endParaRPr lang="en-US" sz="750" kern="0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0FCB198-EDE8-4E06-8E55-124CB39DB2AC}"/>
              </a:ext>
            </a:extLst>
          </p:cNvPr>
          <p:cNvSpPr/>
          <p:nvPr/>
        </p:nvSpPr>
        <p:spPr>
          <a:xfrm>
            <a:off x="2544715" y="1961140"/>
            <a:ext cx="1802607" cy="1802607"/>
          </a:xfrm>
          <a:prstGeom prst="ellipse">
            <a:avLst/>
          </a:prstGeom>
          <a:solidFill>
            <a:srgbClr val="FFFFFF">
              <a:alpha val="30196"/>
            </a:srgbClr>
          </a:solidFill>
          <a:ln w="190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rtlCol="0" anchor="ctr"/>
          <a:lstStyle/>
          <a:p>
            <a:pPr algn="ctr"/>
            <a:endParaRPr lang="en-US" sz="750" kern="0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E4650709-EDA8-4BE5-BF40-C30B1C60EB27}"/>
              </a:ext>
            </a:extLst>
          </p:cNvPr>
          <p:cNvSpPr/>
          <p:nvPr/>
        </p:nvSpPr>
        <p:spPr>
          <a:xfrm>
            <a:off x="4914448" y="1961140"/>
            <a:ext cx="1802607" cy="1802607"/>
          </a:xfrm>
          <a:prstGeom prst="ellipse">
            <a:avLst/>
          </a:prstGeom>
          <a:solidFill>
            <a:srgbClr val="FFFFFF">
              <a:alpha val="30196"/>
            </a:srgbClr>
          </a:solidFill>
          <a:ln w="190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rtlCol="0" anchor="ctr"/>
          <a:lstStyle/>
          <a:p>
            <a:pPr algn="ctr"/>
            <a:endParaRPr lang="en-US" sz="750" kern="0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444D7F6-24E0-4484-B340-C13DF951EE64}"/>
              </a:ext>
            </a:extLst>
          </p:cNvPr>
          <p:cNvSpPr txBox="1"/>
          <p:nvPr/>
        </p:nvSpPr>
        <p:spPr>
          <a:xfrm>
            <a:off x="2529192" y="3905925"/>
            <a:ext cx="176822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umans viewed as the weakest link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C969AA6-3E7A-4784-BE3E-1DF0CE46A309}"/>
              </a:ext>
            </a:extLst>
          </p:cNvPr>
          <p:cNvSpPr txBox="1"/>
          <p:nvPr/>
        </p:nvSpPr>
        <p:spPr>
          <a:xfrm>
            <a:off x="619161" y="1232673"/>
            <a:ext cx="3343240" cy="49244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anaging cyber risk is more than managing technolog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4217132-DC23-444F-A974-005F0C1171AD}"/>
              </a:ext>
            </a:extLst>
          </p:cNvPr>
          <p:cNvSpPr txBox="1"/>
          <p:nvPr/>
        </p:nvSpPr>
        <p:spPr>
          <a:xfrm>
            <a:off x="717703" y="2266662"/>
            <a:ext cx="136035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900"/>
              </a:spcBef>
              <a:buSzPct val="100000"/>
            </a:pPr>
            <a:r>
              <a:rPr lang="en-US" sz="4000" b="1" kern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1 in 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FD3BC1B-D49E-4583-BEBF-1FE33875C9D8}"/>
              </a:ext>
            </a:extLst>
          </p:cNvPr>
          <p:cNvSpPr txBox="1"/>
          <p:nvPr/>
        </p:nvSpPr>
        <p:spPr>
          <a:xfrm>
            <a:off x="2788214" y="2266662"/>
            <a:ext cx="1360354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900"/>
              </a:spcBef>
              <a:buSzPct val="100000"/>
            </a:pPr>
            <a:r>
              <a:rPr lang="en-US" sz="4000" b="1" kern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&gt;60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4E45C53-4B5B-48D1-9146-97AB3BCBFEFA}"/>
              </a:ext>
            </a:extLst>
          </p:cNvPr>
          <p:cNvSpPr txBox="1"/>
          <p:nvPr/>
        </p:nvSpPr>
        <p:spPr>
          <a:xfrm>
            <a:off x="4972151" y="2266662"/>
            <a:ext cx="170799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900"/>
              </a:spcBef>
              <a:buSzPct val="100000"/>
            </a:pPr>
            <a:r>
              <a:rPr lang="en-US" sz="4000" b="1" kern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$200 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7BC15472-EEBA-40BB-B17F-25E1E8C9DBEA}"/>
              </a:ext>
            </a:extLst>
          </p:cNvPr>
          <p:cNvSpPr/>
          <p:nvPr/>
        </p:nvSpPr>
        <p:spPr>
          <a:xfrm>
            <a:off x="6944544" y="1961140"/>
            <a:ext cx="1802607" cy="1802607"/>
          </a:xfrm>
          <a:prstGeom prst="ellipse">
            <a:avLst/>
          </a:prstGeom>
          <a:solidFill>
            <a:srgbClr val="FFFFFF">
              <a:alpha val="30196"/>
            </a:srgbClr>
          </a:solidFill>
          <a:ln w="190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864" tIns="54864" rIns="54864" bIns="54864" rtlCol="0" anchor="ctr"/>
          <a:lstStyle/>
          <a:p>
            <a:pPr algn="ctr"/>
            <a:endParaRPr lang="en-US" sz="750" kern="0" dirty="0">
              <a:solidFill>
                <a:schemeClr val="tx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2D7EEAF-488B-4342-86C2-A0B8823476A3}"/>
              </a:ext>
            </a:extLst>
          </p:cNvPr>
          <p:cNvSpPr txBox="1"/>
          <p:nvPr/>
        </p:nvSpPr>
        <p:spPr>
          <a:xfrm>
            <a:off x="7027623" y="2266662"/>
            <a:ext cx="164602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900"/>
              </a:spcBef>
              <a:buSzPct val="100000"/>
            </a:pPr>
            <a:r>
              <a:rPr lang="en-US" sz="4000" b="1" kern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$1,500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C05811F-B0C2-4E3E-9D09-E422795FA30F}"/>
              </a:ext>
            </a:extLst>
          </p:cNvPr>
          <p:cNvSpPr txBox="1"/>
          <p:nvPr/>
        </p:nvSpPr>
        <p:spPr>
          <a:xfrm>
            <a:off x="638994" y="2804164"/>
            <a:ext cx="1592198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SzPct val="100000"/>
            </a:pPr>
            <a:r>
              <a:rPr lang="en-US" sz="1400" kern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rganizations suffered a data breach through insiders</a:t>
            </a:r>
            <a:r>
              <a:rPr lang="en-US" sz="1400" kern="0" baseline="300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1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048203E-4AF5-4FF1-AD79-B755C46FB5FF}"/>
              </a:ext>
            </a:extLst>
          </p:cNvPr>
          <p:cNvSpPr txBox="1"/>
          <p:nvPr/>
        </p:nvSpPr>
        <p:spPr>
          <a:xfrm>
            <a:off x="2773371" y="2804164"/>
            <a:ext cx="134529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SzPct val="100000"/>
            </a:pPr>
            <a:r>
              <a:rPr lang="en-US" sz="1400" kern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alware installed using phishing </a:t>
            </a:r>
            <a:r>
              <a:rPr lang="en-US" sz="1400" kern="0" baseline="300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2</a:t>
            </a:r>
            <a:r>
              <a:rPr lang="en-US" sz="1400" kern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1442D16-A2BC-49C6-8A18-A538AA7E8C9E}"/>
              </a:ext>
            </a:extLst>
          </p:cNvPr>
          <p:cNvSpPr txBox="1"/>
          <p:nvPr/>
        </p:nvSpPr>
        <p:spPr>
          <a:xfrm>
            <a:off x="5029198" y="2804164"/>
            <a:ext cx="1596607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SzPct val="100000"/>
            </a:pPr>
            <a:r>
              <a:rPr lang="en-US" sz="1400" kern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ypical market price for online services payment record</a:t>
            </a:r>
            <a:r>
              <a:rPr lang="en-US" sz="1400" kern="0" baseline="300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3</a:t>
            </a:r>
            <a:r>
              <a:rPr lang="en-US" sz="1400" kern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0A0E022-6487-44CF-97D0-992548C0961A}"/>
              </a:ext>
            </a:extLst>
          </p:cNvPr>
          <p:cNvSpPr txBox="1"/>
          <p:nvPr/>
        </p:nvSpPr>
        <p:spPr>
          <a:xfrm>
            <a:off x="490039" y="3905925"/>
            <a:ext cx="176344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orkers are a major attack vecto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BF22004-151B-40D4-9C48-D276BF9D563D}"/>
              </a:ext>
            </a:extLst>
          </p:cNvPr>
          <p:cNvSpPr txBox="1"/>
          <p:nvPr/>
        </p:nvSpPr>
        <p:spPr>
          <a:xfrm>
            <a:off x="7180757" y="2804164"/>
            <a:ext cx="1345295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buSzPct val="100000"/>
            </a:pPr>
            <a:r>
              <a:rPr lang="en-US" sz="1400" kern="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st of ready-to-use malware to target ATMs</a:t>
            </a:r>
            <a:r>
              <a:rPr lang="en-US" sz="1400" kern="0" baseline="300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5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7065552-3E54-4DE3-8120-06829FB12F94}"/>
              </a:ext>
            </a:extLst>
          </p:cNvPr>
          <p:cNvSpPr txBox="1"/>
          <p:nvPr/>
        </p:nvSpPr>
        <p:spPr>
          <a:xfrm>
            <a:off x="6991224" y="3905925"/>
            <a:ext cx="170924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“Barriers to entry” are decreasing</a:t>
            </a:r>
          </a:p>
        </p:txBody>
      </p:sp>
      <p:sp>
        <p:nvSpPr>
          <p:cNvPr id="25" name="CuadroTexto 6">
            <a:extLst>
              <a:ext uri="{FF2B5EF4-FFF2-40B4-BE49-F238E27FC236}">
                <a16:creationId xmlns:a16="http://schemas.microsoft.com/office/drawing/2014/main" id="{34BAED4B-5911-4667-B9A5-E2B2059E5A60}"/>
              </a:ext>
            </a:extLst>
          </p:cNvPr>
          <p:cNvSpPr txBox="1"/>
          <p:nvPr/>
        </p:nvSpPr>
        <p:spPr>
          <a:xfrm>
            <a:off x="619160" y="338006"/>
            <a:ext cx="8315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cap="all" dirty="0">
                <a:solidFill>
                  <a:srgbClr val="092566"/>
                </a:solidFill>
                <a:latin typeface="Helvetica" pitchFamily="2" charset="0"/>
              </a:rPr>
              <a:t>cyber risk toda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2567ACD-0AC2-4D68-92D5-EC54BDA32D94}"/>
              </a:ext>
            </a:extLst>
          </p:cNvPr>
          <p:cNvSpPr txBox="1"/>
          <p:nvPr/>
        </p:nvSpPr>
        <p:spPr>
          <a:xfrm>
            <a:off x="5181520" y="1232673"/>
            <a:ext cx="3343240" cy="49244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Hacking is pervasive, lucrative, and easier than ever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C218AB5-9C7B-4E01-951A-2C230D8F4192}"/>
              </a:ext>
            </a:extLst>
          </p:cNvPr>
          <p:cNvSpPr txBox="1"/>
          <p:nvPr/>
        </p:nvSpPr>
        <p:spPr>
          <a:xfrm>
            <a:off x="355798" y="4954220"/>
            <a:ext cx="85785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ources: 1. Forcepoint 2017 Report 2. F5 2017 Evolving Risk Landscape Report;  3. Experian 2017 Report; 4. 2017 Year End Data Breach QuickView Report; 5. The Register 2017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09CEEC7-2C5B-48CC-A88D-6EC22119856D}"/>
              </a:ext>
            </a:extLst>
          </p:cNvPr>
          <p:cNvSpPr txBox="1"/>
          <p:nvPr/>
        </p:nvSpPr>
        <p:spPr>
          <a:xfrm>
            <a:off x="4978214" y="3905925"/>
            <a:ext cx="173884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7.89 billion records breached in 2017</a:t>
            </a:r>
            <a:r>
              <a:rPr lang="en-US" sz="1600" baseline="30000" dirty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4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BC77B7B-A7FC-4B13-9136-15D0E686A082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787653" y="63204"/>
            <a:ext cx="384440" cy="384440"/>
            <a:chOff x="700116" y="1398588"/>
            <a:chExt cx="1360292" cy="1360292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1FF00D57-E0D9-4868-90B4-9EDC31FACFE9}"/>
                </a:ext>
              </a:extLst>
            </p:cNvPr>
            <p:cNvSpPr/>
            <p:nvPr/>
          </p:nvSpPr>
          <p:spPr bwMode="gray">
            <a:xfrm>
              <a:off x="700116" y="1398588"/>
              <a:ext cx="1360292" cy="136029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46" name="Group 88">
              <a:extLst>
                <a:ext uri="{FF2B5EF4-FFF2-40B4-BE49-F238E27FC236}">
                  <a16:creationId xmlns:a16="http://schemas.microsoft.com/office/drawing/2014/main" id="{147E2E19-57E4-4F1C-85F0-8E6511261111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004221" y="1527526"/>
              <a:ext cx="761825" cy="1097359"/>
              <a:chOff x="2748" y="1759"/>
              <a:chExt cx="554" cy="798"/>
            </a:xfrm>
            <a:solidFill>
              <a:schemeClr val="accent1"/>
            </a:solidFill>
          </p:grpSpPr>
          <p:sp>
            <p:nvSpPr>
              <p:cNvPr id="47" name="Freeform 89">
                <a:extLst>
                  <a:ext uri="{FF2B5EF4-FFF2-40B4-BE49-F238E27FC236}">
                    <a16:creationId xmlns:a16="http://schemas.microsoft.com/office/drawing/2014/main" id="{B40814DF-FBBF-4317-A555-2491FB3CF8B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13" y="2045"/>
                <a:ext cx="426" cy="171"/>
              </a:xfrm>
              <a:custGeom>
                <a:avLst/>
                <a:gdLst>
                  <a:gd name="T0" fmla="*/ 194 w 203"/>
                  <a:gd name="T1" fmla="*/ 56 h 82"/>
                  <a:gd name="T2" fmla="*/ 164 w 203"/>
                  <a:gd name="T3" fmla="*/ 35 h 82"/>
                  <a:gd name="T4" fmla="*/ 153 w 203"/>
                  <a:gd name="T5" fmla="*/ 35 h 82"/>
                  <a:gd name="T6" fmla="*/ 167 w 203"/>
                  <a:gd name="T7" fmla="*/ 15 h 82"/>
                  <a:gd name="T8" fmla="*/ 159 w 203"/>
                  <a:gd name="T9" fmla="*/ 0 h 82"/>
                  <a:gd name="T10" fmla="*/ 115 w 203"/>
                  <a:gd name="T11" fmla="*/ 3 h 82"/>
                  <a:gd name="T12" fmla="*/ 88 w 203"/>
                  <a:gd name="T13" fmla="*/ 3 h 82"/>
                  <a:gd name="T14" fmla="*/ 44 w 203"/>
                  <a:gd name="T15" fmla="*/ 0 h 82"/>
                  <a:gd name="T16" fmla="*/ 36 w 203"/>
                  <a:gd name="T17" fmla="*/ 15 h 82"/>
                  <a:gd name="T18" fmla="*/ 50 w 203"/>
                  <a:gd name="T19" fmla="*/ 35 h 82"/>
                  <a:gd name="T20" fmla="*/ 39 w 203"/>
                  <a:gd name="T21" fmla="*/ 35 h 82"/>
                  <a:gd name="T22" fmla="*/ 9 w 203"/>
                  <a:gd name="T23" fmla="*/ 56 h 82"/>
                  <a:gd name="T24" fmla="*/ 0 w 203"/>
                  <a:gd name="T25" fmla="*/ 82 h 82"/>
                  <a:gd name="T26" fmla="*/ 203 w 203"/>
                  <a:gd name="T27" fmla="*/ 82 h 82"/>
                  <a:gd name="T28" fmla="*/ 194 w 203"/>
                  <a:gd name="T29" fmla="*/ 5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3" h="82">
                    <a:moveTo>
                      <a:pt x="194" y="56"/>
                    </a:moveTo>
                    <a:cubicBezTo>
                      <a:pt x="189" y="43"/>
                      <a:pt x="177" y="35"/>
                      <a:pt x="164" y="35"/>
                    </a:cubicBezTo>
                    <a:cubicBezTo>
                      <a:pt x="153" y="35"/>
                      <a:pt x="153" y="35"/>
                      <a:pt x="153" y="35"/>
                    </a:cubicBezTo>
                    <a:cubicBezTo>
                      <a:pt x="167" y="15"/>
                      <a:pt x="167" y="15"/>
                      <a:pt x="167" y="15"/>
                    </a:cubicBezTo>
                    <a:cubicBezTo>
                      <a:pt x="172" y="9"/>
                      <a:pt x="167" y="0"/>
                      <a:pt x="159" y="0"/>
                    </a:cubicBezTo>
                    <a:cubicBezTo>
                      <a:pt x="115" y="3"/>
                      <a:pt x="115" y="3"/>
                      <a:pt x="115" y="3"/>
                    </a:cubicBezTo>
                    <a:cubicBezTo>
                      <a:pt x="106" y="3"/>
                      <a:pt x="97" y="3"/>
                      <a:pt x="88" y="3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36" y="0"/>
                      <a:pt x="31" y="9"/>
                      <a:pt x="36" y="15"/>
                    </a:cubicBezTo>
                    <a:cubicBezTo>
                      <a:pt x="50" y="35"/>
                      <a:pt x="50" y="35"/>
                      <a:pt x="50" y="35"/>
                    </a:cubicBezTo>
                    <a:cubicBezTo>
                      <a:pt x="39" y="35"/>
                      <a:pt x="39" y="35"/>
                      <a:pt x="39" y="35"/>
                    </a:cubicBezTo>
                    <a:cubicBezTo>
                      <a:pt x="25" y="35"/>
                      <a:pt x="13" y="43"/>
                      <a:pt x="9" y="56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203" y="82"/>
                      <a:pt x="203" y="82"/>
                      <a:pt x="203" y="82"/>
                    </a:cubicBezTo>
                    <a:lnTo>
                      <a:pt x="194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8" name="Freeform 90">
                <a:extLst>
                  <a:ext uri="{FF2B5EF4-FFF2-40B4-BE49-F238E27FC236}">
                    <a16:creationId xmlns:a16="http://schemas.microsoft.com/office/drawing/2014/main" id="{E0638E5C-94B9-4D73-B07A-B13508D55B1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886" y="1924"/>
                <a:ext cx="275" cy="106"/>
              </a:xfrm>
              <a:custGeom>
                <a:avLst/>
                <a:gdLst>
                  <a:gd name="T0" fmla="*/ 6 w 131"/>
                  <a:gd name="T1" fmla="*/ 0 h 51"/>
                  <a:gd name="T2" fmla="*/ 1 w 131"/>
                  <a:gd name="T3" fmla="*/ 37 h 51"/>
                  <a:gd name="T4" fmla="*/ 9 w 131"/>
                  <a:gd name="T5" fmla="*/ 47 h 51"/>
                  <a:gd name="T6" fmla="*/ 46 w 131"/>
                  <a:gd name="T7" fmla="*/ 50 h 51"/>
                  <a:gd name="T8" fmla="*/ 55 w 131"/>
                  <a:gd name="T9" fmla="*/ 47 h 51"/>
                  <a:gd name="T10" fmla="*/ 59 w 131"/>
                  <a:gd name="T11" fmla="*/ 43 h 51"/>
                  <a:gd name="T12" fmla="*/ 67 w 131"/>
                  <a:gd name="T13" fmla="*/ 40 h 51"/>
                  <a:gd name="T14" fmla="*/ 75 w 131"/>
                  <a:gd name="T15" fmla="*/ 43 h 51"/>
                  <a:gd name="T16" fmla="*/ 79 w 131"/>
                  <a:gd name="T17" fmla="*/ 47 h 51"/>
                  <a:gd name="T18" fmla="*/ 87 w 131"/>
                  <a:gd name="T19" fmla="*/ 50 h 51"/>
                  <a:gd name="T20" fmla="*/ 123 w 131"/>
                  <a:gd name="T21" fmla="*/ 47 h 51"/>
                  <a:gd name="T22" fmla="*/ 131 w 131"/>
                  <a:gd name="T23" fmla="*/ 37 h 51"/>
                  <a:gd name="T24" fmla="*/ 126 w 131"/>
                  <a:gd name="T25" fmla="*/ 0 h 51"/>
                  <a:gd name="T26" fmla="*/ 66 w 131"/>
                  <a:gd name="T27" fmla="*/ 6 h 51"/>
                  <a:gd name="T28" fmla="*/ 6 w 131"/>
                  <a:gd name="T29" fmla="*/ 0 h 51"/>
                  <a:gd name="T30" fmla="*/ 51 w 131"/>
                  <a:gd name="T31" fmla="*/ 29 h 51"/>
                  <a:gd name="T32" fmla="*/ 36 w 131"/>
                  <a:gd name="T33" fmla="*/ 34 h 51"/>
                  <a:gd name="T34" fmla="*/ 22 w 131"/>
                  <a:gd name="T35" fmla="*/ 29 h 51"/>
                  <a:gd name="T36" fmla="*/ 22 w 131"/>
                  <a:gd name="T37" fmla="*/ 23 h 51"/>
                  <a:gd name="T38" fmla="*/ 36 w 131"/>
                  <a:gd name="T39" fmla="*/ 18 h 51"/>
                  <a:gd name="T40" fmla="*/ 51 w 131"/>
                  <a:gd name="T41" fmla="*/ 23 h 51"/>
                  <a:gd name="T42" fmla="*/ 51 w 131"/>
                  <a:gd name="T43" fmla="*/ 29 h 51"/>
                  <a:gd name="T44" fmla="*/ 81 w 131"/>
                  <a:gd name="T45" fmla="*/ 23 h 51"/>
                  <a:gd name="T46" fmla="*/ 96 w 131"/>
                  <a:gd name="T47" fmla="*/ 18 h 51"/>
                  <a:gd name="T48" fmla="*/ 110 w 131"/>
                  <a:gd name="T49" fmla="*/ 23 h 51"/>
                  <a:gd name="T50" fmla="*/ 110 w 131"/>
                  <a:gd name="T51" fmla="*/ 29 h 51"/>
                  <a:gd name="T52" fmla="*/ 96 w 131"/>
                  <a:gd name="T53" fmla="*/ 34 h 51"/>
                  <a:gd name="T54" fmla="*/ 81 w 131"/>
                  <a:gd name="T55" fmla="*/ 29 h 51"/>
                  <a:gd name="T56" fmla="*/ 81 w 131"/>
                  <a:gd name="T57" fmla="*/ 2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31" h="51">
                    <a:moveTo>
                      <a:pt x="6" y="0"/>
                    </a:moveTo>
                    <a:cubicBezTo>
                      <a:pt x="1" y="37"/>
                      <a:pt x="1" y="37"/>
                      <a:pt x="1" y="37"/>
                    </a:cubicBezTo>
                    <a:cubicBezTo>
                      <a:pt x="0" y="42"/>
                      <a:pt x="4" y="47"/>
                      <a:pt x="9" y="47"/>
                    </a:cubicBezTo>
                    <a:cubicBezTo>
                      <a:pt x="19" y="49"/>
                      <a:pt x="34" y="50"/>
                      <a:pt x="46" y="50"/>
                    </a:cubicBezTo>
                    <a:cubicBezTo>
                      <a:pt x="50" y="50"/>
                      <a:pt x="53" y="49"/>
                      <a:pt x="55" y="47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61" y="41"/>
                      <a:pt x="64" y="40"/>
                      <a:pt x="67" y="40"/>
                    </a:cubicBezTo>
                    <a:cubicBezTo>
                      <a:pt x="70" y="40"/>
                      <a:pt x="73" y="41"/>
                      <a:pt x="75" y="43"/>
                    </a:cubicBezTo>
                    <a:cubicBezTo>
                      <a:pt x="79" y="47"/>
                      <a:pt x="79" y="47"/>
                      <a:pt x="79" y="47"/>
                    </a:cubicBezTo>
                    <a:cubicBezTo>
                      <a:pt x="81" y="49"/>
                      <a:pt x="84" y="51"/>
                      <a:pt x="87" y="50"/>
                    </a:cubicBezTo>
                    <a:cubicBezTo>
                      <a:pt x="99" y="50"/>
                      <a:pt x="114" y="49"/>
                      <a:pt x="123" y="47"/>
                    </a:cubicBezTo>
                    <a:cubicBezTo>
                      <a:pt x="128" y="47"/>
                      <a:pt x="131" y="42"/>
                      <a:pt x="131" y="37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10" y="4"/>
                      <a:pt x="88" y="6"/>
                      <a:pt x="66" y="6"/>
                    </a:cubicBezTo>
                    <a:cubicBezTo>
                      <a:pt x="44" y="6"/>
                      <a:pt x="22" y="4"/>
                      <a:pt x="6" y="0"/>
                    </a:cubicBezTo>
                    <a:close/>
                    <a:moveTo>
                      <a:pt x="51" y="29"/>
                    </a:moveTo>
                    <a:cubicBezTo>
                      <a:pt x="48" y="31"/>
                      <a:pt x="42" y="34"/>
                      <a:pt x="36" y="34"/>
                    </a:cubicBezTo>
                    <a:cubicBezTo>
                      <a:pt x="30" y="34"/>
                      <a:pt x="25" y="31"/>
                      <a:pt x="22" y="29"/>
                    </a:cubicBezTo>
                    <a:cubicBezTo>
                      <a:pt x="20" y="27"/>
                      <a:pt x="20" y="25"/>
                      <a:pt x="22" y="23"/>
                    </a:cubicBezTo>
                    <a:cubicBezTo>
                      <a:pt x="25" y="21"/>
                      <a:pt x="30" y="18"/>
                      <a:pt x="36" y="18"/>
                    </a:cubicBezTo>
                    <a:cubicBezTo>
                      <a:pt x="42" y="18"/>
                      <a:pt x="48" y="21"/>
                      <a:pt x="51" y="23"/>
                    </a:cubicBezTo>
                    <a:cubicBezTo>
                      <a:pt x="53" y="25"/>
                      <a:pt x="53" y="27"/>
                      <a:pt x="51" y="29"/>
                    </a:cubicBezTo>
                    <a:close/>
                    <a:moveTo>
                      <a:pt x="81" y="23"/>
                    </a:moveTo>
                    <a:cubicBezTo>
                      <a:pt x="84" y="21"/>
                      <a:pt x="90" y="18"/>
                      <a:pt x="96" y="18"/>
                    </a:cubicBezTo>
                    <a:cubicBezTo>
                      <a:pt x="102" y="18"/>
                      <a:pt x="107" y="21"/>
                      <a:pt x="110" y="23"/>
                    </a:cubicBezTo>
                    <a:cubicBezTo>
                      <a:pt x="112" y="25"/>
                      <a:pt x="112" y="27"/>
                      <a:pt x="110" y="29"/>
                    </a:cubicBezTo>
                    <a:cubicBezTo>
                      <a:pt x="107" y="31"/>
                      <a:pt x="102" y="34"/>
                      <a:pt x="96" y="34"/>
                    </a:cubicBezTo>
                    <a:cubicBezTo>
                      <a:pt x="90" y="34"/>
                      <a:pt x="84" y="31"/>
                      <a:pt x="81" y="29"/>
                    </a:cubicBezTo>
                    <a:cubicBezTo>
                      <a:pt x="79" y="27"/>
                      <a:pt x="79" y="25"/>
                      <a:pt x="81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49" name="Freeform 91">
                <a:extLst>
                  <a:ext uri="{FF2B5EF4-FFF2-40B4-BE49-F238E27FC236}">
                    <a16:creationId xmlns:a16="http://schemas.microsoft.com/office/drawing/2014/main" id="{4B7CAFC5-075C-4366-B382-B34995924C5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49" y="1759"/>
                <a:ext cx="352" cy="152"/>
              </a:xfrm>
              <a:custGeom>
                <a:avLst/>
                <a:gdLst>
                  <a:gd name="T0" fmla="*/ 84 w 168"/>
                  <a:gd name="T1" fmla="*/ 73 h 73"/>
                  <a:gd name="T2" fmla="*/ 168 w 168"/>
                  <a:gd name="T3" fmla="*/ 53 h 73"/>
                  <a:gd name="T4" fmla="*/ 143 w 168"/>
                  <a:gd name="T5" fmla="*/ 39 h 73"/>
                  <a:gd name="T6" fmla="*/ 144 w 168"/>
                  <a:gd name="T7" fmla="*/ 46 h 73"/>
                  <a:gd name="T8" fmla="*/ 142 w 168"/>
                  <a:gd name="T9" fmla="*/ 51 h 73"/>
                  <a:gd name="T10" fmla="*/ 137 w 168"/>
                  <a:gd name="T11" fmla="*/ 48 h 73"/>
                  <a:gd name="T12" fmla="*/ 128 w 168"/>
                  <a:gd name="T13" fmla="*/ 13 h 73"/>
                  <a:gd name="T14" fmla="*/ 112 w 168"/>
                  <a:gd name="T15" fmla="*/ 2 h 73"/>
                  <a:gd name="T16" fmla="*/ 96 w 168"/>
                  <a:gd name="T17" fmla="*/ 6 h 73"/>
                  <a:gd name="T18" fmla="*/ 71 w 168"/>
                  <a:gd name="T19" fmla="*/ 6 h 73"/>
                  <a:gd name="T20" fmla="*/ 56 w 168"/>
                  <a:gd name="T21" fmla="*/ 2 h 73"/>
                  <a:gd name="T22" fmla="*/ 39 w 168"/>
                  <a:gd name="T23" fmla="*/ 13 h 73"/>
                  <a:gd name="T24" fmla="*/ 31 w 168"/>
                  <a:gd name="T25" fmla="*/ 48 h 73"/>
                  <a:gd name="T26" fmla="*/ 26 w 168"/>
                  <a:gd name="T27" fmla="*/ 51 h 73"/>
                  <a:gd name="T28" fmla="*/ 26 w 168"/>
                  <a:gd name="T29" fmla="*/ 51 h 73"/>
                  <a:gd name="T30" fmla="*/ 23 w 168"/>
                  <a:gd name="T31" fmla="*/ 46 h 73"/>
                  <a:gd name="T32" fmla="*/ 25 w 168"/>
                  <a:gd name="T33" fmla="*/ 39 h 73"/>
                  <a:gd name="T34" fmla="*/ 0 w 168"/>
                  <a:gd name="T35" fmla="*/ 53 h 73"/>
                  <a:gd name="T36" fmla="*/ 84 w 168"/>
                  <a:gd name="T37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8" h="73">
                    <a:moveTo>
                      <a:pt x="84" y="73"/>
                    </a:moveTo>
                    <a:cubicBezTo>
                      <a:pt x="130" y="73"/>
                      <a:pt x="168" y="64"/>
                      <a:pt x="168" y="53"/>
                    </a:cubicBezTo>
                    <a:cubicBezTo>
                      <a:pt x="168" y="48"/>
                      <a:pt x="158" y="43"/>
                      <a:pt x="143" y="39"/>
                    </a:cubicBezTo>
                    <a:cubicBezTo>
                      <a:pt x="144" y="46"/>
                      <a:pt x="144" y="46"/>
                      <a:pt x="144" y="46"/>
                    </a:cubicBezTo>
                    <a:cubicBezTo>
                      <a:pt x="145" y="48"/>
                      <a:pt x="144" y="51"/>
                      <a:pt x="142" y="51"/>
                    </a:cubicBezTo>
                    <a:cubicBezTo>
                      <a:pt x="140" y="52"/>
                      <a:pt x="137" y="50"/>
                      <a:pt x="137" y="48"/>
                    </a:cubicBezTo>
                    <a:cubicBezTo>
                      <a:pt x="128" y="13"/>
                      <a:pt x="128" y="13"/>
                      <a:pt x="128" y="13"/>
                    </a:cubicBezTo>
                    <a:cubicBezTo>
                      <a:pt x="127" y="5"/>
                      <a:pt x="119" y="0"/>
                      <a:pt x="112" y="2"/>
                    </a:cubicBezTo>
                    <a:cubicBezTo>
                      <a:pt x="96" y="6"/>
                      <a:pt x="96" y="6"/>
                      <a:pt x="96" y="6"/>
                    </a:cubicBezTo>
                    <a:cubicBezTo>
                      <a:pt x="88" y="8"/>
                      <a:pt x="79" y="8"/>
                      <a:pt x="71" y="6"/>
                    </a:cubicBezTo>
                    <a:cubicBezTo>
                      <a:pt x="56" y="2"/>
                      <a:pt x="56" y="2"/>
                      <a:pt x="56" y="2"/>
                    </a:cubicBezTo>
                    <a:cubicBezTo>
                      <a:pt x="48" y="1"/>
                      <a:pt x="41" y="5"/>
                      <a:pt x="39" y="13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30" y="50"/>
                      <a:pt x="28" y="52"/>
                      <a:pt x="26" y="51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4" y="51"/>
                      <a:pt x="22" y="48"/>
                      <a:pt x="23" y="46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9" y="43"/>
                      <a:pt x="0" y="48"/>
                      <a:pt x="0" y="53"/>
                    </a:cubicBezTo>
                    <a:cubicBezTo>
                      <a:pt x="0" y="64"/>
                      <a:pt x="38" y="73"/>
                      <a:pt x="84" y="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50" name="Freeform 92">
                <a:extLst>
                  <a:ext uri="{FF2B5EF4-FFF2-40B4-BE49-F238E27FC236}">
                    <a16:creationId xmlns:a16="http://schemas.microsoft.com/office/drawing/2014/main" id="{EE69E53D-1FF0-4FED-B782-390C5AAEE97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748" y="2248"/>
                <a:ext cx="554" cy="309"/>
              </a:xfrm>
              <a:custGeom>
                <a:avLst/>
                <a:gdLst>
                  <a:gd name="T0" fmla="*/ 247 w 264"/>
                  <a:gd name="T1" fmla="*/ 0 h 148"/>
                  <a:gd name="T2" fmla="*/ 17 w 264"/>
                  <a:gd name="T3" fmla="*/ 0 h 148"/>
                  <a:gd name="T4" fmla="*/ 1 w 264"/>
                  <a:gd name="T5" fmla="*/ 18 h 148"/>
                  <a:gd name="T6" fmla="*/ 16 w 264"/>
                  <a:gd name="T7" fmla="*/ 134 h 148"/>
                  <a:gd name="T8" fmla="*/ 32 w 264"/>
                  <a:gd name="T9" fmla="*/ 148 h 148"/>
                  <a:gd name="T10" fmla="*/ 232 w 264"/>
                  <a:gd name="T11" fmla="*/ 148 h 148"/>
                  <a:gd name="T12" fmla="*/ 248 w 264"/>
                  <a:gd name="T13" fmla="*/ 134 h 148"/>
                  <a:gd name="T14" fmla="*/ 263 w 264"/>
                  <a:gd name="T15" fmla="*/ 18 h 148"/>
                  <a:gd name="T16" fmla="*/ 247 w 264"/>
                  <a:gd name="T17" fmla="*/ 0 h 148"/>
                  <a:gd name="T18" fmla="*/ 132 w 264"/>
                  <a:gd name="T19" fmla="*/ 90 h 148"/>
                  <a:gd name="T20" fmla="*/ 115 w 264"/>
                  <a:gd name="T21" fmla="*/ 74 h 148"/>
                  <a:gd name="T22" fmla="*/ 132 w 264"/>
                  <a:gd name="T23" fmla="*/ 57 h 148"/>
                  <a:gd name="T24" fmla="*/ 149 w 264"/>
                  <a:gd name="T25" fmla="*/ 74 h 148"/>
                  <a:gd name="T26" fmla="*/ 132 w 264"/>
                  <a:gd name="T27" fmla="*/ 9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4" h="148">
                    <a:moveTo>
                      <a:pt x="24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8"/>
                      <a:pt x="1" y="18"/>
                    </a:cubicBezTo>
                    <a:cubicBezTo>
                      <a:pt x="16" y="134"/>
                      <a:pt x="16" y="134"/>
                      <a:pt x="16" y="134"/>
                    </a:cubicBezTo>
                    <a:cubicBezTo>
                      <a:pt x="18" y="142"/>
                      <a:pt x="24" y="148"/>
                      <a:pt x="32" y="148"/>
                    </a:cubicBezTo>
                    <a:cubicBezTo>
                      <a:pt x="232" y="148"/>
                      <a:pt x="232" y="148"/>
                      <a:pt x="232" y="148"/>
                    </a:cubicBezTo>
                    <a:cubicBezTo>
                      <a:pt x="240" y="148"/>
                      <a:pt x="246" y="142"/>
                      <a:pt x="248" y="134"/>
                    </a:cubicBezTo>
                    <a:cubicBezTo>
                      <a:pt x="263" y="18"/>
                      <a:pt x="263" y="18"/>
                      <a:pt x="263" y="18"/>
                    </a:cubicBezTo>
                    <a:cubicBezTo>
                      <a:pt x="264" y="8"/>
                      <a:pt x="257" y="0"/>
                      <a:pt x="247" y="0"/>
                    </a:cubicBezTo>
                    <a:close/>
                    <a:moveTo>
                      <a:pt x="132" y="90"/>
                    </a:moveTo>
                    <a:cubicBezTo>
                      <a:pt x="123" y="90"/>
                      <a:pt x="115" y="83"/>
                      <a:pt x="115" y="74"/>
                    </a:cubicBezTo>
                    <a:cubicBezTo>
                      <a:pt x="115" y="64"/>
                      <a:pt x="123" y="57"/>
                      <a:pt x="132" y="57"/>
                    </a:cubicBezTo>
                    <a:cubicBezTo>
                      <a:pt x="141" y="57"/>
                      <a:pt x="149" y="64"/>
                      <a:pt x="149" y="74"/>
                    </a:cubicBezTo>
                    <a:cubicBezTo>
                      <a:pt x="149" y="83"/>
                      <a:pt x="141" y="90"/>
                      <a:pt x="132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888604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954050-7FB3-4687-AAF9-0779C14F79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913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17" name="think-cell Slide" r:id="rId5" imgW="353" imgH="354" progId="TCLayout.ActiveDocument.1">
                  <p:embed/>
                </p:oleObj>
              </mc:Choice>
              <mc:Fallback>
                <p:oleObj name="think-cell Slide" r:id="rId5" imgW="353" imgH="35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E954050-7FB3-4687-AAF9-0779C14F79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F412CF7A-0BA6-B447-8E99-BF8B882474FC}"/>
              </a:ext>
            </a:extLst>
          </p:cNvPr>
          <p:cNvSpPr txBox="1"/>
          <p:nvPr/>
        </p:nvSpPr>
        <p:spPr>
          <a:xfrm>
            <a:off x="619160" y="338006"/>
            <a:ext cx="8315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cap="all" dirty="0">
                <a:solidFill>
                  <a:srgbClr val="092566"/>
                </a:solidFill>
                <a:latin typeface="Helvetica" pitchFamily="2" charset="0"/>
              </a:rPr>
              <a:t>The future of cyber risk</a:t>
            </a:r>
            <a:endParaRPr lang="es-ES_tradnl" sz="3600" b="1" cap="all" dirty="0">
              <a:solidFill>
                <a:srgbClr val="092566"/>
              </a:solidFill>
              <a:latin typeface="Helvetica" pitchFamily="2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D6844B0-82FC-4D2D-96A1-4BA9E9780A76}"/>
              </a:ext>
            </a:extLst>
          </p:cNvPr>
          <p:cNvSpPr txBox="1"/>
          <p:nvPr/>
        </p:nvSpPr>
        <p:spPr>
          <a:xfrm>
            <a:off x="1439192" y="1030594"/>
            <a:ext cx="412804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CA" sz="1400" b="1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igitized world</a:t>
            </a:r>
          </a:p>
          <a:p>
            <a:pPr algn="l"/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ur lives are becoming more digitized every da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39E3300-19CC-457A-AEAA-DB07B2C8C659}"/>
              </a:ext>
            </a:extLst>
          </p:cNvPr>
          <p:cNvSpPr txBox="1"/>
          <p:nvPr/>
        </p:nvSpPr>
        <p:spPr>
          <a:xfrm>
            <a:off x="1439192" y="2712329"/>
            <a:ext cx="4128040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CA" sz="1400" b="1" dirty="0">
                <a:solidFill>
                  <a:srgbClr val="41A44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echnology complexity</a:t>
            </a:r>
          </a:p>
          <a:p>
            <a:pPr algn="l"/>
            <a:r>
              <a:rPr lang="en-CA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echnology is getting more intelligent, sophisticated, and pervasiv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A4CCF89-6AE1-4ACE-A3D3-A939FE7B5B0E}"/>
              </a:ext>
            </a:extLst>
          </p:cNvPr>
          <p:cNvSpPr txBox="1"/>
          <p:nvPr/>
        </p:nvSpPr>
        <p:spPr>
          <a:xfrm>
            <a:off x="1439192" y="1878515"/>
            <a:ext cx="4128040" cy="43088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CA" sz="1400" b="1" dirty="0">
                <a:solidFill>
                  <a:srgbClr val="7030A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ace of innovation</a:t>
            </a:r>
          </a:p>
          <a:p>
            <a:pPr algn="l"/>
            <a:r>
              <a:rPr lang="en-US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mpanies are innovating more and more rapidly</a:t>
            </a:r>
            <a:endParaRPr lang="en-CA" sz="1400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5F7FDE2-E8DF-4E6A-9184-72AA520493E9}"/>
              </a:ext>
            </a:extLst>
          </p:cNvPr>
          <p:cNvCxnSpPr>
            <a:cxnSpLocks/>
            <a:stCxn id="43" idx="0"/>
            <a:endCxn id="47" idx="4"/>
          </p:cNvCxnSpPr>
          <p:nvPr/>
        </p:nvCxnSpPr>
        <p:spPr>
          <a:xfrm>
            <a:off x="973706" y="1030594"/>
            <a:ext cx="6114" cy="4026391"/>
          </a:xfrm>
          <a:prstGeom prst="line">
            <a:avLst/>
          </a:prstGeom>
          <a:ln w="28575">
            <a:solidFill>
              <a:schemeClr val="accent3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9D7347F-4A1A-40F6-B913-7A245CA01143}"/>
              </a:ext>
            </a:extLst>
          </p:cNvPr>
          <p:cNvSpPr txBox="1"/>
          <p:nvPr/>
        </p:nvSpPr>
        <p:spPr>
          <a:xfrm>
            <a:off x="1482170" y="3555944"/>
            <a:ext cx="4128040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r>
              <a:rPr lang="en-CA" sz="1400" b="1" dirty="0">
                <a:solidFill>
                  <a:srgbClr val="DD712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ata sharing and interchange</a:t>
            </a:r>
          </a:p>
          <a:p>
            <a:pPr algn="l"/>
            <a:r>
              <a:rPr lang="en-US" sz="1400" spc="-2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rowing interconnectedness combined with massive increase in velocity, volume, and variety of data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787D506-FA5E-4432-8E52-18A4AF81CD13}"/>
              </a:ext>
            </a:extLst>
          </p:cNvPr>
          <p:cNvSpPr txBox="1"/>
          <p:nvPr/>
        </p:nvSpPr>
        <p:spPr>
          <a:xfrm>
            <a:off x="1439192" y="4397729"/>
            <a:ext cx="4128040" cy="64633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r>
              <a:rPr lang="en-CA" sz="1400" b="1" dirty="0">
                <a:solidFill>
                  <a:srgbClr val="646EAC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ttack sophistication</a:t>
            </a:r>
          </a:p>
          <a:p>
            <a:r>
              <a:rPr lang="en-CA" sz="1400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Actors are increasingly organized, sophisticated, and devious</a:t>
            </a:r>
            <a:endParaRPr lang="en-US" sz="1400" spc="-20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53DF986-C2F0-4BBE-9CCB-02287793E04F}"/>
              </a:ext>
            </a:extLst>
          </p:cNvPr>
          <p:cNvGrpSpPr/>
          <p:nvPr/>
        </p:nvGrpSpPr>
        <p:grpSpPr>
          <a:xfrm>
            <a:off x="645075" y="1030594"/>
            <a:ext cx="663375" cy="4026391"/>
            <a:chOff x="744714" y="1525734"/>
            <a:chExt cx="572049" cy="3461575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7C8629BA-7822-43A8-B541-1D4B549D3B5E}"/>
                </a:ext>
              </a:extLst>
            </p:cNvPr>
            <p:cNvGrpSpPr/>
            <p:nvPr/>
          </p:nvGrpSpPr>
          <p:grpSpPr>
            <a:xfrm>
              <a:off x="744714" y="3696832"/>
              <a:ext cx="566777" cy="566777"/>
              <a:chOff x="863600" y="5608378"/>
              <a:chExt cx="685800" cy="685800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18309D7A-BCBC-493A-A062-A79D6DFF2C6D}"/>
                  </a:ext>
                </a:extLst>
              </p:cNvPr>
              <p:cNvSpPr/>
              <p:nvPr/>
            </p:nvSpPr>
            <p:spPr>
              <a:xfrm>
                <a:off x="863600" y="5608378"/>
                <a:ext cx="685800" cy="6858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DD712C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" name="Group 14">
                <a:extLst>
                  <a:ext uri="{FF2B5EF4-FFF2-40B4-BE49-F238E27FC236}">
                    <a16:creationId xmlns:a16="http://schemas.microsoft.com/office/drawing/2014/main" id="{8079BB5B-010E-4781-9285-2BAD28D41336}"/>
                  </a:ext>
                </a:extLst>
              </p:cNvPr>
              <p:cNvGrpSpPr/>
              <p:nvPr/>
            </p:nvGrpSpPr>
            <p:grpSpPr>
              <a:xfrm>
                <a:off x="983457" y="5728927"/>
                <a:ext cx="446087" cy="444703"/>
                <a:chOff x="-814387" y="5681663"/>
                <a:chExt cx="511174" cy="509588"/>
              </a:xfrm>
              <a:solidFill>
                <a:srgbClr val="DD712C"/>
              </a:solidFill>
            </p:grpSpPr>
            <p:sp>
              <p:nvSpPr>
                <p:cNvPr id="16" name="Rectangle 91">
                  <a:extLst>
                    <a:ext uri="{FF2B5EF4-FFF2-40B4-BE49-F238E27FC236}">
                      <a16:creationId xmlns:a16="http://schemas.microsoft.com/office/drawing/2014/main" id="{3B178A33-CF70-4BA5-A22A-F887F733355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649288" y="6062663"/>
                  <a:ext cx="12700" cy="11113"/>
                </a:xfrm>
                <a:prstGeom prst="rect">
                  <a:avLst/>
                </a:pr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17" name="Rectangle 92">
                  <a:extLst>
                    <a:ext uri="{FF2B5EF4-FFF2-40B4-BE49-F238E27FC236}">
                      <a16:creationId xmlns:a16="http://schemas.microsoft.com/office/drawing/2014/main" id="{2FE104EE-0BF5-4925-A985-B40F1EE30ED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676275" y="6062663"/>
                  <a:ext cx="11112" cy="11113"/>
                </a:xfrm>
                <a:prstGeom prst="rect">
                  <a:avLst/>
                </a:pr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18" name="Rectangle 93">
                  <a:extLst>
                    <a:ext uri="{FF2B5EF4-FFF2-40B4-BE49-F238E27FC236}">
                      <a16:creationId xmlns:a16="http://schemas.microsoft.com/office/drawing/2014/main" id="{C7334883-F5CD-4855-91FF-1730269FF18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623888" y="6062663"/>
                  <a:ext cx="12700" cy="11113"/>
                </a:xfrm>
                <a:prstGeom prst="rect">
                  <a:avLst/>
                </a:pr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19" name="Rectangle 94">
                  <a:extLst>
                    <a:ext uri="{FF2B5EF4-FFF2-40B4-BE49-F238E27FC236}">
                      <a16:creationId xmlns:a16="http://schemas.microsoft.com/office/drawing/2014/main" id="{58534259-53A1-4B3B-8930-1D06F879BD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781050" y="6062663"/>
                  <a:ext cx="63500" cy="11113"/>
                </a:xfrm>
                <a:prstGeom prst="rect">
                  <a:avLst/>
                </a:pr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20" name="Freeform 95">
                  <a:extLst>
                    <a:ext uri="{FF2B5EF4-FFF2-40B4-BE49-F238E27FC236}">
                      <a16:creationId xmlns:a16="http://schemas.microsoft.com/office/drawing/2014/main" id="{887FDBE3-EB01-453F-BB0C-08EF6F4452E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814387" y="5934076"/>
                  <a:ext cx="230187" cy="257175"/>
                </a:xfrm>
                <a:custGeom>
                  <a:avLst/>
                  <a:gdLst>
                    <a:gd name="T0" fmla="*/ 0 w 118"/>
                    <a:gd name="T1" fmla="*/ 37 h 131"/>
                    <a:gd name="T2" fmla="*/ 16 w 118"/>
                    <a:gd name="T3" fmla="*/ 37 h 131"/>
                    <a:gd name="T4" fmla="*/ 16 w 118"/>
                    <a:gd name="T5" fmla="*/ 50 h 131"/>
                    <a:gd name="T6" fmla="*/ 0 w 118"/>
                    <a:gd name="T7" fmla="*/ 50 h 131"/>
                    <a:gd name="T8" fmla="*/ 0 w 118"/>
                    <a:gd name="T9" fmla="*/ 87 h 131"/>
                    <a:gd name="T10" fmla="*/ 57 w 118"/>
                    <a:gd name="T11" fmla="*/ 87 h 131"/>
                    <a:gd name="T12" fmla="*/ 57 w 118"/>
                    <a:gd name="T13" fmla="*/ 105 h 131"/>
                    <a:gd name="T14" fmla="*/ 47 w 118"/>
                    <a:gd name="T15" fmla="*/ 115 h 131"/>
                    <a:gd name="T16" fmla="*/ 16 w 118"/>
                    <a:gd name="T17" fmla="*/ 115 h 131"/>
                    <a:gd name="T18" fmla="*/ 16 w 118"/>
                    <a:gd name="T19" fmla="*/ 121 h 131"/>
                    <a:gd name="T20" fmla="*/ 46 w 118"/>
                    <a:gd name="T21" fmla="*/ 121 h 131"/>
                    <a:gd name="T22" fmla="*/ 59 w 118"/>
                    <a:gd name="T23" fmla="*/ 131 h 131"/>
                    <a:gd name="T24" fmla="*/ 72 w 118"/>
                    <a:gd name="T25" fmla="*/ 121 h 131"/>
                    <a:gd name="T26" fmla="*/ 103 w 118"/>
                    <a:gd name="T27" fmla="*/ 121 h 131"/>
                    <a:gd name="T28" fmla="*/ 103 w 118"/>
                    <a:gd name="T29" fmla="*/ 115 h 131"/>
                    <a:gd name="T30" fmla="*/ 72 w 118"/>
                    <a:gd name="T31" fmla="*/ 115 h 131"/>
                    <a:gd name="T32" fmla="*/ 62 w 118"/>
                    <a:gd name="T33" fmla="*/ 105 h 131"/>
                    <a:gd name="T34" fmla="*/ 62 w 118"/>
                    <a:gd name="T35" fmla="*/ 87 h 131"/>
                    <a:gd name="T36" fmla="*/ 118 w 118"/>
                    <a:gd name="T37" fmla="*/ 87 h 131"/>
                    <a:gd name="T38" fmla="*/ 118 w 118"/>
                    <a:gd name="T39" fmla="*/ 50 h 131"/>
                    <a:gd name="T40" fmla="*/ 102 w 118"/>
                    <a:gd name="T41" fmla="*/ 50 h 131"/>
                    <a:gd name="T42" fmla="*/ 102 w 118"/>
                    <a:gd name="T43" fmla="*/ 37 h 131"/>
                    <a:gd name="T44" fmla="*/ 118 w 118"/>
                    <a:gd name="T45" fmla="*/ 37 h 131"/>
                    <a:gd name="T46" fmla="*/ 118 w 118"/>
                    <a:gd name="T47" fmla="*/ 0 h 131"/>
                    <a:gd name="T48" fmla="*/ 0 w 118"/>
                    <a:gd name="T49" fmla="*/ 0 h 131"/>
                    <a:gd name="T50" fmla="*/ 0 w 118"/>
                    <a:gd name="T51" fmla="*/ 37 h 131"/>
                    <a:gd name="T52" fmla="*/ 67 w 118"/>
                    <a:gd name="T53" fmla="*/ 117 h 131"/>
                    <a:gd name="T54" fmla="*/ 59 w 118"/>
                    <a:gd name="T55" fmla="*/ 125 h 131"/>
                    <a:gd name="T56" fmla="*/ 52 w 118"/>
                    <a:gd name="T57" fmla="*/ 117 h 131"/>
                    <a:gd name="T58" fmla="*/ 59 w 118"/>
                    <a:gd name="T59" fmla="*/ 110 h 131"/>
                    <a:gd name="T60" fmla="*/ 67 w 118"/>
                    <a:gd name="T61" fmla="*/ 117 h 131"/>
                    <a:gd name="T62" fmla="*/ 113 w 118"/>
                    <a:gd name="T63" fmla="*/ 80 h 131"/>
                    <a:gd name="T64" fmla="*/ 6 w 118"/>
                    <a:gd name="T65" fmla="*/ 80 h 131"/>
                    <a:gd name="T66" fmla="*/ 6 w 118"/>
                    <a:gd name="T67" fmla="*/ 55 h 131"/>
                    <a:gd name="T68" fmla="*/ 113 w 118"/>
                    <a:gd name="T69" fmla="*/ 55 h 131"/>
                    <a:gd name="T70" fmla="*/ 113 w 118"/>
                    <a:gd name="T71" fmla="*/ 80 h 131"/>
                    <a:gd name="T72" fmla="*/ 97 w 118"/>
                    <a:gd name="T73" fmla="*/ 49 h 131"/>
                    <a:gd name="T74" fmla="*/ 21 w 118"/>
                    <a:gd name="T75" fmla="*/ 49 h 131"/>
                    <a:gd name="T76" fmla="*/ 21 w 118"/>
                    <a:gd name="T77" fmla="*/ 37 h 131"/>
                    <a:gd name="T78" fmla="*/ 97 w 118"/>
                    <a:gd name="T79" fmla="*/ 37 h 131"/>
                    <a:gd name="T80" fmla="*/ 97 w 118"/>
                    <a:gd name="T81" fmla="*/ 49 h 131"/>
                    <a:gd name="T82" fmla="*/ 6 w 118"/>
                    <a:gd name="T83" fmla="*/ 6 h 131"/>
                    <a:gd name="T84" fmla="*/ 113 w 118"/>
                    <a:gd name="T85" fmla="*/ 6 h 131"/>
                    <a:gd name="T86" fmla="*/ 113 w 118"/>
                    <a:gd name="T87" fmla="*/ 31 h 131"/>
                    <a:gd name="T88" fmla="*/ 6 w 118"/>
                    <a:gd name="T89" fmla="*/ 31 h 131"/>
                    <a:gd name="T90" fmla="*/ 6 w 118"/>
                    <a:gd name="T91" fmla="*/ 6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18" h="131">
                      <a:moveTo>
                        <a:pt x="0" y="37"/>
                      </a:moveTo>
                      <a:cubicBezTo>
                        <a:pt x="16" y="37"/>
                        <a:pt x="16" y="37"/>
                        <a:pt x="16" y="37"/>
                      </a:cubicBezTo>
                      <a:cubicBezTo>
                        <a:pt x="16" y="50"/>
                        <a:pt x="16" y="50"/>
                        <a:pt x="16" y="50"/>
                      </a:cubicBezTo>
                      <a:cubicBezTo>
                        <a:pt x="0" y="50"/>
                        <a:pt x="0" y="50"/>
                        <a:pt x="0" y="50"/>
                      </a:cubicBez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57" y="87"/>
                        <a:pt x="57" y="87"/>
                        <a:pt x="57" y="87"/>
                      </a:cubicBezTo>
                      <a:cubicBezTo>
                        <a:pt x="57" y="105"/>
                        <a:pt x="57" y="105"/>
                        <a:pt x="57" y="105"/>
                      </a:cubicBezTo>
                      <a:cubicBezTo>
                        <a:pt x="52" y="106"/>
                        <a:pt x="48" y="110"/>
                        <a:pt x="47" y="115"/>
                      </a:cubicBezTo>
                      <a:cubicBezTo>
                        <a:pt x="16" y="115"/>
                        <a:pt x="16" y="115"/>
                        <a:pt x="16" y="115"/>
                      </a:cubicBezTo>
                      <a:cubicBezTo>
                        <a:pt x="16" y="121"/>
                        <a:pt x="16" y="121"/>
                        <a:pt x="16" y="121"/>
                      </a:cubicBezTo>
                      <a:cubicBezTo>
                        <a:pt x="46" y="121"/>
                        <a:pt x="46" y="121"/>
                        <a:pt x="46" y="121"/>
                      </a:cubicBezTo>
                      <a:cubicBezTo>
                        <a:pt x="47" y="127"/>
                        <a:pt x="53" y="131"/>
                        <a:pt x="59" y="131"/>
                      </a:cubicBezTo>
                      <a:cubicBezTo>
                        <a:pt x="65" y="131"/>
                        <a:pt x="71" y="127"/>
                        <a:pt x="72" y="121"/>
                      </a:cubicBezTo>
                      <a:cubicBezTo>
                        <a:pt x="103" y="121"/>
                        <a:pt x="103" y="121"/>
                        <a:pt x="103" y="121"/>
                      </a:cubicBezTo>
                      <a:cubicBezTo>
                        <a:pt x="103" y="115"/>
                        <a:pt x="103" y="115"/>
                        <a:pt x="103" y="115"/>
                      </a:cubicBezTo>
                      <a:cubicBezTo>
                        <a:pt x="72" y="115"/>
                        <a:pt x="72" y="115"/>
                        <a:pt x="72" y="115"/>
                      </a:cubicBezTo>
                      <a:cubicBezTo>
                        <a:pt x="71" y="110"/>
                        <a:pt x="67" y="106"/>
                        <a:pt x="62" y="105"/>
                      </a:cubicBezTo>
                      <a:cubicBezTo>
                        <a:pt x="62" y="87"/>
                        <a:pt x="62" y="87"/>
                        <a:pt x="62" y="87"/>
                      </a:cubicBezTo>
                      <a:cubicBezTo>
                        <a:pt x="118" y="87"/>
                        <a:pt x="118" y="87"/>
                        <a:pt x="118" y="87"/>
                      </a:cubicBezTo>
                      <a:cubicBezTo>
                        <a:pt x="118" y="50"/>
                        <a:pt x="118" y="50"/>
                        <a:pt x="118" y="50"/>
                      </a:cubicBezTo>
                      <a:cubicBezTo>
                        <a:pt x="102" y="50"/>
                        <a:pt x="102" y="50"/>
                        <a:pt x="102" y="50"/>
                      </a:cubicBezTo>
                      <a:cubicBezTo>
                        <a:pt x="102" y="37"/>
                        <a:pt x="102" y="37"/>
                        <a:pt x="102" y="37"/>
                      </a:cubicBezTo>
                      <a:cubicBezTo>
                        <a:pt x="118" y="37"/>
                        <a:pt x="118" y="37"/>
                        <a:pt x="118" y="37"/>
                      </a:cubicBezTo>
                      <a:cubicBezTo>
                        <a:pt x="118" y="0"/>
                        <a:pt x="118" y="0"/>
                        <a:pt x="118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lnTo>
                        <a:pt x="0" y="37"/>
                      </a:lnTo>
                      <a:close/>
                      <a:moveTo>
                        <a:pt x="67" y="117"/>
                      </a:moveTo>
                      <a:cubicBezTo>
                        <a:pt x="67" y="121"/>
                        <a:pt x="63" y="125"/>
                        <a:pt x="59" y="125"/>
                      </a:cubicBezTo>
                      <a:cubicBezTo>
                        <a:pt x="55" y="125"/>
                        <a:pt x="52" y="121"/>
                        <a:pt x="52" y="117"/>
                      </a:cubicBezTo>
                      <a:cubicBezTo>
                        <a:pt x="52" y="113"/>
                        <a:pt x="55" y="110"/>
                        <a:pt x="59" y="110"/>
                      </a:cubicBezTo>
                      <a:cubicBezTo>
                        <a:pt x="63" y="110"/>
                        <a:pt x="67" y="113"/>
                        <a:pt x="67" y="117"/>
                      </a:cubicBezTo>
                      <a:close/>
                      <a:moveTo>
                        <a:pt x="113" y="80"/>
                      </a:moveTo>
                      <a:cubicBezTo>
                        <a:pt x="6" y="80"/>
                        <a:pt x="6" y="80"/>
                        <a:pt x="6" y="80"/>
                      </a:cubicBezTo>
                      <a:cubicBezTo>
                        <a:pt x="6" y="55"/>
                        <a:pt x="6" y="55"/>
                        <a:pt x="6" y="55"/>
                      </a:cubicBezTo>
                      <a:cubicBezTo>
                        <a:pt x="113" y="55"/>
                        <a:pt x="113" y="55"/>
                        <a:pt x="113" y="55"/>
                      </a:cubicBezTo>
                      <a:lnTo>
                        <a:pt x="113" y="80"/>
                      </a:lnTo>
                      <a:close/>
                      <a:moveTo>
                        <a:pt x="97" y="49"/>
                      </a:move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97" y="37"/>
                        <a:pt x="97" y="37"/>
                        <a:pt x="97" y="37"/>
                      </a:cubicBezTo>
                      <a:lnTo>
                        <a:pt x="97" y="49"/>
                      </a:lnTo>
                      <a:close/>
                      <a:moveTo>
                        <a:pt x="6" y="6"/>
                      </a:moveTo>
                      <a:cubicBezTo>
                        <a:pt x="113" y="6"/>
                        <a:pt x="113" y="6"/>
                        <a:pt x="113" y="6"/>
                      </a:cubicBezTo>
                      <a:cubicBezTo>
                        <a:pt x="113" y="31"/>
                        <a:pt x="113" y="31"/>
                        <a:pt x="113" y="31"/>
                      </a:cubicBezTo>
                      <a:cubicBezTo>
                        <a:pt x="6" y="31"/>
                        <a:pt x="6" y="31"/>
                        <a:pt x="6" y="31"/>
                      </a:cubicBezTo>
                      <a:lnTo>
                        <a:pt x="6" y="6"/>
                      </a:lnTo>
                      <a:close/>
                    </a:path>
                  </a:pathLst>
                </a:cu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21" name="Rectangle 96">
                  <a:extLst>
                    <a:ext uri="{FF2B5EF4-FFF2-40B4-BE49-F238E27FC236}">
                      <a16:creationId xmlns:a16="http://schemas.microsoft.com/office/drawing/2014/main" id="{FC77636E-A3AE-4F82-A226-A8DB6124A5B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676275" y="5964238"/>
                  <a:ext cx="11112" cy="11113"/>
                </a:xfrm>
                <a:prstGeom prst="rect">
                  <a:avLst/>
                </a:pr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22" name="Rectangle 97">
                  <a:extLst>
                    <a:ext uri="{FF2B5EF4-FFF2-40B4-BE49-F238E27FC236}">
                      <a16:creationId xmlns:a16="http://schemas.microsoft.com/office/drawing/2014/main" id="{21099AA4-5968-4C0E-B630-BEFF4365C5D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649288" y="5964238"/>
                  <a:ext cx="12700" cy="11113"/>
                </a:xfrm>
                <a:prstGeom prst="rect">
                  <a:avLst/>
                </a:pr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23" name="Rectangle 98">
                  <a:extLst>
                    <a:ext uri="{FF2B5EF4-FFF2-40B4-BE49-F238E27FC236}">
                      <a16:creationId xmlns:a16="http://schemas.microsoft.com/office/drawing/2014/main" id="{AB78A06A-656A-4100-B1DD-7606901C875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623888" y="5964238"/>
                  <a:ext cx="12700" cy="11113"/>
                </a:xfrm>
                <a:prstGeom prst="rect">
                  <a:avLst/>
                </a:pr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24" name="Rectangle 99">
                  <a:extLst>
                    <a:ext uri="{FF2B5EF4-FFF2-40B4-BE49-F238E27FC236}">
                      <a16:creationId xmlns:a16="http://schemas.microsoft.com/office/drawing/2014/main" id="{D313F982-A97B-4813-AAB8-DFD859365C4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781050" y="5964238"/>
                  <a:ext cx="63500" cy="11113"/>
                </a:xfrm>
                <a:prstGeom prst="rect">
                  <a:avLst/>
                </a:pr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25" name="Rectangle 100">
                  <a:extLst>
                    <a:ext uri="{FF2B5EF4-FFF2-40B4-BE49-F238E27FC236}">
                      <a16:creationId xmlns:a16="http://schemas.microsoft.com/office/drawing/2014/main" id="{574A6A10-C457-4A95-9288-DCB880C2947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344488" y="6062663"/>
                  <a:ext cx="12700" cy="11113"/>
                </a:xfrm>
                <a:prstGeom prst="rect">
                  <a:avLst/>
                </a:pr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26" name="Rectangle 101">
                  <a:extLst>
                    <a:ext uri="{FF2B5EF4-FFF2-40B4-BE49-F238E27FC236}">
                      <a16:creationId xmlns:a16="http://schemas.microsoft.com/office/drawing/2014/main" id="{E8B1F1A6-DC94-4D99-9600-BCACE54D68A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369888" y="6062663"/>
                  <a:ext cx="12700" cy="11113"/>
                </a:xfrm>
                <a:prstGeom prst="rect">
                  <a:avLst/>
                </a:pr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27" name="Rectangle 102">
                  <a:extLst>
                    <a:ext uri="{FF2B5EF4-FFF2-40B4-BE49-F238E27FC236}">
                      <a16:creationId xmlns:a16="http://schemas.microsoft.com/office/drawing/2014/main" id="{787CC5E7-09D2-4425-B76C-2464690FC59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395288" y="6062663"/>
                  <a:ext cx="12700" cy="11113"/>
                </a:xfrm>
                <a:prstGeom prst="rect">
                  <a:avLst/>
                </a:pr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28" name="Rectangle 103">
                  <a:extLst>
                    <a:ext uri="{FF2B5EF4-FFF2-40B4-BE49-F238E27FC236}">
                      <a16:creationId xmlns:a16="http://schemas.microsoft.com/office/drawing/2014/main" id="{1050AC34-78F5-4241-AEE0-9231A832ABF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500063" y="6062663"/>
                  <a:ext cx="61912" cy="11113"/>
                </a:xfrm>
                <a:prstGeom prst="rect">
                  <a:avLst/>
                </a:pr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29" name="Freeform 104">
                  <a:extLst>
                    <a:ext uri="{FF2B5EF4-FFF2-40B4-BE49-F238E27FC236}">
                      <a16:creationId xmlns:a16="http://schemas.microsoft.com/office/drawing/2014/main" id="{0CC2310F-1AE0-4D32-A17D-5E58A2F84A5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534988" y="5934076"/>
                  <a:ext cx="231775" cy="257175"/>
                </a:xfrm>
                <a:custGeom>
                  <a:avLst/>
                  <a:gdLst>
                    <a:gd name="T0" fmla="*/ 119 w 119"/>
                    <a:gd name="T1" fmla="*/ 37 h 131"/>
                    <a:gd name="T2" fmla="*/ 119 w 119"/>
                    <a:gd name="T3" fmla="*/ 0 h 131"/>
                    <a:gd name="T4" fmla="*/ 0 w 119"/>
                    <a:gd name="T5" fmla="*/ 0 h 131"/>
                    <a:gd name="T6" fmla="*/ 0 w 119"/>
                    <a:gd name="T7" fmla="*/ 37 h 131"/>
                    <a:gd name="T8" fmla="*/ 16 w 119"/>
                    <a:gd name="T9" fmla="*/ 37 h 131"/>
                    <a:gd name="T10" fmla="*/ 16 w 119"/>
                    <a:gd name="T11" fmla="*/ 50 h 131"/>
                    <a:gd name="T12" fmla="*/ 0 w 119"/>
                    <a:gd name="T13" fmla="*/ 50 h 131"/>
                    <a:gd name="T14" fmla="*/ 0 w 119"/>
                    <a:gd name="T15" fmla="*/ 87 h 131"/>
                    <a:gd name="T16" fmla="*/ 57 w 119"/>
                    <a:gd name="T17" fmla="*/ 87 h 131"/>
                    <a:gd name="T18" fmla="*/ 57 w 119"/>
                    <a:gd name="T19" fmla="*/ 105 h 131"/>
                    <a:gd name="T20" fmla="*/ 47 w 119"/>
                    <a:gd name="T21" fmla="*/ 115 h 131"/>
                    <a:gd name="T22" fmla="*/ 17 w 119"/>
                    <a:gd name="T23" fmla="*/ 115 h 131"/>
                    <a:gd name="T24" fmla="*/ 17 w 119"/>
                    <a:gd name="T25" fmla="*/ 121 h 131"/>
                    <a:gd name="T26" fmla="*/ 47 w 119"/>
                    <a:gd name="T27" fmla="*/ 121 h 131"/>
                    <a:gd name="T28" fmla="*/ 60 w 119"/>
                    <a:gd name="T29" fmla="*/ 131 h 131"/>
                    <a:gd name="T30" fmla="*/ 72 w 119"/>
                    <a:gd name="T31" fmla="*/ 121 h 131"/>
                    <a:gd name="T32" fmla="*/ 104 w 119"/>
                    <a:gd name="T33" fmla="*/ 121 h 131"/>
                    <a:gd name="T34" fmla="*/ 104 w 119"/>
                    <a:gd name="T35" fmla="*/ 115 h 131"/>
                    <a:gd name="T36" fmla="*/ 72 w 119"/>
                    <a:gd name="T37" fmla="*/ 115 h 131"/>
                    <a:gd name="T38" fmla="*/ 62 w 119"/>
                    <a:gd name="T39" fmla="*/ 105 h 131"/>
                    <a:gd name="T40" fmla="*/ 62 w 119"/>
                    <a:gd name="T41" fmla="*/ 87 h 131"/>
                    <a:gd name="T42" fmla="*/ 118 w 119"/>
                    <a:gd name="T43" fmla="*/ 87 h 131"/>
                    <a:gd name="T44" fmla="*/ 118 w 119"/>
                    <a:gd name="T45" fmla="*/ 50 h 131"/>
                    <a:gd name="T46" fmla="*/ 103 w 119"/>
                    <a:gd name="T47" fmla="*/ 50 h 131"/>
                    <a:gd name="T48" fmla="*/ 103 w 119"/>
                    <a:gd name="T49" fmla="*/ 37 h 131"/>
                    <a:gd name="T50" fmla="*/ 119 w 119"/>
                    <a:gd name="T51" fmla="*/ 37 h 131"/>
                    <a:gd name="T52" fmla="*/ 67 w 119"/>
                    <a:gd name="T53" fmla="*/ 117 h 131"/>
                    <a:gd name="T54" fmla="*/ 60 w 119"/>
                    <a:gd name="T55" fmla="*/ 125 h 131"/>
                    <a:gd name="T56" fmla="*/ 53 w 119"/>
                    <a:gd name="T57" fmla="*/ 117 h 131"/>
                    <a:gd name="T58" fmla="*/ 60 w 119"/>
                    <a:gd name="T59" fmla="*/ 110 h 131"/>
                    <a:gd name="T60" fmla="*/ 67 w 119"/>
                    <a:gd name="T61" fmla="*/ 117 h 131"/>
                    <a:gd name="T62" fmla="*/ 6 w 119"/>
                    <a:gd name="T63" fmla="*/ 6 h 131"/>
                    <a:gd name="T64" fmla="*/ 113 w 119"/>
                    <a:gd name="T65" fmla="*/ 6 h 131"/>
                    <a:gd name="T66" fmla="*/ 113 w 119"/>
                    <a:gd name="T67" fmla="*/ 31 h 131"/>
                    <a:gd name="T68" fmla="*/ 6 w 119"/>
                    <a:gd name="T69" fmla="*/ 31 h 131"/>
                    <a:gd name="T70" fmla="*/ 6 w 119"/>
                    <a:gd name="T71" fmla="*/ 6 h 131"/>
                    <a:gd name="T72" fmla="*/ 113 w 119"/>
                    <a:gd name="T73" fmla="*/ 80 h 131"/>
                    <a:gd name="T74" fmla="*/ 6 w 119"/>
                    <a:gd name="T75" fmla="*/ 80 h 131"/>
                    <a:gd name="T76" fmla="*/ 6 w 119"/>
                    <a:gd name="T77" fmla="*/ 55 h 131"/>
                    <a:gd name="T78" fmla="*/ 113 w 119"/>
                    <a:gd name="T79" fmla="*/ 55 h 131"/>
                    <a:gd name="T80" fmla="*/ 113 w 119"/>
                    <a:gd name="T81" fmla="*/ 80 h 131"/>
                    <a:gd name="T82" fmla="*/ 97 w 119"/>
                    <a:gd name="T83" fmla="*/ 49 h 131"/>
                    <a:gd name="T84" fmla="*/ 22 w 119"/>
                    <a:gd name="T85" fmla="*/ 49 h 131"/>
                    <a:gd name="T86" fmla="*/ 22 w 119"/>
                    <a:gd name="T87" fmla="*/ 37 h 131"/>
                    <a:gd name="T88" fmla="*/ 97 w 119"/>
                    <a:gd name="T89" fmla="*/ 37 h 131"/>
                    <a:gd name="T90" fmla="*/ 97 w 119"/>
                    <a:gd name="T91" fmla="*/ 49 h 1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19" h="131">
                      <a:moveTo>
                        <a:pt x="119" y="37"/>
                      </a:move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37"/>
                        <a:pt x="0" y="37"/>
                        <a:pt x="0" y="37"/>
                      </a:cubicBezTo>
                      <a:cubicBezTo>
                        <a:pt x="16" y="37"/>
                        <a:pt x="16" y="37"/>
                        <a:pt x="16" y="37"/>
                      </a:cubicBezTo>
                      <a:cubicBezTo>
                        <a:pt x="16" y="50"/>
                        <a:pt x="16" y="50"/>
                        <a:pt x="16" y="50"/>
                      </a:cubicBezTo>
                      <a:cubicBezTo>
                        <a:pt x="0" y="50"/>
                        <a:pt x="0" y="50"/>
                        <a:pt x="0" y="50"/>
                      </a:cubicBez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57" y="87"/>
                        <a:pt x="57" y="87"/>
                        <a:pt x="57" y="87"/>
                      </a:cubicBezTo>
                      <a:cubicBezTo>
                        <a:pt x="57" y="105"/>
                        <a:pt x="57" y="105"/>
                        <a:pt x="57" y="105"/>
                      </a:cubicBezTo>
                      <a:cubicBezTo>
                        <a:pt x="52" y="106"/>
                        <a:pt x="48" y="110"/>
                        <a:pt x="47" y="115"/>
                      </a:cubicBezTo>
                      <a:cubicBezTo>
                        <a:pt x="17" y="115"/>
                        <a:pt x="17" y="115"/>
                        <a:pt x="17" y="115"/>
                      </a:cubicBezTo>
                      <a:cubicBezTo>
                        <a:pt x="17" y="121"/>
                        <a:pt x="17" y="121"/>
                        <a:pt x="17" y="121"/>
                      </a:cubicBezTo>
                      <a:cubicBezTo>
                        <a:pt x="47" y="121"/>
                        <a:pt x="47" y="121"/>
                        <a:pt x="47" y="121"/>
                      </a:cubicBezTo>
                      <a:cubicBezTo>
                        <a:pt x="48" y="127"/>
                        <a:pt x="54" y="131"/>
                        <a:pt x="60" y="131"/>
                      </a:cubicBezTo>
                      <a:cubicBezTo>
                        <a:pt x="66" y="131"/>
                        <a:pt x="71" y="127"/>
                        <a:pt x="72" y="121"/>
                      </a:cubicBezTo>
                      <a:cubicBezTo>
                        <a:pt x="104" y="121"/>
                        <a:pt x="104" y="121"/>
                        <a:pt x="104" y="121"/>
                      </a:cubicBezTo>
                      <a:cubicBezTo>
                        <a:pt x="104" y="115"/>
                        <a:pt x="104" y="115"/>
                        <a:pt x="104" y="115"/>
                      </a:cubicBezTo>
                      <a:cubicBezTo>
                        <a:pt x="72" y="115"/>
                        <a:pt x="72" y="115"/>
                        <a:pt x="72" y="115"/>
                      </a:cubicBezTo>
                      <a:cubicBezTo>
                        <a:pt x="71" y="110"/>
                        <a:pt x="68" y="106"/>
                        <a:pt x="62" y="105"/>
                      </a:cubicBezTo>
                      <a:cubicBezTo>
                        <a:pt x="62" y="87"/>
                        <a:pt x="62" y="87"/>
                        <a:pt x="62" y="87"/>
                      </a:cubicBezTo>
                      <a:cubicBezTo>
                        <a:pt x="118" y="87"/>
                        <a:pt x="118" y="87"/>
                        <a:pt x="118" y="87"/>
                      </a:cubicBezTo>
                      <a:cubicBezTo>
                        <a:pt x="118" y="50"/>
                        <a:pt x="118" y="50"/>
                        <a:pt x="118" y="50"/>
                      </a:cubicBezTo>
                      <a:cubicBezTo>
                        <a:pt x="103" y="50"/>
                        <a:pt x="103" y="50"/>
                        <a:pt x="103" y="50"/>
                      </a:cubicBezTo>
                      <a:cubicBezTo>
                        <a:pt x="103" y="37"/>
                        <a:pt x="103" y="37"/>
                        <a:pt x="103" y="37"/>
                      </a:cubicBezTo>
                      <a:lnTo>
                        <a:pt x="119" y="37"/>
                      </a:lnTo>
                      <a:close/>
                      <a:moveTo>
                        <a:pt x="67" y="117"/>
                      </a:moveTo>
                      <a:cubicBezTo>
                        <a:pt x="67" y="121"/>
                        <a:pt x="64" y="125"/>
                        <a:pt x="60" y="125"/>
                      </a:cubicBezTo>
                      <a:cubicBezTo>
                        <a:pt x="56" y="125"/>
                        <a:pt x="53" y="121"/>
                        <a:pt x="53" y="117"/>
                      </a:cubicBezTo>
                      <a:cubicBezTo>
                        <a:pt x="53" y="113"/>
                        <a:pt x="56" y="110"/>
                        <a:pt x="60" y="110"/>
                      </a:cubicBezTo>
                      <a:cubicBezTo>
                        <a:pt x="64" y="110"/>
                        <a:pt x="67" y="113"/>
                        <a:pt x="67" y="117"/>
                      </a:cubicBezTo>
                      <a:close/>
                      <a:moveTo>
                        <a:pt x="6" y="6"/>
                      </a:moveTo>
                      <a:cubicBezTo>
                        <a:pt x="113" y="6"/>
                        <a:pt x="113" y="6"/>
                        <a:pt x="113" y="6"/>
                      </a:cubicBezTo>
                      <a:cubicBezTo>
                        <a:pt x="113" y="31"/>
                        <a:pt x="113" y="31"/>
                        <a:pt x="113" y="31"/>
                      </a:cubicBezTo>
                      <a:cubicBezTo>
                        <a:pt x="6" y="31"/>
                        <a:pt x="6" y="31"/>
                        <a:pt x="6" y="31"/>
                      </a:cubicBezTo>
                      <a:lnTo>
                        <a:pt x="6" y="6"/>
                      </a:lnTo>
                      <a:close/>
                      <a:moveTo>
                        <a:pt x="113" y="80"/>
                      </a:moveTo>
                      <a:cubicBezTo>
                        <a:pt x="6" y="80"/>
                        <a:pt x="6" y="80"/>
                        <a:pt x="6" y="80"/>
                      </a:cubicBezTo>
                      <a:cubicBezTo>
                        <a:pt x="6" y="55"/>
                        <a:pt x="6" y="55"/>
                        <a:pt x="6" y="55"/>
                      </a:cubicBezTo>
                      <a:cubicBezTo>
                        <a:pt x="113" y="55"/>
                        <a:pt x="113" y="55"/>
                        <a:pt x="113" y="55"/>
                      </a:cubicBezTo>
                      <a:cubicBezTo>
                        <a:pt x="113" y="80"/>
                        <a:pt x="113" y="80"/>
                        <a:pt x="113" y="80"/>
                      </a:cubicBezTo>
                      <a:close/>
                      <a:moveTo>
                        <a:pt x="97" y="49"/>
                      </a:moveTo>
                      <a:cubicBezTo>
                        <a:pt x="22" y="49"/>
                        <a:pt x="22" y="49"/>
                        <a:pt x="22" y="49"/>
                      </a:cubicBezTo>
                      <a:cubicBezTo>
                        <a:pt x="22" y="37"/>
                        <a:pt x="22" y="37"/>
                        <a:pt x="22" y="37"/>
                      </a:cubicBezTo>
                      <a:cubicBezTo>
                        <a:pt x="97" y="37"/>
                        <a:pt x="97" y="37"/>
                        <a:pt x="97" y="37"/>
                      </a:cubicBezTo>
                      <a:lnTo>
                        <a:pt x="97" y="49"/>
                      </a:lnTo>
                      <a:close/>
                    </a:path>
                  </a:pathLst>
                </a:cu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30" name="Rectangle 105">
                  <a:extLst>
                    <a:ext uri="{FF2B5EF4-FFF2-40B4-BE49-F238E27FC236}">
                      <a16:creationId xmlns:a16="http://schemas.microsoft.com/office/drawing/2014/main" id="{54605C47-6FB7-4986-8F5E-1E1F88B8A18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344488" y="5964238"/>
                  <a:ext cx="12700" cy="11113"/>
                </a:xfrm>
                <a:prstGeom prst="rect">
                  <a:avLst/>
                </a:pr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31" name="Rectangle 106">
                  <a:extLst>
                    <a:ext uri="{FF2B5EF4-FFF2-40B4-BE49-F238E27FC236}">
                      <a16:creationId xmlns:a16="http://schemas.microsoft.com/office/drawing/2014/main" id="{F2D18F66-F241-4F8A-A4F6-D5C8C3ED3B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369888" y="5964238"/>
                  <a:ext cx="12700" cy="11113"/>
                </a:xfrm>
                <a:prstGeom prst="rect">
                  <a:avLst/>
                </a:pr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32" name="Rectangle 107">
                  <a:extLst>
                    <a:ext uri="{FF2B5EF4-FFF2-40B4-BE49-F238E27FC236}">
                      <a16:creationId xmlns:a16="http://schemas.microsoft.com/office/drawing/2014/main" id="{CE287D78-2AA0-4827-A6C2-9DA5DFE8AE6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395288" y="5964238"/>
                  <a:ext cx="12700" cy="11113"/>
                </a:xfrm>
                <a:prstGeom prst="rect">
                  <a:avLst/>
                </a:pr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33" name="Rectangle 108">
                  <a:extLst>
                    <a:ext uri="{FF2B5EF4-FFF2-40B4-BE49-F238E27FC236}">
                      <a16:creationId xmlns:a16="http://schemas.microsoft.com/office/drawing/2014/main" id="{4CF70C46-BC7A-4F3E-B40B-ADFDEFDFD6D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-500063" y="5964238"/>
                  <a:ext cx="61912" cy="11113"/>
                </a:xfrm>
                <a:prstGeom prst="rect">
                  <a:avLst/>
                </a:prstGeom>
                <a:grpFill/>
                <a:ln w="317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34" name="Freeform 109">
                  <a:extLst>
                    <a:ext uri="{FF2B5EF4-FFF2-40B4-BE49-F238E27FC236}">
                      <a16:creationId xmlns:a16="http://schemas.microsoft.com/office/drawing/2014/main" id="{0B484EC7-7953-47CB-99A9-41DA61BB00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35013" y="5748338"/>
                  <a:ext cx="287337" cy="127000"/>
                </a:xfrm>
                <a:custGeom>
                  <a:avLst/>
                  <a:gdLst>
                    <a:gd name="T0" fmla="*/ 141 w 147"/>
                    <a:gd name="T1" fmla="*/ 63 h 65"/>
                    <a:gd name="T2" fmla="*/ 147 w 147"/>
                    <a:gd name="T3" fmla="*/ 62 h 65"/>
                    <a:gd name="T4" fmla="*/ 88 w 147"/>
                    <a:gd name="T5" fmla="*/ 1 h 65"/>
                    <a:gd name="T6" fmla="*/ 40 w 147"/>
                    <a:gd name="T7" fmla="*/ 16 h 65"/>
                    <a:gd name="T8" fmla="*/ 17 w 147"/>
                    <a:gd name="T9" fmla="*/ 53 h 65"/>
                    <a:gd name="T10" fmla="*/ 5 w 147"/>
                    <a:gd name="T11" fmla="*/ 36 h 65"/>
                    <a:gd name="T12" fmla="*/ 0 w 147"/>
                    <a:gd name="T13" fmla="*/ 39 h 65"/>
                    <a:gd name="T14" fmla="*/ 18 w 147"/>
                    <a:gd name="T15" fmla="*/ 65 h 65"/>
                    <a:gd name="T16" fmla="*/ 44 w 147"/>
                    <a:gd name="T17" fmla="*/ 47 h 65"/>
                    <a:gd name="T18" fmla="*/ 41 w 147"/>
                    <a:gd name="T19" fmla="*/ 42 h 65"/>
                    <a:gd name="T20" fmla="*/ 23 w 147"/>
                    <a:gd name="T21" fmla="*/ 55 h 65"/>
                    <a:gd name="T22" fmla="*/ 44 w 147"/>
                    <a:gd name="T23" fmla="*/ 21 h 65"/>
                    <a:gd name="T24" fmla="*/ 87 w 147"/>
                    <a:gd name="T25" fmla="*/ 8 h 65"/>
                    <a:gd name="T26" fmla="*/ 141 w 147"/>
                    <a:gd name="T27" fmla="*/ 6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47" h="65">
                      <a:moveTo>
                        <a:pt x="141" y="63"/>
                      </a:moveTo>
                      <a:cubicBezTo>
                        <a:pt x="147" y="62"/>
                        <a:pt x="147" y="62"/>
                        <a:pt x="147" y="62"/>
                      </a:cubicBezTo>
                      <a:cubicBezTo>
                        <a:pt x="145" y="30"/>
                        <a:pt x="120" y="4"/>
                        <a:pt x="88" y="1"/>
                      </a:cubicBezTo>
                      <a:cubicBezTo>
                        <a:pt x="70" y="0"/>
                        <a:pt x="53" y="5"/>
                        <a:pt x="40" y="16"/>
                      </a:cubicBezTo>
                      <a:cubicBezTo>
                        <a:pt x="28" y="26"/>
                        <a:pt x="20" y="38"/>
                        <a:pt x="17" y="53"/>
                      </a:cubicBezTo>
                      <a:cubicBezTo>
                        <a:pt x="5" y="36"/>
                        <a:pt x="5" y="36"/>
                        <a:pt x="5" y="36"/>
                      </a:cubicBezTo>
                      <a:cubicBezTo>
                        <a:pt x="0" y="39"/>
                        <a:pt x="0" y="39"/>
                        <a:pt x="0" y="39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44" y="47"/>
                        <a:pt x="44" y="47"/>
                        <a:pt x="44" y="47"/>
                      </a:cubicBezTo>
                      <a:cubicBezTo>
                        <a:pt x="41" y="42"/>
                        <a:pt x="41" y="42"/>
                        <a:pt x="41" y="42"/>
                      </a:cubicBezTo>
                      <a:cubicBezTo>
                        <a:pt x="23" y="55"/>
                        <a:pt x="23" y="55"/>
                        <a:pt x="23" y="55"/>
                      </a:cubicBezTo>
                      <a:cubicBezTo>
                        <a:pt x="26" y="42"/>
                        <a:pt x="33" y="30"/>
                        <a:pt x="44" y="21"/>
                      </a:cubicBezTo>
                      <a:cubicBezTo>
                        <a:pt x="56" y="11"/>
                        <a:pt x="71" y="6"/>
                        <a:pt x="87" y="8"/>
                      </a:cubicBezTo>
                      <a:cubicBezTo>
                        <a:pt x="116" y="10"/>
                        <a:pt x="139" y="34"/>
                        <a:pt x="141" y="63"/>
                      </a:cubicBezTo>
                      <a:close/>
                    </a:path>
                  </a:pathLst>
                </a:cu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  <p:sp>
              <p:nvSpPr>
                <p:cNvPr id="35" name="Freeform 110">
                  <a:extLst>
                    <a:ext uri="{FF2B5EF4-FFF2-40B4-BE49-F238E27FC236}">
                      <a16:creationId xmlns:a16="http://schemas.microsoft.com/office/drawing/2014/main" id="{8E5C486D-B0F2-423A-9847-063F2B6B2D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-784225" y="5681663"/>
                  <a:ext cx="449262" cy="207963"/>
                </a:xfrm>
                <a:custGeom>
                  <a:avLst/>
                  <a:gdLst>
                    <a:gd name="T0" fmla="*/ 97 w 230"/>
                    <a:gd name="T1" fmla="*/ 11 h 106"/>
                    <a:gd name="T2" fmla="*/ 206 w 230"/>
                    <a:gd name="T3" fmla="*/ 95 h 106"/>
                    <a:gd name="T4" fmla="*/ 189 w 230"/>
                    <a:gd name="T5" fmla="*/ 82 h 106"/>
                    <a:gd name="T6" fmla="*/ 185 w 230"/>
                    <a:gd name="T7" fmla="*/ 86 h 106"/>
                    <a:gd name="T8" fmla="*/ 211 w 230"/>
                    <a:gd name="T9" fmla="*/ 106 h 106"/>
                    <a:gd name="T10" fmla="*/ 230 w 230"/>
                    <a:gd name="T11" fmla="*/ 80 h 106"/>
                    <a:gd name="T12" fmla="*/ 225 w 230"/>
                    <a:gd name="T13" fmla="*/ 77 h 106"/>
                    <a:gd name="T14" fmla="*/ 212 w 230"/>
                    <a:gd name="T15" fmla="*/ 94 h 106"/>
                    <a:gd name="T16" fmla="*/ 97 w 230"/>
                    <a:gd name="T17" fmla="*/ 5 h 106"/>
                    <a:gd name="T18" fmla="*/ 0 w 230"/>
                    <a:gd name="T19" fmla="*/ 105 h 106"/>
                    <a:gd name="T20" fmla="*/ 6 w 230"/>
                    <a:gd name="T21" fmla="*/ 105 h 106"/>
                    <a:gd name="T22" fmla="*/ 97 w 230"/>
                    <a:gd name="T23" fmla="*/ 11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30" h="106">
                      <a:moveTo>
                        <a:pt x="97" y="11"/>
                      </a:moveTo>
                      <a:cubicBezTo>
                        <a:pt x="150" y="6"/>
                        <a:pt x="197" y="43"/>
                        <a:pt x="206" y="95"/>
                      </a:cubicBezTo>
                      <a:cubicBezTo>
                        <a:pt x="189" y="82"/>
                        <a:pt x="189" y="82"/>
                        <a:pt x="189" y="82"/>
                      </a:cubicBezTo>
                      <a:cubicBezTo>
                        <a:pt x="185" y="86"/>
                        <a:pt x="185" y="86"/>
                        <a:pt x="185" y="86"/>
                      </a:cubicBezTo>
                      <a:cubicBezTo>
                        <a:pt x="211" y="106"/>
                        <a:pt x="211" y="106"/>
                        <a:pt x="211" y="106"/>
                      </a:cubicBezTo>
                      <a:cubicBezTo>
                        <a:pt x="230" y="80"/>
                        <a:pt x="230" y="80"/>
                        <a:pt x="230" y="80"/>
                      </a:cubicBezTo>
                      <a:cubicBezTo>
                        <a:pt x="225" y="77"/>
                        <a:pt x="225" y="77"/>
                        <a:pt x="225" y="77"/>
                      </a:cubicBezTo>
                      <a:cubicBezTo>
                        <a:pt x="212" y="94"/>
                        <a:pt x="212" y="94"/>
                        <a:pt x="212" y="94"/>
                      </a:cubicBezTo>
                      <a:cubicBezTo>
                        <a:pt x="203" y="39"/>
                        <a:pt x="153" y="0"/>
                        <a:pt x="97" y="5"/>
                      </a:cubicBezTo>
                      <a:cubicBezTo>
                        <a:pt x="45" y="10"/>
                        <a:pt x="3" y="52"/>
                        <a:pt x="0" y="105"/>
                      </a:cubicBezTo>
                      <a:cubicBezTo>
                        <a:pt x="6" y="105"/>
                        <a:pt x="6" y="105"/>
                        <a:pt x="6" y="105"/>
                      </a:cubicBezTo>
                      <a:cubicBezTo>
                        <a:pt x="9" y="56"/>
                        <a:pt x="48" y="15"/>
                        <a:pt x="97" y="11"/>
                      </a:cubicBezTo>
                      <a:close/>
                    </a:path>
                  </a:pathLst>
                </a:custGeom>
                <a:grpFill/>
                <a:ln w="317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700" dirty="0"/>
                </a:p>
              </p:txBody>
            </p:sp>
          </p:grp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68EEC875-1355-426A-BF47-C0340CF95D8D}"/>
                </a:ext>
              </a:extLst>
            </p:cNvPr>
            <p:cNvGrpSpPr/>
            <p:nvPr/>
          </p:nvGrpSpPr>
          <p:grpSpPr>
            <a:xfrm>
              <a:off x="744714" y="2973132"/>
              <a:ext cx="566777" cy="566777"/>
              <a:chOff x="863600" y="4402268"/>
              <a:chExt cx="685800" cy="685800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8AE18987-1E94-4822-A927-D6FDB15DC272}"/>
                  </a:ext>
                </a:extLst>
              </p:cNvPr>
              <p:cNvSpPr/>
              <p:nvPr/>
            </p:nvSpPr>
            <p:spPr>
              <a:xfrm>
                <a:off x="863600" y="4402268"/>
                <a:ext cx="685800" cy="6858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41A44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Freeform 114">
                <a:extLst>
                  <a:ext uri="{FF2B5EF4-FFF2-40B4-BE49-F238E27FC236}">
                    <a16:creationId xmlns:a16="http://schemas.microsoft.com/office/drawing/2014/main" id="{70105BDC-FBBF-439E-8DA7-D7CD3E85C7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2574" y="4521242"/>
                <a:ext cx="447853" cy="447852"/>
              </a:xfrm>
              <a:custGeom>
                <a:avLst/>
                <a:gdLst>
                  <a:gd name="T0" fmla="*/ 261 w 396"/>
                  <a:gd name="T1" fmla="*/ 132 h 395"/>
                  <a:gd name="T2" fmla="*/ 338 w 396"/>
                  <a:gd name="T3" fmla="*/ 109 h 395"/>
                  <a:gd name="T4" fmla="*/ 305 w 396"/>
                  <a:gd name="T5" fmla="*/ 42 h 395"/>
                  <a:gd name="T6" fmla="*/ 305 w 396"/>
                  <a:gd name="T7" fmla="*/ 30 h 395"/>
                  <a:gd name="T8" fmla="*/ 216 w 396"/>
                  <a:gd name="T9" fmla="*/ 100 h 395"/>
                  <a:gd name="T10" fmla="*/ 193 w 396"/>
                  <a:gd name="T11" fmla="*/ 58 h 395"/>
                  <a:gd name="T12" fmla="*/ 184 w 396"/>
                  <a:gd name="T13" fmla="*/ 100 h 395"/>
                  <a:gd name="T14" fmla="*/ 161 w 396"/>
                  <a:gd name="T15" fmla="*/ 26 h 395"/>
                  <a:gd name="T16" fmla="*/ 152 w 396"/>
                  <a:gd name="T17" fmla="*/ 69 h 395"/>
                  <a:gd name="T18" fmla="*/ 140 w 396"/>
                  <a:gd name="T19" fmla="*/ 69 h 395"/>
                  <a:gd name="T20" fmla="*/ 61 w 396"/>
                  <a:gd name="T21" fmla="*/ 50 h 395"/>
                  <a:gd name="T22" fmla="*/ 38 w 396"/>
                  <a:gd name="T23" fmla="*/ 132 h 395"/>
                  <a:gd name="T24" fmla="*/ 69 w 396"/>
                  <a:gd name="T25" fmla="*/ 162 h 395"/>
                  <a:gd name="T26" fmla="*/ 69 w 396"/>
                  <a:gd name="T27" fmla="*/ 174 h 395"/>
                  <a:gd name="T28" fmla="*/ 14 w 396"/>
                  <a:gd name="T29" fmla="*/ 183 h 395"/>
                  <a:gd name="T30" fmla="*/ 88 w 396"/>
                  <a:gd name="T31" fmla="*/ 206 h 395"/>
                  <a:gd name="T32" fmla="*/ 35 w 396"/>
                  <a:gd name="T33" fmla="*/ 238 h 395"/>
                  <a:gd name="T34" fmla="*/ 134 w 396"/>
                  <a:gd name="T35" fmla="*/ 249 h 395"/>
                  <a:gd name="T36" fmla="*/ 116 w 396"/>
                  <a:gd name="T37" fmla="*/ 332 h 395"/>
                  <a:gd name="T38" fmla="*/ 163 w 396"/>
                  <a:gd name="T39" fmla="*/ 324 h 395"/>
                  <a:gd name="T40" fmla="*/ 200 w 396"/>
                  <a:gd name="T41" fmla="*/ 250 h 395"/>
                  <a:gd name="T42" fmla="*/ 181 w 396"/>
                  <a:gd name="T43" fmla="*/ 371 h 395"/>
                  <a:gd name="T44" fmla="*/ 230 w 396"/>
                  <a:gd name="T45" fmla="*/ 372 h 395"/>
                  <a:gd name="T46" fmla="*/ 212 w 396"/>
                  <a:gd name="T47" fmla="*/ 250 h 395"/>
                  <a:gd name="T48" fmla="*/ 238 w 396"/>
                  <a:gd name="T49" fmla="*/ 295 h 395"/>
                  <a:gd name="T50" fmla="*/ 267 w 396"/>
                  <a:gd name="T51" fmla="*/ 324 h 395"/>
                  <a:gd name="T52" fmla="*/ 269 w 396"/>
                  <a:gd name="T53" fmla="*/ 306 h 395"/>
                  <a:gd name="T54" fmla="*/ 378 w 396"/>
                  <a:gd name="T55" fmla="*/ 243 h 395"/>
                  <a:gd name="T56" fmla="*/ 307 w 396"/>
                  <a:gd name="T57" fmla="*/ 220 h 395"/>
                  <a:gd name="T58" fmla="*/ 361 w 396"/>
                  <a:gd name="T59" fmla="*/ 184 h 395"/>
                  <a:gd name="T60" fmla="*/ 285 w 396"/>
                  <a:gd name="T61" fmla="*/ 164 h 395"/>
                  <a:gd name="T62" fmla="*/ 376 w 396"/>
                  <a:gd name="T63" fmla="*/ 140 h 395"/>
                  <a:gd name="T64" fmla="*/ 316 w 396"/>
                  <a:gd name="T65" fmla="*/ 36 h 395"/>
                  <a:gd name="T66" fmla="*/ 210 w 396"/>
                  <a:gd name="T67" fmla="*/ 58 h 395"/>
                  <a:gd name="T68" fmla="*/ 184 w 396"/>
                  <a:gd name="T69" fmla="*/ 20 h 395"/>
                  <a:gd name="T70" fmla="*/ 44 w 396"/>
                  <a:gd name="T71" fmla="*/ 50 h 395"/>
                  <a:gd name="T72" fmla="*/ 38 w 396"/>
                  <a:gd name="T73" fmla="*/ 56 h 395"/>
                  <a:gd name="T74" fmla="*/ 52 w 396"/>
                  <a:gd name="T75" fmla="*/ 162 h 395"/>
                  <a:gd name="T76" fmla="*/ 14 w 396"/>
                  <a:gd name="T77" fmla="*/ 200 h 395"/>
                  <a:gd name="T78" fmla="*/ 372 w 396"/>
                  <a:gd name="T79" fmla="*/ 220 h 395"/>
                  <a:gd name="T80" fmla="*/ 372 w 396"/>
                  <a:gd name="T81" fmla="*/ 220 h 395"/>
                  <a:gd name="T82" fmla="*/ 338 w 396"/>
                  <a:gd name="T83" fmla="*/ 190 h 395"/>
                  <a:gd name="T84" fmla="*/ 344 w 396"/>
                  <a:gd name="T85" fmla="*/ 132 h 395"/>
                  <a:gd name="T86" fmla="*/ 152 w 396"/>
                  <a:gd name="T87" fmla="*/ 52 h 395"/>
                  <a:gd name="T88" fmla="*/ 52 w 396"/>
                  <a:gd name="T89" fmla="*/ 238 h 395"/>
                  <a:gd name="T90" fmla="*/ 58 w 396"/>
                  <a:gd name="T91" fmla="*/ 232 h 395"/>
                  <a:gd name="T92" fmla="*/ 142 w 396"/>
                  <a:gd name="T93" fmla="*/ 238 h 395"/>
                  <a:gd name="T94" fmla="*/ 202 w 396"/>
                  <a:gd name="T95" fmla="*/ 110 h 395"/>
                  <a:gd name="T96" fmla="*/ 376 w 396"/>
                  <a:gd name="T97" fmla="*/ 164 h 395"/>
                  <a:gd name="T98" fmla="*/ 376 w 396"/>
                  <a:gd name="T99" fmla="*/ 164 h 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96" h="395">
                    <a:moveTo>
                      <a:pt x="376" y="140"/>
                    </a:moveTo>
                    <a:cubicBezTo>
                      <a:pt x="368" y="140"/>
                      <a:pt x="362" y="145"/>
                      <a:pt x="359" y="152"/>
                    </a:cubicBezTo>
                    <a:cubicBezTo>
                      <a:pt x="269" y="152"/>
                      <a:pt x="269" y="152"/>
                      <a:pt x="269" y="152"/>
                    </a:cubicBezTo>
                    <a:cubicBezTo>
                      <a:pt x="267" y="145"/>
                      <a:pt x="265" y="138"/>
                      <a:pt x="261" y="132"/>
                    </a:cubicBezTo>
                    <a:cubicBezTo>
                      <a:pt x="327" y="132"/>
                      <a:pt x="327" y="132"/>
                      <a:pt x="327" y="132"/>
                    </a:cubicBezTo>
                    <a:cubicBezTo>
                      <a:pt x="331" y="141"/>
                      <a:pt x="341" y="146"/>
                      <a:pt x="350" y="143"/>
                    </a:cubicBezTo>
                    <a:cubicBezTo>
                      <a:pt x="360" y="140"/>
                      <a:pt x="364" y="129"/>
                      <a:pt x="361" y="120"/>
                    </a:cubicBezTo>
                    <a:cubicBezTo>
                      <a:pt x="358" y="111"/>
                      <a:pt x="348" y="106"/>
                      <a:pt x="338" y="109"/>
                    </a:cubicBezTo>
                    <a:cubicBezTo>
                      <a:pt x="333" y="111"/>
                      <a:pt x="329" y="115"/>
                      <a:pt x="327" y="120"/>
                    </a:cubicBezTo>
                    <a:cubicBezTo>
                      <a:pt x="252" y="120"/>
                      <a:pt x="252" y="120"/>
                      <a:pt x="252" y="120"/>
                    </a:cubicBezTo>
                    <a:cubicBezTo>
                      <a:pt x="252" y="42"/>
                      <a:pt x="252" y="42"/>
                      <a:pt x="252" y="42"/>
                    </a:cubicBezTo>
                    <a:cubicBezTo>
                      <a:pt x="305" y="42"/>
                      <a:pt x="305" y="42"/>
                      <a:pt x="305" y="42"/>
                    </a:cubicBezTo>
                    <a:cubicBezTo>
                      <a:pt x="309" y="51"/>
                      <a:pt x="319" y="56"/>
                      <a:pt x="328" y="53"/>
                    </a:cubicBezTo>
                    <a:cubicBezTo>
                      <a:pt x="338" y="50"/>
                      <a:pt x="342" y="39"/>
                      <a:pt x="339" y="30"/>
                    </a:cubicBezTo>
                    <a:cubicBezTo>
                      <a:pt x="336" y="21"/>
                      <a:pt x="326" y="16"/>
                      <a:pt x="316" y="19"/>
                    </a:cubicBezTo>
                    <a:cubicBezTo>
                      <a:pt x="311" y="21"/>
                      <a:pt x="307" y="25"/>
                      <a:pt x="305" y="30"/>
                    </a:cubicBezTo>
                    <a:cubicBezTo>
                      <a:pt x="246" y="30"/>
                      <a:pt x="246" y="30"/>
                      <a:pt x="246" y="30"/>
                    </a:cubicBezTo>
                    <a:cubicBezTo>
                      <a:pt x="243" y="30"/>
                      <a:pt x="240" y="33"/>
                      <a:pt x="240" y="36"/>
                    </a:cubicBezTo>
                    <a:cubicBezTo>
                      <a:pt x="240" y="110"/>
                      <a:pt x="240" y="110"/>
                      <a:pt x="240" y="110"/>
                    </a:cubicBezTo>
                    <a:cubicBezTo>
                      <a:pt x="233" y="105"/>
                      <a:pt x="225" y="102"/>
                      <a:pt x="216" y="100"/>
                    </a:cubicBezTo>
                    <a:cubicBezTo>
                      <a:pt x="216" y="69"/>
                      <a:pt x="216" y="69"/>
                      <a:pt x="216" y="69"/>
                    </a:cubicBezTo>
                    <a:cubicBezTo>
                      <a:pt x="225" y="65"/>
                      <a:pt x="230" y="55"/>
                      <a:pt x="227" y="46"/>
                    </a:cubicBezTo>
                    <a:cubicBezTo>
                      <a:pt x="224" y="36"/>
                      <a:pt x="213" y="32"/>
                      <a:pt x="204" y="35"/>
                    </a:cubicBezTo>
                    <a:cubicBezTo>
                      <a:pt x="195" y="38"/>
                      <a:pt x="190" y="48"/>
                      <a:pt x="193" y="58"/>
                    </a:cubicBezTo>
                    <a:cubicBezTo>
                      <a:pt x="195" y="63"/>
                      <a:pt x="199" y="67"/>
                      <a:pt x="204" y="69"/>
                    </a:cubicBezTo>
                    <a:cubicBezTo>
                      <a:pt x="204" y="98"/>
                      <a:pt x="204" y="98"/>
                      <a:pt x="204" y="98"/>
                    </a:cubicBezTo>
                    <a:cubicBezTo>
                      <a:pt x="202" y="98"/>
                      <a:pt x="202" y="98"/>
                      <a:pt x="202" y="98"/>
                    </a:cubicBezTo>
                    <a:cubicBezTo>
                      <a:pt x="196" y="98"/>
                      <a:pt x="190" y="99"/>
                      <a:pt x="184" y="100"/>
                    </a:cubicBezTo>
                    <a:cubicBezTo>
                      <a:pt x="184" y="37"/>
                      <a:pt x="184" y="37"/>
                      <a:pt x="184" y="37"/>
                    </a:cubicBezTo>
                    <a:cubicBezTo>
                      <a:pt x="193" y="33"/>
                      <a:pt x="198" y="23"/>
                      <a:pt x="195" y="14"/>
                    </a:cubicBezTo>
                    <a:cubicBezTo>
                      <a:pt x="192" y="4"/>
                      <a:pt x="181" y="0"/>
                      <a:pt x="172" y="3"/>
                    </a:cubicBezTo>
                    <a:cubicBezTo>
                      <a:pt x="163" y="6"/>
                      <a:pt x="158" y="16"/>
                      <a:pt x="161" y="26"/>
                    </a:cubicBezTo>
                    <a:cubicBezTo>
                      <a:pt x="163" y="31"/>
                      <a:pt x="167" y="35"/>
                      <a:pt x="172" y="37"/>
                    </a:cubicBezTo>
                    <a:cubicBezTo>
                      <a:pt x="172" y="105"/>
                      <a:pt x="172" y="105"/>
                      <a:pt x="172" y="105"/>
                    </a:cubicBezTo>
                    <a:cubicBezTo>
                      <a:pt x="165" y="108"/>
                      <a:pt x="158" y="113"/>
                      <a:pt x="152" y="119"/>
                    </a:cubicBezTo>
                    <a:cubicBezTo>
                      <a:pt x="152" y="69"/>
                      <a:pt x="152" y="69"/>
                      <a:pt x="152" y="69"/>
                    </a:cubicBezTo>
                    <a:cubicBezTo>
                      <a:pt x="161" y="65"/>
                      <a:pt x="166" y="55"/>
                      <a:pt x="163" y="46"/>
                    </a:cubicBezTo>
                    <a:cubicBezTo>
                      <a:pt x="160" y="36"/>
                      <a:pt x="149" y="32"/>
                      <a:pt x="140" y="35"/>
                    </a:cubicBezTo>
                    <a:cubicBezTo>
                      <a:pt x="131" y="38"/>
                      <a:pt x="126" y="48"/>
                      <a:pt x="129" y="58"/>
                    </a:cubicBezTo>
                    <a:cubicBezTo>
                      <a:pt x="131" y="63"/>
                      <a:pt x="135" y="67"/>
                      <a:pt x="140" y="69"/>
                    </a:cubicBezTo>
                    <a:cubicBezTo>
                      <a:pt x="140" y="126"/>
                      <a:pt x="140" y="126"/>
                      <a:pt x="140" y="126"/>
                    </a:cubicBezTo>
                    <a:cubicBezTo>
                      <a:pt x="50" y="126"/>
                      <a:pt x="50" y="126"/>
                      <a:pt x="50" y="126"/>
                    </a:cubicBezTo>
                    <a:cubicBezTo>
                      <a:pt x="50" y="73"/>
                      <a:pt x="50" y="73"/>
                      <a:pt x="50" y="73"/>
                    </a:cubicBezTo>
                    <a:cubicBezTo>
                      <a:pt x="59" y="69"/>
                      <a:pt x="64" y="59"/>
                      <a:pt x="61" y="50"/>
                    </a:cubicBezTo>
                    <a:cubicBezTo>
                      <a:pt x="58" y="40"/>
                      <a:pt x="47" y="36"/>
                      <a:pt x="38" y="39"/>
                    </a:cubicBezTo>
                    <a:cubicBezTo>
                      <a:pt x="29" y="42"/>
                      <a:pt x="24" y="52"/>
                      <a:pt x="27" y="62"/>
                    </a:cubicBezTo>
                    <a:cubicBezTo>
                      <a:pt x="29" y="67"/>
                      <a:pt x="33" y="71"/>
                      <a:pt x="38" y="73"/>
                    </a:cubicBezTo>
                    <a:cubicBezTo>
                      <a:pt x="38" y="132"/>
                      <a:pt x="38" y="132"/>
                      <a:pt x="38" y="132"/>
                    </a:cubicBezTo>
                    <a:cubicBezTo>
                      <a:pt x="38" y="135"/>
                      <a:pt x="41" y="138"/>
                      <a:pt x="44" y="138"/>
                    </a:cubicBezTo>
                    <a:cubicBezTo>
                      <a:pt x="136" y="138"/>
                      <a:pt x="136" y="138"/>
                      <a:pt x="136" y="138"/>
                    </a:cubicBezTo>
                    <a:cubicBezTo>
                      <a:pt x="120" y="140"/>
                      <a:pt x="106" y="149"/>
                      <a:pt x="96" y="162"/>
                    </a:cubicBezTo>
                    <a:cubicBezTo>
                      <a:pt x="69" y="162"/>
                      <a:pt x="69" y="162"/>
                      <a:pt x="69" y="162"/>
                    </a:cubicBezTo>
                    <a:cubicBezTo>
                      <a:pt x="65" y="153"/>
                      <a:pt x="55" y="148"/>
                      <a:pt x="46" y="151"/>
                    </a:cubicBezTo>
                    <a:cubicBezTo>
                      <a:pt x="36" y="154"/>
                      <a:pt x="32" y="165"/>
                      <a:pt x="35" y="174"/>
                    </a:cubicBezTo>
                    <a:cubicBezTo>
                      <a:pt x="38" y="183"/>
                      <a:pt x="48" y="188"/>
                      <a:pt x="58" y="185"/>
                    </a:cubicBezTo>
                    <a:cubicBezTo>
                      <a:pt x="63" y="183"/>
                      <a:pt x="67" y="179"/>
                      <a:pt x="69" y="174"/>
                    </a:cubicBezTo>
                    <a:cubicBezTo>
                      <a:pt x="90" y="174"/>
                      <a:pt x="90" y="174"/>
                      <a:pt x="90" y="174"/>
                    </a:cubicBezTo>
                    <a:cubicBezTo>
                      <a:pt x="88" y="180"/>
                      <a:pt x="86" y="187"/>
                      <a:pt x="86" y="194"/>
                    </a:cubicBezTo>
                    <a:cubicBezTo>
                      <a:pt x="37" y="194"/>
                      <a:pt x="37" y="194"/>
                      <a:pt x="37" y="194"/>
                    </a:cubicBezTo>
                    <a:cubicBezTo>
                      <a:pt x="33" y="184"/>
                      <a:pt x="23" y="179"/>
                      <a:pt x="14" y="183"/>
                    </a:cubicBezTo>
                    <a:cubicBezTo>
                      <a:pt x="4" y="186"/>
                      <a:pt x="0" y="196"/>
                      <a:pt x="3" y="206"/>
                    </a:cubicBezTo>
                    <a:cubicBezTo>
                      <a:pt x="6" y="215"/>
                      <a:pt x="16" y="220"/>
                      <a:pt x="26" y="217"/>
                    </a:cubicBezTo>
                    <a:cubicBezTo>
                      <a:pt x="31" y="215"/>
                      <a:pt x="35" y="211"/>
                      <a:pt x="37" y="206"/>
                    </a:cubicBezTo>
                    <a:cubicBezTo>
                      <a:pt x="88" y="206"/>
                      <a:pt x="88" y="206"/>
                      <a:pt x="88" y="206"/>
                    </a:cubicBezTo>
                    <a:cubicBezTo>
                      <a:pt x="89" y="213"/>
                      <a:pt x="92" y="220"/>
                      <a:pt x="96" y="226"/>
                    </a:cubicBezTo>
                    <a:cubicBezTo>
                      <a:pt x="69" y="226"/>
                      <a:pt x="69" y="226"/>
                      <a:pt x="69" y="226"/>
                    </a:cubicBezTo>
                    <a:cubicBezTo>
                      <a:pt x="65" y="216"/>
                      <a:pt x="55" y="211"/>
                      <a:pt x="46" y="215"/>
                    </a:cubicBezTo>
                    <a:cubicBezTo>
                      <a:pt x="36" y="218"/>
                      <a:pt x="32" y="228"/>
                      <a:pt x="35" y="238"/>
                    </a:cubicBezTo>
                    <a:cubicBezTo>
                      <a:pt x="38" y="247"/>
                      <a:pt x="48" y="252"/>
                      <a:pt x="58" y="249"/>
                    </a:cubicBezTo>
                    <a:cubicBezTo>
                      <a:pt x="63" y="247"/>
                      <a:pt x="67" y="243"/>
                      <a:pt x="69" y="238"/>
                    </a:cubicBezTo>
                    <a:cubicBezTo>
                      <a:pt x="108" y="238"/>
                      <a:pt x="108" y="238"/>
                      <a:pt x="108" y="238"/>
                    </a:cubicBezTo>
                    <a:cubicBezTo>
                      <a:pt x="116" y="244"/>
                      <a:pt x="124" y="248"/>
                      <a:pt x="134" y="249"/>
                    </a:cubicBezTo>
                    <a:cubicBezTo>
                      <a:pt x="134" y="334"/>
                      <a:pt x="134" y="334"/>
                      <a:pt x="134" y="334"/>
                    </a:cubicBezTo>
                    <a:cubicBezTo>
                      <a:pt x="124" y="324"/>
                      <a:pt x="124" y="324"/>
                      <a:pt x="124" y="324"/>
                    </a:cubicBezTo>
                    <a:cubicBezTo>
                      <a:pt x="122" y="322"/>
                      <a:pt x="118" y="323"/>
                      <a:pt x="116" y="325"/>
                    </a:cubicBezTo>
                    <a:cubicBezTo>
                      <a:pt x="114" y="327"/>
                      <a:pt x="114" y="330"/>
                      <a:pt x="116" y="332"/>
                    </a:cubicBezTo>
                    <a:cubicBezTo>
                      <a:pt x="136" y="352"/>
                      <a:pt x="136" y="352"/>
                      <a:pt x="136" y="352"/>
                    </a:cubicBezTo>
                    <a:cubicBezTo>
                      <a:pt x="138" y="355"/>
                      <a:pt x="142" y="355"/>
                      <a:pt x="144" y="352"/>
                    </a:cubicBezTo>
                    <a:cubicBezTo>
                      <a:pt x="164" y="332"/>
                      <a:pt x="164" y="332"/>
                      <a:pt x="164" y="332"/>
                    </a:cubicBezTo>
                    <a:cubicBezTo>
                      <a:pt x="166" y="330"/>
                      <a:pt x="166" y="326"/>
                      <a:pt x="163" y="324"/>
                    </a:cubicBezTo>
                    <a:cubicBezTo>
                      <a:pt x="161" y="322"/>
                      <a:pt x="158" y="322"/>
                      <a:pt x="156" y="324"/>
                    </a:cubicBezTo>
                    <a:cubicBezTo>
                      <a:pt x="146" y="334"/>
                      <a:pt x="146" y="334"/>
                      <a:pt x="146" y="334"/>
                    </a:cubicBezTo>
                    <a:cubicBezTo>
                      <a:pt x="146" y="250"/>
                      <a:pt x="146" y="250"/>
                      <a:pt x="146" y="250"/>
                    </a:cubicBezTo>
                    <a:cubicBezTo>
                      <a:pt x="200" y="250"/>
                      <a:pt x="200" y="250"/>
                      <a:pt x="200" y="250"/>
                    </a:cubicBezTo>
                    <a:cubicBezTo>
                      <a:pt x="200" y="374"/>
                      <a:pt x="200" y="374"/>
                      <a:pt x="200" y="374"/>
                    </a:cubicBezTo>
                    <a:cubicBezTo>
                      <a:pt x="190" y="364"/>
                      <a:pt x="190" y="364"/>
                      <a:pt x="190" y="364"/>
                    </a:cubicBezTo>
                    <a:cubicBezTo>
                      <a:pt x="188" y="361"/>
                      <a:pt x="185" y="361"/>
                      <a:pt x="182" y="363"/>
                    </a:cubicBezTo>
                    <a:cubicBezTo>
                      <a:pt x="179" y="365"/>
                      <a:pt x="179" y="369"/>
                      <a:pt x="181" y="371"/>
                    </a:cubicBezTo>
                    <a:cubicBezTo>
                      <a:pt x="181" y="372"/>
                      <a:pt x="182" y="372"/>
                      <a:pt x="182" y="372"/>
                    </a:cubicBezTo>
                    <a:cubicBezTo>
                      <a:pt x="202" y="392"/>
                      <a:pt x="202" y="392"/>
                      <a:pt x="202" y="392"/>
                    </a:cubicBezTo>
                    <a:cubicBezTo>
                      <a:pt x="204" y="395"/>
                      <a:pt x="208" y="395"/>
                      <a:pt x="210" y="392"/>
                    </a:cubicBezTo>
                    <a:cubicBezTo>
                      <a:pt x="230" y="372"/>
                      <a:pt x="230" y="372"/>
                      <a:pt x="230" y="372"/>
                    </a:cubicBezTo>
                    <a:cubicBezTo>
                      <a:pt x="232" y="370"/>
                      <a:pt x="232" y="366"/>
                      <a:pt x="229" y="364"/>
                    </a:cubicBezTo>
                    <a:cubicBezTo>
                      <a:pt x="227" y="362"/>
                      <a:pt x="224" y="362"/>
                      <a:pt x="222" y="364"/>
                    </a:cubicBezTo>
                    <a:cubicBezTo>
                      <a:pt x="212" y="374"/>
                      <a:pt x="212" y="374"/>
                      <a:pt x="212" y="374"/>
                    </a:cubicBezTo>
                    <a:cubicBezTo>
                      <a:pt x="212" y="250"/>
                      <a:pt x="212" y="250"/>
                      <a:pt x="212" y="250"/>
                    </a:cubicBezTo>
                    <a:cubicBezTo>
                      <a:pt x="256" y="250"/>
                      <a:pt x="256" y="250"/>
                      <a:pt x="256" y="250"/>
                    </a:cubicBezTo>
                    <a:cubicBezTo>
                      <a:pt x="256" y="306"/>
                      <a:pt x="256" y="306"/>
                      <a:pt x="256" y="306"/>
                    </a:cubicBezTo>
                    <a:cubicBezTo>
                      <a:pt x="247" y="296"/>
                      <a:pt x="247" y="296"/>
                      <a:pt x="247" y="296"/>
                    </a:cubicBezTo>
                    <a:cubicBezTo>
                      <a:pt x="245" y="293"/>
                      <a:pt x="241" y="293"/>
                      <a:pt x="238" y="295"/>
                    </a:cubicBezTo>
                    <a:cubicBezTo>
                      <a:pt x="236" y="297"/>
                      <a:pt x="235" y="301"/>
                      <a:pt x="237" y="303"/>
                    </a:cubicBezTo>
                    <a:cubicBezTo>
                      <a:pt x="238" y="304"/>
                      <a:pt x="238" y="304"/>
                      <a:pt x="238" y="304"/>
                    </a:cubicBezTo>
                    <a:cubicBezTo>
                      <a:pt x="258" y="324"/>
                      <a:pt x="258" y="324"/>
                      <a:pt x="258" y="324"/>
                    </a:cubicBezTo>
                    <a:cubicBezTo>
                      <a:pt x="261" y="327"/>
                      <a:pt x="264" y="327"/>
                      <a:pt x="267" y="324"/>
                    </a:cubicBezTo>
                    <a:cubicBezTo>
                      <a:pt x="287" y="304"/>
                      <a:pt x="287" y="304"/>
                      <a:pt x="287" y="304"/>
                    </a:cubicBezTo>
                    <a:cubicBezTo>
                      <a:pt x="289" y="302"/>
                      <a:pt x="288" y="298"/>
                      <a:pt x="286" y="296"/>
                    </a:cubicBezTo>
                    <a:cubicBezTo>
                      <a:pt x="283" y="294"/>
                      <a:pt x="281" y="294"/>
                      <a:pt x="278" y="296"/>
                    </a:cubicBezTo>
                    <a:cubicBezTo>
                      <a:pt x="269" y="306"/>
                      <a:pt x="269" y="306"/>
                      <a:pt x="269" y="306"/>
                    </a:cubicBezTo>
                    <a:cubicBezTo>
                      <a:pt x="269" y="250"/>
                      <a:pt x="269" y="250"/>
                      <a:pt x="269" y="250"/>
                    </a:cubicBezTo>
                    <a:cubicBezTo>
                      <a:pt x="282" y="249"/>
                      <a:pt x="293" y="242"/>
                      <a:pt x="301" y="232"/>
                    </a:cubicBezTo>
                    <a:cubicBezTo>
                      <a:pt x="355" y="232"/>
                      <a:pt x="355" y="232"/>
                      <a:pt x="355" y="232"/>
                    </a:cubicBezTo>
                    <a:cubicBezTo>
                      <a:pt x="359" y="241"/>
                      <a:pt x="369" y="246"/>
                      <a:pt x="378" y="243"/>
                    </a:cubicBezTo>
                    <a:cubicBezTo>
                      <a:pt x="388" y="240"/>
                      <a:pt x="392" y="229"/>
                      <a:pt x="389" y="220"/>
                    </a:cubicBezTo>
                    <a:cubicBezTo>
                      <a:pt x="386" y="211"/>
                      <a:pt x="376" y="206"/>
                      <a:pt x="366" y="209"/>
                    </a:cubicBezTo>
                    <a:cubicBezTo>
                      <a:pt x="361" y="211"/>
                      <a:pt x="357" y="215"/>
                      <a:pt x="355" y="220"/>
                    </a:cubicBezTo>
                    <a:cubicBezTo>
                      <a:pt x="307" y="220"/>
                      <a:pt x="307" y="220"/>
                      <a:pt x="307" y="220"/>
                    </a:cubicBezTo>
                    <a:cubicBezTo>
                      <a:pt x="310" y="212"/>
                      <a:pt x="310" y="204"/>
                      <a:pt x="309" y="196"/>
                    </a:cubicBezTo>
                    <a:cubicBezTo>
                      <a:pt x="327" y="196"/>
                      <a:pt x="327" y="196"/>
                      <a:pt x="327" y="196"/>
                    </a:cubicBezTo>
                    <a:cubicBezTo>
                      <a:pt x="331" y="205"/>
                      <a:pt x="341" y="210"/>
                      <a:pt x="350" y="207"/>
                    </a:cubicBezTo>
                    <a:cubicBezTo>
                      <a:pt x="360" y="204"/>
                      <a:pt x="364" y="193"/>
                      <a:pt x="361" y="184"/>
                    </a:cubicBezTo>
                    <a:cubicBezTo>
                      <a:pt x="358" y="175"/>
                      <a:pt x="348" y="170"/>
                      <a:pt x="338" y="173"/>
                    </a:cubicBezTo>
                    <a:cubicBezTo>
                      <a:pt x="333" y="175"/>
                      <a:pt x="329" y="179"/>
                      <a:pt x="327" y="184"/>
                    </a:cubicBezTo>
                    <a:cubicBezTo>
                      <a:pt x="305" y="184"/>
                      <a:pt x="305" y="184"/>
                      <a:pt x="305" y="184"/>
                    </a:cubicBezTo>
                    <a:cubicBezTo>
                      <a:pt x="300" y="175"/>
                      <a:pt x="293" y="168"/>
                      <a:pt x="285" y="164"/>
                    </a:cubicBezTo>
                    <a:cubicBezTo>
                      <a:pt x="359" y="164"/>
                      <a:pt x="359" y="164"/>
                      <a:pt x="359" y="164"/>
                    </a:cubicBezTo>
                    <a:cubicBezTo>
                      <a:pt x="363" y="173"/>
                      <a:pt x="373" y="178"/>
                      <a:pt x="382" y="175"/>
                    </a:cubicBezTo>
                    <a:cubicBezTo>
                      <a:pt x="392" y="172"/>
                      <a:pt x="396" y="161"/>
                      <a:pt x="393" y="152"/>
                    </a:cubicBezTo>
                    <a:cubicBezTo>
                      <a:pt x="391" y="145"/>
                      <a:pt x="384" y="140"/>
                      <a:pt x="376" y="140"/>
                    </a:cubicBezTo>
                    <a:close/>
                    <a:moveTo>
                      <a:pt x="322" y="30"/>
                    </a:moveTo>
                    <a:cubicBezTo>
                      <a:pt x="325" y="30"/>
                      <a:pt x="328" y="33"/>
                      <a:pt x="328" y="36"/>
                    </a:cubicBezTo>
                    <a:cubicBezTo>
                      <a:pt x="328" y="39"/>
                      <a:pt x="325" y="42"/>
                      <a:pt x="322" y="42"/>
                    </a:cubicBezTo>
                    <a:cubicBezTo>
                      <a:pt x="319" y="42"/>
                      <a:pt x="316" y="39"/>
                      <a:pt x="316" y="36"/>
                    </a:cubicBezTo>
                    <a:cubicBezTo>
                      <a:pt x="316" y="33"/>
                      <a:pt x="319" y="30"/>
                      <a:pt x="322" y="30"/>
                    </a:cubicBezTo>
                    <a:close/>
                    <a:moveTo>
                      <a:pt x="210" y="46"/>
                    </a:moveTo>
                    <a:cubicBezTo>
                      <a:pt x="213" y="46"/>
                      <a:pt x="216" y="49"/>
                      <a:pt x="216" y="52"/>
                    </a:cubicBezTo>
                    <a:cubicBezTo>
                      <a:pt x="216" y="55"/>
                      <a:pt x="213" y="58"/>
                      <a:pt x="210" y="58"/>
                    </a:cubicBezTo>
                    <a:cubicBezTo>
                      <a:pt x="207" y="58"/>
                      <a:pt x="204" y="55"/>
                      <a:pt x="204" y="52"/>
                    </a:cubicBezTo>
                    <a:cubicBezTo>
                      <a:pt x="204" y="49"/>
                      <a:pt x="207" y="46"/>
                      <a:pt x="210" y="46"/>
                    </a:cubicBezTo>
                    <a:close/>
                    <a:moveTo>
                      <a:pt x="178" y="14"/>
                    </a:moveTo>
                    <a:cubicBezTo>
                      <a:pt x="181" y="14"/>
                      <a:pt x="184" y="17"/>
                      <a:pt x="184" y="20"/>
                    </a:cubicBezTo>
                    <a:cubicBezTo>
                      <a:pt x="184" y="23"/>
                      <a:pt x="181" y="26"/>
                      <a:pt x="178" y="26"/>
                    </a:cubicBezTo>
                    <a:cubicBezTo>
                      <a:pt x="175" y="26"/>
                      <a:pt x="172" y="23"/>
                      <a:pt x="172" y="20"/>
                    </a:cubicBezTo>
                    <a:cubicBezTo>
                      <a:pt x="172" y="17"/>
                      <a:pt x="175" y="14"/>
                      <a:pt x="178" y="14"/>
                    </a:cubicBezTo>
                    <a:close/>
                    <a:moveTo>
                      <a:pt x="44" y="50"/>
                    </a:moveTo>
                    <a:cubicBezTo>
                      <a:pt x="47" y="50"/>
                      <a:pt x="50" y="53"/>
                      <a:pt x="50" y="56"/>
                    </a:cubicBezTo>
                    <a:cubicBezTo>
                      <a:pt x="50" y="59"/>
                      <a:pt x="47" y="62"/>
                      <a:pt x="44" y="62"/>
                    </a:cubicBezTo>
                    <a:cubicBezTo>
                      <a:pt x="41" y="62"/>
                      <a:pt x="38" y="59"/>
                      <a:pt x="38" y="56"/>
                    </a:cubicBezTo>
                    <a:cubicBezTo>
                      <a:pt x="38" y="56"/>
                      <a:pt x="38" y="56"/>
                      <a:pt x="38" y="56"/>
                    </a:cubicBezTo>
                    <a:cubicBezTo>
                      <a:pt x="38" y="53"/>
                      <a:pt x="41" y="50"/>
                      <a:pt x="44" y="50"/>
                    </a:cubicBezTo>
                    <a:close/>
                    <a:moveTo>
                      <a:pt x="52" y="174"/>
                    </a:moveTo>
                    <a:cubicBezTo>
                      <a:pt x="49" y="174"/>
                      <a:pt x="46" y="171"/>
                      <a:pt x="46" y="168"/>
                    </a:cubicBezTo>
                    <a:cubicBezTo>
                      <a:pt x="46" y="165"/>
                      <a:pt x="49" y="162"/>
                      <a:pt x="52" y="162"/>
                    </a:cubicBezTo>
                    <a:cubicBezTo>
                      <a:pt x="55" y="162"/>
                      <a:pt x="58" y="165"/>
                      <a:pt x="58" y="168"/>
                    </a:cubicBezTo>
                    <a:cubicBezTo>
                      <a:pt x="58" y="171"/>
                      <a:pt x="55" y="174"/>
                      <a:pt x="52" y="174"/>
                    </a:cubicBezTo>
                    <a:close/>
                    <a:moveTo>
                      <a:pt x="20" y="206"/>
                    </a:moveTo>
                    <a:cubicBezTo>
                      <a:pt x="17" y="206"/>
                      <a:pt x="14" y="203"/>
                      <a:pt x="14" y="200"/>
                    </a:cubicBezTo>
                    <a:cubicBezTo>
                      <a:pt x="14" y="197"/>
                      <a:pt x="17" y="194"/>
                      <a:pt x="20" y="194"/>
                    </a:cubicBezTo>
                    <a:cubicBezTo>
                      <a:pt x="23" y="194"/>
                      <a:pt x="26" y="197"/>
                      <a:pt x="26" y="200"/>
                    </a:cubicBezTo>
                    <a:cubicBezTo>
                      <a:pt x="26" y="203"/>
                      <a:pt x="23" y="206"/>
                      <a:pt x="20" y="206"/>
                    </a:cubicBezTo>
                    <a:close/>
                    <a:moveTo>
                      <a:pt x="372" y="220"/>
                    </a:moveTo>
                    <a:cubicBezTo>
                      <a:pt x="375" y="220"/>
                      <a:pt x="378" y="223"/>
                      <a:pt x="378" y="226"/>
                    </a:cubicBezTo>
                    <a:cubicBezTo>
                      <a:pt x="378" y="229"/>
                      <a:pt x="375" y="232"/>
                      <a:pt x="372" y="232"/>
                    </a:cubicBezTo>
                    <a:cubicBezTo>
                      <a:pt x="369" y="232"/>
                      <a:pt x="366" y="229"/>
                      <a:pt x="366" y="226"/>
                    </a:cubicBezTo>
                    <a:cubicBezTo>
                      <a:pt x="366" y="223"/>
                      <a:pt x="369" y="220"/>
                      <a:pt x="372" y="220"/>
                    </a:cubicBezTo>
                    <a:close/>
                    <a:moveTo>
                      <a:pt x="344" y="184"/>
                    </a:moveTo>
                    <a:cubicBezTo>
                      <a:pt x="347" y="184"/>
                      <a:pt x="350" y="187"/>
                      <a:pt x="350" y="190"/>
                    </a:cubicBezTo>
                    <a:cubicBezTo>
                      <a:pt x="350" y="193"/>
                      <a:pt x="347" y="196"/>
                      <a:pt x="344" y="196"/>
                    </a:cubicBezTo>
                    <a:cubicBezTo>
                      <a:pt x="341" y="196"/>
                      <a:pt x="338" y="193"/>
                      <a:pt x="338" y="190"/>
                    </a:cubicBezTo>
                    <a:cubicBezTo>
                      <a:pt x="338" y="187"/>
                      <a:pt x="341" y="184"/>
                      <a:pt x="344" y="184"/>
                    </a:cubicBezTo>
                    <a:close/>
                    <a:moveTo>
                      <a:pt x="344" y="120"/>
                    </a:moveTo>
                    <a:cubicBezTo>
                      <a:pt x="347" y="120"/>
                      <a:pt x="350" y="123"/>
                      <a:pt x="350" y="126"/>
                    </a:cubicBezTo>
                    <a:cubicBezTo>
                      <a:pt x="350" y="129"/>
                      <a:pt x="347" y="132"/>
                      <a:pt x="344" y="132"/>
                    </a:cubicBezTo>
                    <a:cubicBezTo>
                      <a:pt x="341" y="132"/>
                      <a:pt x="338" y="129"/>
                      <a:pt x="338" y="126"/>
                    </a:cubicBezTo>
                    <a:cubicBezTo>
                      <a:pt x="338" y="123"/>
                      <a:pt x="341" y="120"/>
                      <a:pt x="344" y="120"/>
                    </a:cubicBezTo>
                    <a:close/>
                    <a:moveTo>
                      <a:pt x="146" y="46"/>
                    </a:moveTo>
                    <a:cubicBezTo>
                      <a:pt x="149" y="46"/>
                      <a:pt x="152" y="49"/>
                      <a:pt x="152" y="52"/>
                    </a:cubicBezTo>
                    <a:cubicBezTo>
                      <a:pt x="152" y="55"/>
                      <a:pt x="149" y="58"/>
                      <a:pt x="146" y="58"/>
                    </a:cubicBezTo>
                    <a:cubicBezTo>
                      <a:pt x="143" y="58"/>
                      <a:pt x="140" y="55"/>
                      <a:pt x="140" y="52"/>
                    </a:cubicBezTo>
                    <a:cubicBezTo>
                      <a:pt x="140" y="49"/>
                      <a:pt x="143" y="46"/>
                      <a:pt x="146" y="46"/>
                    </a:cubicBezTo>
                    <a:close/>
                    <a:moveTo>
                      <a:pt x="52" y="238"/>
                    </a:moveTo>
                    <a:cubicBezTo>
                      <a:pt x="49" y="238"/>
                      <a:pt x="46" y="235"/>
                      <a:pt x="46" y="232"/>
                    </a:cubicBezTo>
                    <a:cubicBezTo>
                      <a:pt x="46" y="229"/>
                      <a:pt x="49" y="226"/>
                      <a:pt x="52" y="226"/>
                    </a:cubicBezTo>
                    <a:cubicBezTo>
                      <a:pt x="55" y="226"/>
                      <a:pt x="58" y="229"/>
                      <a:pt x="58" y="232"/>
                    </a:cubicBezTo>
                    <a:cubicBezTo>
                      <a:pt x="58" y="232"/>
                      <a:pt x="58" y="232"/>
                      <a:pt x="58" y="232"/>
                    </a:cubicBezTo>
                    <a:cubicBezTo>
                      <a:pt x="58" y="235"/>
                      <a:pt x="55" y="238"/>
                      <a:pt x="52" y="238"/>
                    </a:cubicBezTo>
                    <a:close/>
                    <a:moveTo>
                      <a:pt x="298" y="204"/>
                    </a:moveTo>
                    <a:cubicBezTo>
                      <a:pt x="298" y="223"/>
                      <a:pt x="283" y="238"/>
                      <a:pt x="264" y="238"/>
                    </a:cubicBezTo>
                    <a:cubicBezTo>
                      <a:pt x="142" y="238"/>
                      <a:pt x="142" y="238"/>
                      <a:pt x="142" y="238"/>
                    </a:cubicBezTo>
                    <a:cubicBezTo>
                      <a:pt x="118" y="238"/>
                      <a:pt x="98" y="218"/>
                      <a:pt x="98" y="194"/>
                    </a:cubicBezTo>
                    <a:cubicBezTo>
                      <a:pt x="98" y="169"/>
                      <a:pt x="118" y="150"/>
                      <a:pt x="142" y="150"/>
                    </a:cubicBezTo>
                    <a:cubicBezTo>
                      <a:pt x="145" y="150"/>
                      <a:pt x="148" y="149"/>
                      <a:pt x="149" y="146"/>
                    </a:cubicBezTo>
                    <a:cubicBezTo>
                      <a:pt x="157" y="124"/>
                      <a:pt x="178" y="110"/>
                      <a:pt x="202" y="110"/>
                    </a:cubicBezTo>
                    <a:cubicBezTo>
                      <a:pt x="232" y="110"/>
                      <a:pt x="257" y="135"/>
                      <a:pt x="258" y="165"/>
                    </a:cubicBezTo>
                    <a:cubicBezTo>
                      <a:pt x="258" y="169"/>
                      <a:pt x="261" y="171"/>
                      <a:pt x="264" y="171"/>
                    </a:cubicBezTo>
                    <a:cubicBezTo>
                      <a:pt x="283" y="171"/>
                      <a:pt x="297" y="186"/>
                      <a:pt x="298" y="204"/>
                    </a:cubicBezTo>
                    <a:close/>
                    <a:moveTo>
                      <a:pt x="376" y="164"/>
                    </a:moveTo>
                    <a:cubicBezTo>
                      <a:pt x="373" y="164"/>
                      <a:pt x="370" y="161"/>
                      <a:pt x="370" y="158"/>
                    </a:cubicBezTo>
                    <a:cubicBezTo>
                      <a:pt x="370" y="155"/>
                      <a:pt x="373" y="152"/>
                      <a:pt x="376" y="152"/>
                    </a:cubicBezTo>
                    <a:cubicBezTo>
                      <a:pt x="379" y="152"/>
                      <a:pt x="382" y="155"/>
                      <a:pt x="382" y="158"/>
                    </a:cubicBezTo>
                    <a:cubicBezTo>
                      <a:pt x="382" y="161"/>
                      <a:pt x="379" y="164"/>
                      <a:pt x="376" y="164"/>
                    </a:cubicBezTo>
                    <a:close/>
                  </a:path>
                </a:pathLst>
              </a:custGeom>
              <a:solidFill>
                <a:srgbClr val="41A44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00" dirty="0"/>
              </a:p>
            </p:txBody>
          </p: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30281C77-3D50-4E3E-BA43-2432441519B5}"/>
                </a:ext>
              </a:extLst>
            </p:cNvPr>
            <p:cNvGrpSpPr/>
            <p:nvPr/>
          </p:nvGrpSpPr>
          <p:grpSpPr>
            <a:xfrm>
              <a:off x="744714" y="2249433"/>
              <a:ext cx="566777" cy="566777"/>
              <a:chOff x="863600" y="3344123"/>
              <a:chExt cx="685800" cy="685800"/>
            </a:xfrm>
          </p:grpSpPr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0B4F7FDD-7C1F-4ECE-A6A0-D02A3FE1E3A4}"/>
                  </a:ext>
                </a:extLst>
              </p:cNvPr>
              <p:cNvSpPr/>
              <p:nvPr/>
            </p:nvSpPr>
            <p:spPr>
              <a:xfrm>
                <a:off x="863600" y="3344123"/>
                <a:ext cx="685800" cy="6858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7030A0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Freeform 118">
                <a:extLst>
                  <a:ext uri="{FF2B5EF4-FFF2-40B4-BE49-F238E27FC236}">
                    <a16:creationId xmlns:a16="http://schemas.microsoft.com/office/drawing/2014/main" id="{D703747A-9561-47EC-9997-BA877C65BB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14154" y="3458276"/>
                <a:ext cx="384693" cy="457495"/>
              </a:xfrm>
              <a:custGeom>
                <a:avLst/>
                <a:gdLst>
                  <a:gd name="T0" fmla="*/ 41 w 104"/>
                  <a:gd name="T1" fmla="*/ 4 h 124"/>
                  <a:gd name="T2" fmla="*/ 52 w 104"/>
                  <a:gd name="T3" fmla="*/ 1 h 124"/>
                  <a:gd name="T4" fmla="*/ 27 w 104"/>
                  <a:gd name="T5" fmla="*/ 8 h 124"/>
                  <a:gd name="T6" fmla="*/ 64 w 104"/>
                  <a:gd name="T7" fmla="*/ 9 h 124"/>
                  <a:gd name="T8" fmla="*/ 25 w 104"/>
                  <a:gd name="T9" fmla="*/ 79 h 124"/>
                  <a:gd name="T10" fmla="*/ 28 w 104"/>
                  <a:gd name="T11" fmla="*/ 114 h 124"/>
                  <a:gd name="T12" fmla="*/ 63 w 104"/>
                  <a:gd name="T13" fmla="*/ 84 h 124"/>
                  <a:gd name="T14" fmla="*/ 16 w 104"/>
                  <a:gd name="T15" fmla="*/ 10 h 124"/>
                  <a:gd name="T16" fmla="*/ 70 w 104"/>
                  <a:gd name="T17" fmla="*/ 13 h 124"/>
                  <a:gd name="T18" fmla="*/ 44 w 104"/>
                  <a:gd name="T19" fmla="*/ 12 h 124"/>
                  <a:gd name="T20" fmla="*/ 42 w 104"/>
                  <a:gd name="T21" fmla="*/ 73 h 124"/>
                  <a:gd name="T22" fmla="*/ 9 w 104"/>
                  <a:gd name="T23" fmla="*/ 17 h 124"/>
                  <a:gd name="T24" fmla="*/ 12 w 104"/>
                  <a:gd name="T25" fmla="*/ 20 h 124"/>
                  <a:gd name="T26" fmla="*/ 30 w 104"/>
                  <a:gd name="T27" fmla="*/ 24 h 124"/>
                  <a:gd name="T28" fmla="*/ 20 w 104"/>
                  <a:gd name="T29" fmla="*/ 48 h 124"/>
                  <a:gd name="T30" fmla="*/ 33 w 104"/>
                  <a:gd name="T31" fmla="*/ 63 h 124"/>
                  <a:gd name="T32" fmla="*/ 50 w 104"/>
                  <a:gd name="T33" fmla="*/ 62 h 124"/>
                  <a:gd name="T34" fmla="*/ 63 w 104"/>
                  <a:gd name="T35" fmla="*/ 50 h 124"/>
                  <a:gd name="T36" fmla="*/ 64 w 104"/>
                  <a:gd name="T37" fmla="*/ 32 h 124"/>
                  <a:gd name="T38" fmla="*/ 48 w 104"/>
                  <a:gd name="T39" fmla="*/ 20 h 124"/>
                  <a:gd name="T40" fmla="*/ 81 w 104"/>
                  <a:gd name="T41" fmla="*/ 21 h 124"/>
                  <a:gd name="T42" fmla="*/ 53 w 104"/>
                  <a:gd name="T43" fmla="*/ 30 h 124"/>
                  <a:gd name="T44" fmla="*/ 62 w 104"/>
                  <a:gd name="T45" fmla="*/ 42 h 124"/>
                  <a:gd name="T46" fmla="*/ 60 w 104"/>
                  <a:gd name="T47" fmla="*/ 56 h 124"/>
                  <a:gd name="T48" fmla="*/ 42 w 104"/>
                  <a:gd name="T49" fmla="*/ 64 h 124"/>
                  <a:gd name="T50" fmla="*/ 30 w 104"/>
                  <a:gd name="T51" fmla="*/ 55 h 124"/>
                  <a:gd name="T52" fmla="*/ 28 w 104"/>
                  <a:gd name="T53" fmla="*/ 40 h 124"/>
                  <a:gd name="T54" fmla="*/ 40 w 104"/>
                  <a:gd name="T55" fmla="*/ 28 h 124"/>
                  <a:gd name="T56" fmla="*/ 5 w 104"/>
                  <a:gd name="T57" fmla="*/ 33 h 124"/>
                  <a:gd name="T58" fmla="*/ 82 w 104"/>
                  <a:gd name="T59" fmla="*/ 32 h 124"/>
                  <a:gd name="T60" fmla="*/ 83 w 104"/>
                  <a:gd name="T61" fmla="*/ 36 h 124"/>
                  <a:gd name="T62" fmla="*/ 86 w 104"/>
                  <a:gd name="T63" fmla="*/ 31 h 124"/>
                  <a:gd name="T64" fmla="*/ 50 w 104"/>
                  <a:gd name="T65" fmla="*/ 44 h 124"/>
                  <a:gd name="T66" fmla="*/ 0 w 104"/>
                  <a:gd name="T67" fmla="*/ 45 h 124"/>
                  <a:gd name="T68" fmla="*/ 84 w 104"/>
                  <a:gd name="T69" fmla="*/ 46 h 124"/>
                  <a:gd name="T70" fmla="*/ 5 w 104"/>
                  <a:gd name="T71" fmla="*/ 52 h 124"/>
                  <a:gd name="T72" fmla="*/ 5 w 104"/>
                  <a:gd name="T73" fmla="*/ 52 h 124"/>
                  <a:gd name="T74" fmla="*/ 86 w 104"/>
                  <a:gd name="T75" fmla="*/ 57 h 124"/>
                  <a:gd name="T76" fmla="*/ 7 w 104"/>
                  <a:gd name="T77" fmla="*/ 68 h 124"/>
                  <a:gd name="T78" fmla="*/ 76 w 104"/>
                  <a:gd name="T79" fmla="*/ 68 h 124"/>
                  <a:gd name="T80" fmla="*/ 16 w 104"/>
                  <a:gd name="T81" fmla="*/ 72 h 124"/>
                  <a:gd name="T82" fmla="*/ 16 w 104"/>
                  <a:gd name="T83" fmla="*/ 72 h 124"/>
                  <a:gd name="T84" fmla="*/ 73 w 104"/>
                  <a:gd name="T85" fmla="*/ 77 h 124"/>
                  <a:gd name="T86" fmla="*/ 75 w 104"/>
                  <a:gd name="T87" fmla="*/ 82 h 124"/>
                  <a:gd name="T88" fmla="*/ 67 w 104"/>
                  <a:gd name="T89" fmla="*/ 100 h 124"/>
                  <a:gd name="T90" fmla="*/ 77 w 104"/>
                  <a:gd name="T91" fmla="*/ 112 h 124"/>
                  <a:gd name="T92" fmla="*/ 91 w 104"/>
                  <a:gd name="T93" fmla="*/ 112 h 124"/>
                  <a:gd name="T94" fmla="*/ 100 w 104"/>
                  <a:gd name="T95" fmla="*/ 102 h 124"/>
                  <a:gd name="T96" fmla="*/ 101 w 104"/>
                  <a:gd name="T97" fmla="*/ 89 h 124"/>
                  <a:gd name="T98" fmla="*/ 89 w 104"/>
                  <a:gd name="T99" fmla="*/ 79 h 124"/>
                  <a:gd name="T100" fmla="*/ 94 w 104"/>
                  <a:gd name="T101" fmla="*/ 87 h 124"/>
                  <a:gd name="T102" fmla="*/ 100 w 104"/>
                  <a:gd name="T103" fmla="*/ 96 h 124"/>
                  <a:gd name="T104" fmla="*/ 95 w 104"/>
                  <a:gd name="T105" fmla="*/ 108 h 124"/>
                  <a:gd name="T106" fmla="*/ 85 w 104"/>
                  <a:gd name="T107" fmla="*/ 110 h 124"/>
                  <a:gd name="T108" fmla="*/ 76 w 104"/>
                  <a:gd name="T109" fmla="*/ 103 h 124"/>
                  <a:gd name="T110" fmla="*/ 76 w 104"/>
                  <a:gd name="T111" fmla="*/ 91 h 124"/>
                  <a:gd name="T112" fmla="*/ 85 w 104"/>
                  <a:gd name="T113" fmla="*/ 84 h 124"/>
                  <a:gd name="T114" fmla="*/ 86 w 104"/>
                  <a:gd name="T115" fmla="*/ 95 h 124"/>
                  <a:gd name="T116" fmla="*/ 44 w 104"/>
                  <a:gd name="T117" fmla="*/ 99 h 124"/>
                  <a:gd name="T118" fmla="*/ 32 w 104"/>
                  <a:gd name="T119" fmla="*/ 104 h 124"/>
                  <a:gd name="T120" fmla="*/ 54 w 104"/>
                  <a:gd name="T121" fmla="*/ 12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4" h="124">
                    <a:moveTo>
                      <a:pt x="41" y="0"/>
                    </a:moveTo>
                    <a:cubicBezTo>
                      <a:pt x="40" y="0"/>
                      <a:pt x="40" y="0"/>
                      <a:pt x="40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8" y="5"/>
                      <a:pt x="38" y="5"/>
                      <a:pt x="38" y="5"/>
                    </a:cubicBezTo>
                    <a:cubicBezTo>
                      <a:pt x="40" y="4"/>
                      <a:pt x="40" y="4"/>
                      <a:pt x="40" y="4"/>
                    </a:cubicBezTo>
                    <a:cubicBezTo>
                      <a:pt x="41" y="4"/>
                      <a:pt x="41" y="4"/>
                      <a:pt x="41" y="4"/>
                    </a:cubicBezTo>
                    <a:lnTo>
                      <a:pt x="41" y="0"/>
                    </a:lnTo>
                    <a:close/>
                    <a:moveTo>
                      <a:pt x="50" y="0"/>
                    </a:moveTo>
                    <a:cubicBezTo>
                      <a:pt x="49" y="4"/>
                      <a:pt x="49" y="4"/>
                      <a:pt x="49" y="4"/>
                    </a:cubicBezTo>
                    <a:cubicBezTo>
                      <a:pt x="51" y="5"/>
                      <a:pt x="51" y="5"/>
                      <a:pt x="51" y="5"/>
                    </a:cubicBezTo>
                    <a:cubicBezTo>
                      <a:pt x="53" y="5"/>
                      <a:pt x="53" y="5"/>
                      <a:pt x="53" y="5"/>
                    </a:cubicBezTo>
                    <a:cubicBezTo>
                      <a:pt x="54" y="1"/>
                      <a:pt x="54" y="1"/>
                      <a:pt x="54" y="1"/>
                    </a:cubicBezTo>
                    <a:cubicBezTo>
                      <a:pt x="52" y="1"/>
                      <a:pt x="52" y="1"/>
                      <a:pt x="52" y="1"/>
                    </a:cubicBezTo>
                    <a:cubicBezTo>
                      <a:pt x="52" y="1"/>
                      <a:pt x="52" y="1"/>
                      <a:pt x="52" y="1"/>
                    </a:cubicBezTo>
                    <a:lnTo>
                      <a:pt x="50" y="0"/>
                    </a:lnTo>
                    <a:close/>
                    <a:moveTo>
                      <a:pt x="29" y="3"/>
                    </a:moveTo>
                    <a:cubicBezTo>
                      <a:pt x="26" y="4"/>
                      <a:pt x="26" y="4"/>
                      <a:pt x="26" y="4"/>
                    </a:cubicBezTo>
                    <a:cubicBezTo>
                      <a:pt x="26" y="4"/>
                      <a:pt x="26" y="4"/>
                      <a:pt x="26" y="4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30" y="6"/>
                      <a:pt x="30" y="6"/>
                      <a:pt x="30" y="6"/>
                    </a:cubicBezTo>
                    <a:lnTo>
                      <a:pt x="29" y="3"/>
                    </a:lnTo>
                    <a:close/>
                    <a:moveTo>
                      <a:pt x="62" y="4"/>
                    </a:moveTo>
                    <a:cubicBezTo>
                      <a:pt x="60" y="7"/>
                      <a:pt x="60" y="7"/>
                      <a:pt x="60" y="7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5" y="6"/>
                      <a:pt x="65" y="6"/>
                      <a:pt x="65" y="6"/>
                    </a:cubicBezTo>
                    <a:cubicBezTo>
                      <a:pt x="62" y="4"/>
                      <a:pt x="62" y="4"/>
                      <a:pt x="62" y="4"/>
                    </a:cubicBezTo>
                    <a:cubicBezTo>
                      <a:pt x="62" y="4"/>
                      <a:pt x="62" y="4"/>
                      <a:pt x="62" y="4"/>
                    </a:cubicBezTo>
                    <a:close/>
                    <a:moveTo>
                      <a:pt x="44" y="8"/>
                    </a:moveTo>
                    <a:cubicBezTo>
                      <a:pt x="24" y="8"/>
                      <a:pt x="8" y="24"/>
                      <a:pt x="8" y="43"/>
                    </a:cubicBezTo>
                    <a:cubicBezTo>
                      <a:pt x="8" y="54"/>
                      <a:pt x="13" y="61"/>
                      <a:pt x="19" y="69"/>
                    </a:cubicBezTo>
                    <a:cubicBezTo>
                      <a:pt x="21" y="72"/>
                      <a:pt x="23" y="75"/>
                      <a:pt x="25" y="79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23" y="83"/>
                      <a:pt x="23" y="83"/>
                      <a:pt x="23" y="83"/>
                    </a:cubicBezTo>
                    <a:cubicBezTo>
                      <a:pt x="23" y="83"/>
                      <a:pt x="23" y="83"/>
                      <a:pt x="23" y="83"/>
                    </a:cubicBezTo>
                    <a:cubicBezTo>
                      <a:pt x="26" y="84"/>
                      <a:pt x="26" y="84"/>
                      <a:pt x="26" y="84"/>
                    </a:cubicBezTo>
                    <a:cubicBezTo>
                      <a:pt x="26" y="84"/>
                      <a:pt x="26" y="84"/>
                      <a:pt x="26" y="84"/>
                    </a:cubicBezTo>
                    <a:cubicBezTo>
                      <a:pt x="28" y="88"/>
                      <a:pt x="28" y="92"/>
                      <a:pt x="28" y="97"/>
                    </a:cubicBezTo>
                    <a:cubicBezTo>
                      <a:pt x="28" y="114"/>
                      <a:pt x="28" y="114"/>
                      <a:pt x="28" y="114"/>
                    </a:cubicBezTo>
                    <a:cubicBezTo>
                      <a:pt x="28" y="115"/>
                      <a:pt x="29" y="116"/>
                      <a:pt x="30" y="116"/>
                    </a:cubicBezTo>
                    <a:cubicBezTo>
                      <a:pt x="58" y="116"/>
                      <a:pt x="58" y="116"/>
                      <a:pt x="58" y="116"/>
                    </a:cubicBezTo>
                    <a:cubicBezTo>
                      <a:pt x="59" y="116"/>
                      <a:pt x="60" y="115"/>
                      <a:pt x="60" y="114"/>
                    </a:cubicBezTo>
                    <a:cubicBezTo>
                      <a:pt x="60" y="97"/>
                      <a:pt x="60" y="97"/>
                      <a:pt x="60" y="97"/>
                    </a:cubicBezTo>
                    <a:cubicBezTo>
                      <a:pt x="60" y="92"/>
                      <a:pt x="60" y="88"/>
                      <a:pt x="62" y="84"/>
                    </a:cubicBezTo>
                    <a:cubicBezTo>
                      <a:pt x="62" y="84"/>
                      <a:pt x="62" y="84"/>
                      <a:pt x="62" y="84"/>
                    </a:cubicBezTo>
                    <a:cubicBezTo>
                      <a:pt x="63" y="84"/>
                      <a:pt x="63" y="84"/>
                      <a:pt x="63" y="84"/>
                    </a:cubicBezTo>
                    <a:cubicBezTo>
                      <a:pt x="62" y="82"/>
                      <a:pt x="62" y="82"/>
                      <a:pt x="62" y="82"/>
                    </a:cubicBezTo>
                    <a:cubicBezTo>
                      <a:pt x="64" y="77"/>
                      <a:pt x="67" y="73"/>
                      <a:pt x="69" y="69"/>
                    </a:cubicBezTo>
                    <a:cubicBezTo>
                      <a:pt x="75" y="61"/>
                      <a:pt x="80" y="54"/>
                      <a:pt x="80" y="43"/>
                    </a:cubicBezTo>
                    <a:cubicBezTo>
                      <a:pt x="80" y="24"/>
                      <a:pt x="64" y="8"/>
                      <a:pt x="44" y="8"/>
                    </a:cubicBezTo>
                    <a:close/>
                    <a:moveTo>
                      <a:pt x="18" y="9"/>
                    </a:moveTo>
                    <a:cubicBezTo>
                      <a:pt x="16" y="10"/>
                      <a:pt x="16" y="10"/>
                      <a:pt x="16" y="10"/>
                    </a:cubicBezTo>
                    <a:cubicBezTo>
                      <a:pt x="16" y="10"/>
                      <a:pt x="16" y="10"/>
                      <a:pt x="16" y="10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20" y="12"/>
                      <a:pt x="20" y="12"/>
                      <a:pt x="20" y="12"/>
                    </a:cubicBezTo>
                    <a:lnTo>
                      <a:pt x="18" y="9"/>
                    </a:lnTo>
                    <a:close/>
                    <a:moveTo>
                      <a:pt x="72" y="10"/>
                    </a:moveTo>
                    <a:cubicBezTo>
                      <a:pt x="70" y="13"/>
                      <a:pt x="70" y="13"/>
                      <a:pt x="70" y="13"/>
                    </a:cubicBezTo>
                    <a:cubicBezTo>
                      <a:pt x="72" y="15"/>
                      <a:pt x="72" y="15"/>
                      <a:pt x="72" y="15"/>
                    </a:cubicBezTo>
                    <a:cubicBezTo>
                      <a:pt x="73" y="16"/>
                      <a:pt x="73" y="16"/>
                      <a:pt x="73" y="16"/>
                    </a:cubicBezTo>
                    <a:cubicBezTo>
                      <a:pt x="75" y="13"/>
                      <a:pt x="75" y="13"/>
                      <a:pt x="75" y="13"/>
                    </a:cubicBezTo>
                    <a:cubicBezTo>
                      <a:pt x="75" y="12"/>
                      <a:pt x="75" y="12"/>
                      <a:pt x="75" y="12"/>
                    </a:cubicBezTo>
                    <a:cubicBezTo>
                      <a:pt x="74" y="12"/>
                      <a:pt x="74" y="12"/>
                      <a:pt x="74" y="12"/>
                    </a:cubicBezTo>
                    <a:lnTo>
                      <a:pt x="72" y="10"/>
                    </a:lnTo>
                    <a:close/>
                    <a:moveTo>
                      <a:pt x="44" y="12"/>
                    </a:moveTo>
                    <a:cubicBezTo>
                      <a:pt x="62" y="12"/>
                      <a:pt x="76" y="26"/>
                      <a:pt x="76" y="43"/>
                    </a:cubicBezTo>
                    <a:cubicBezTo>
                      <a:pt x="76" y="53"/>
                      <a:pt x="71" y="59"/>
                      <a:pt x="66" y="67"/>
                    </a:cubicBezTo>
                    <a:cubicBezTo>
                      <a:pt x="61" y="74"/>
                      <a:pt x="57" y="83"/>
                      <a:pt x="56" y="95"/>
                    </a:cubicBezTo>
                    <a:cubicBezTo>
                      <a:pt x="46" y="95"/>
                      <a:pt x="46" y="95"/>
                      <a:pt x="46" y="95"/>
                    </a:cubicBezTo>
                    <a:cubicBezTo>
                      <a:pt x="46" y="74"/>
                      <a:pt x="46" y="74"/>
                      <a:pt x="46" y="74"/>
                    </a:cubicBezTo>
                    <a:cubicBezTo>
                      <a:pt x="46" y="72"/>
                      <a:pt x="45" y="72"/>
                      <a:pt x="44" y="72"/>
                    </a:cubicBezTo>
                    <a:cubicBezTo>
                      <a:pt x="43" y="71"/>
                      <a:pt x="42" y="72"/>
                      <a:pt x="42" y="73"/>
                    </a:cubicBezTo>
                    <a:cubicBezTo>
                      <a:pt x="42" y="73"/>
                      <a:pt x="42" y="74"/>
                      <a:pt x="42" y="74"/>
                    </a:cubicBezTo>
                    <a:cubicBezTo>
                      <a:pt x="42" y="95"/>
                      <a:pt x="42" y="95"/>
                      <a:pt x="42" y="95"/>
                    </a:cubicBezTo>
                    <a:cubicBezTo>
                      <a:pt x="32" y="95"/>
                      <a:pt x="32" y="95"/>
                      <a:pt x="32" y="95"/>
                    </a:cubicBezTo>
                    <a:cubicBezTo>
                      <a:pt x="31" y="83"/>
                      <a:pt x="27" y="74"/>
                      <a:pt x="22" y="67"/>
                    </a:cubicBezTo>
                    <a:cubicBezTo>
                      <a:pt x="17" y="59"/>
                      <a:pt x="12" y="53"/>
                      <a:pt x="12" y="43"/>
                    </a:cubicBezTo>
                    <a:cubicBezTo>
                      <a:pt x="12" y="26"/>
                      <a:pt x="26" y="12"/>
                      <a:pt x="44" y="12"/>
                    </a:cubicBezTo>
                    <a:close/>
                    <a:moveTo>
                      <a:pt x="9" y="17"/>
                    </a:moveTo>
                    <a:cubicBezTo>
                      <a:pt x="9" y="18"/>
                      <a:pt x="9" y="18"/>
                      <a:pt x="9" y="18"/>
                    </a:cubicBezTo>
                    <a:cubicBezTo>
                      <a:pt x="9" y="18"/>
                      <a:pt x="9" y="18"/>
                      <a:pt x="9" y="18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2" y="20"/>
                      <a:pt x="12" y="20"/>
                      <a:pt x="12" y="20"/>
                    </a:cubicBezTo>
                    <a:lnTo>
                      <a:pt x="9" y="17"/>
                    </a:lnTo>
                    <a:close/>
                    <a:moveTo>
                      <a:pt x="40" y="20"/>
                    </a:moveTo>
                    <a:cubicBezTo>
                      <a:pt x="39" y="20"/>
                      <a:pt x="38" y="21"/>
                      <a:pt x="38" y="22"/>
                    </a:cubicBezTo>
                    <a:cubicBezTo>
                      <a:pt x="38" y="25"/>
                      <a:pt x="38" y="25"/>
                      <a:pt x="38" y="25"/>
                    </a:cubicBezTo>
                    <a:cubicBezTo>
                      <a:pt x="37" y="25"/>
                      <a:pt x="36" y="26"/>
                      <a:pt x="35" y="26"/>
                    </a:cubicBezTo>
                    <a:cubicBezTo>
                      <a:pt x="33" y="24"/>
                      <a:pt x="33" y="24"/>
                      <a:pt x="33" y="24"/>
                    </a:cubicBezTo>
                    <a:cubicBezTo>
                      <a:pt x="32" y="23"/>
                      <a:pt x="31" y="23"/>
                      <a:pt x="30" y="24"/>
                    </a:cubicBezTo>
                    <a:cubicBezTo>
                      <a:pt x="24" y="29"/>
                      <a:pt x="24" y="29"/>
                      <a:pt x="24" y="29"/>
                    </a:cubicBezTo>
                    <a:cubicBezTo>
                      <a:pt x="23" y="30"/>
                      <a:pt x="23" y="32"/>
                      <a:pt x="24" y="32"/>
                    </a:cubicBezTo>
                    <a:cubicBezTo>
                      <a:pt x="26" y="35"/>
                      <a:pt x="26" y="35"/>
                      <a:pt x="26" y="35"/>
                    </a:cubicBezTo>
                    <a:cubicBezTo>
                      <a:pt x="26" y="36"/>
                      <a:pt x="25" y="37"/>
                      <a:pt x="25" y="38"/>
                    </a:cubicBezTo>
                    <a:cubicBezTo>
                      <a:pt x="22" y="38"/>
                      <a:pt x="22" y="38"/>
                      <a:pt x="22" y="38"/>
                    </a:cubicBezTo>
                    <a:cubicBezTo>
                      <a:pt x="21" y="38"/>
                      <a:pt x="20" y="39"/>
                      <a:pt x="20" y="40"/>
                    </a:cubicBezTo>
                    <a:cubicBezTo>
                      <a:pt x="20" y="48"/>
                      <a:pt x="20" y="48"/>
                      <a:pt x="20" y="48"/>
                    </a:cubicBezTo>
                    <a:cubicBezTo>
                      <a:pt x="20" y="49"/>
                      <a:pt x="21" y="50"/>
                      <a:pt x="22" y="50"/>
                    </a:cubicBezTo>
                    <a:cubicBezTo>
                      <a:pt x="25" y="50"/>
                      <a:pt x="25" y="50"/>
                      <a:pt x="25" y="50"/>
                    </a:cubicBezTo>
                    <a:cubicBezTo>
                      <a:pt x="26" y="51"/>
                      <a:pt x="26" y="52"/>
                      <a:pt x="26" y="53"/>
                    </a:cubicBezTo>
                    <a:cubicBezTo>
                      <a:pt x="24" y="55"/>
                      <a:pt x="24" y="55"/>
                      <a:pt x="24" y="55"/>
                    </a:cubicBezTo>
                    <a:cubicBezTo>
                      <a:pt x="23" y="56"/>
                      <a:pt x="23" y="57"/>
                      <a:pt x="24" y="58"/>
                    </a:cubicBezTo>
                    <a:cubicBezTo>
                      <a:pt x="30" y="63"/>
                      <a:pt x="30" y="63"/>
                      <a:pt x="30" y="63"/>
                    </a:cubicBezTo>
                    <a:cubicBezTo>
                      <a:pt x="31" y="64"/>
                      <a:pt x="32" y="64"/>
                      <a:pt x="33" y="63"/>
                    </a:cubicBezTo>
                    <a:cubicBezTo>
                      <a:pt x="35" y="61"/>
                      <a:pt x="35" y="61"/>
                      <a:pt x="35" y="61"/>
                    </a:cubicBezTo>
                    <a:cubicBezTo>
                      <a:pt x="36" y="62"/>
                      <a:pt x="37" y="62"/>
                      <a:pt x="38" y="62"/>
                    </a:cubicBezTo>
                    <a:cubicBezTo>
                      <a:pt x="38" y="66"/>
                      <a:pt x="38" y="66"/>
                      <a:pt x="38" y="66"/>
                    </a:cubicBezTo>
                    <a:cubicBezTo>
                      <a:pt x="38" y="67"/>
                      <a:pt x="39" y="68"/>
                      <a:pt x="40" y="68"/>
                    </a:cubicBezTo>
                    <a:cubicBezTo>
                      <a:pt x="48" y="68"/>
                      <a:pt x="48" y="68"/>
                      <a:pt x="48" y="68"/>
                    </a:cubicBezTo>
                    <a:cubicBezTo>
                      <a:pt x="49" y="68"/>
                      <a:pt x="50" y="67"/>
                      <a:pt x="50" y="66"/>
                    </a:cubicBezTo>
                    <a:cubicBezTo>
                      <a:pt x="50" y="62"/>
                      <a:pt x="50" y="62"/>
                      <a:pt x="50" y="62"/>
                    </a:cubicBezTo>
                    <a:cubicBezTo>
                      <a:pt x="51" y="62"/>
                      <a:pt x="52" y="62"/>
                      <a:pt x="53" y="61"/>
                    </a:cubicBezTo>
                    <a:cubicBezTo>
                      <a:pt x="55" y="63"/>
                      <a:pt x="55" y="63"/>
                      <a:pt x="55" y="63"/>
                    </a:cubicBezTo>
                    <a:cubicBezTo>
                      <a:pt x="56" y="64"/>
                      <a:pt x="57" y="64"/>
                      <a:pt x="58" y="63"/>
                    </a:cubicBezTo>
                    <a:cubicBezTo>
                      <a:pt x="64" y="58"/>
                      <a:pt x="64" y="58"/>
                      <a:pt x="64" y="58"/>
                    </a:cubicBezTo>
                    <a:cubicBezTo>
                      <a:pt x="65" y="57"/>
                      <a:pt x="65" y="56"/>
                      <a:pt x="64" y="55"/>
                    </a:cubicBezTo>
                    <a:cubicBezTo>
                      <a:pt x="62" y="53"/>
                      <a:pt x="62" y="53"/>
                      <a:pt x="62" y="53"/>
                    </a:cubicBezTo>
                    <a:cubicBezTo>
                      <a:pt x="62" y="52"/>
                      <a:pt x="63" y="51"/>
                      <a:pt x="63" y="50"/>
                    </a:cubicBezTo>
                    <a:cubicBezTo>
                      <a:pt x="66" y="50"/>
                      <a:pt x="66" y="50"/>
                      <a:pt x="66" y="50"/>
                    </a:cubicBezTo>
                    <a:cubicBezTo>
                      <a:pt x="67" y="50"/>
                      <a:pt x="68" y="49"/>
                      <a:pt x="68" y="48"/>
                    </a:cubicBezTo>
                    <a:cubicBezTo>
                      <a:pt x="68" y="40"/>
                      <a:pt x="68" y="40"/>
                      <a:pt x="68" y="40"/>
                    </a:cubicBezTo>
                    <a:cubicBezTo>
                      <a:pt x="68" y="39"/>
                      <a:pt x="67" y="38"/>
                      <a:pt x="66" y="38"/>
                    </a:cubicBezTo>
                    <a:cubicBezTo>
                      <a:pt x="63" y="38"/>
                      <a:pt x="63" y="38"/>
                      <a:pt x="63" y="38"/>
                    </a:cubicBezTo>
                    <a:cubicBezTo>
                      <a:pt x="62" y="37"/>
                      <a:pt x="62" y="36"/>
                      <a:pt x="62" y="35"/>
                    </a:cubicBezTo>
                    <a:cubicBezTo>
                      <a:pt x="64" y="32"/>
                      <a:pt x="64" y="32"/>
                      <a:pt x="64" y="32"/>
                    </a:cubicBezTo>
                    <a:cubicBezTo>
                      <a:pt x="65" y="32"/>
                      <a:pt x="65" y="30"/>
                      <a:pt x="64" y="29"/>
                    </a:cubicBezTo>
                    <a:cubicBezTo>
                      <a:pt x="58" y="24"/>
                      <a:pt x="58" y="24"/>
                      <a:pt x="58" y="24"/>
                    </a:cubicBezTo>
                    <a:cubicBezTo>
                      <a:pt x="57" y="23"/>
                      <a:pt x="56" y="23"/>
                      <a:pt x="55" y="24"/>
                    </a:cubicBezTo>
                    <a:cubicBezTo>
                      <a:pt x="53" y="26"/>
                      <a:pt x="53" y="26"/>
                      <a:pt x="53" y="26"/>
                    </a:cubicBezTo>
                    <a:cubicBezTo>
                      <a:pt x="52" y="26"/>
                      <a:pt x="51" y="25"/>
                      <a:pt x="50" y="25"/>
                    </a:cubicBezTo>
                    <a:cubicBezTo>
                      <a:pt x="50" y="22"/>
                      <a:pt x="50" y="22"/>
                      <a:pt x="50" y="22"/>
                    </a:cubicBezTo>
                    <a:cubicBezTo>
                      <a:pt x="50" y="21"/>
                      <a:pt x="49" y="20"/>
                      <a:pt x="48" y="20"/>
                    </a:cubicBezTo>
                    <a:lnTo>
                      <a:pt x="40" y="20"/>
                    </a:lnTo>
                    <a:close/>
                    <a:moveTo>
                      <a:pt x="81" y="20"/>
                    </a:moveTo>
                    <a:cubicBezTo>
                      <a:pt x="77" y="22"/>
                      <a:pt x="77" y="22"/>
                      <a:pt x="77" y="22"/>
                    </a:cubicBezTo>
                    <a:cubicBezTo>
                      <a:pt x="78" y="23"/>
                      <a:pt x="78" y="23"/>
                      <a:pt x="78" y="23"/>
                    </a:cubicBezTo>
                    <a:cubicBezTo>
                      <a:pt x="79" y="25"/>
                      <a:pt x="79" y="25"/>
                      <a:pt x="79" y="25"/>
                    </a:cubicBezTo>
                    <a:cubicBezTo>
                      <a:pt x="83" y="23"/>
                      <a:pt x="83" y="23"/>
                      <a:pt x="83" y="23"/>
                    </a:cubicBezTo>
                    <a:cubicBezTo>
                      <a:pt x="81" y="21"/>
                      <a:pt x="81" y="21"/>
                      <a:pt x="81" y="21"/>
                    </a:cubicBezTo>
                    <a:cubicBezTo>
                      <a:pt x="81" y="21"/>
                      <a:pt x="81" y="21"/>
                      <a:pt x="81" y="21"/>
                    </a:cubicBezTo>
                    <a:lnTo>
                      <a:pt x="81" y="20"/>
                    </a:lnTo>
                    <a:close/>
                    <a:moveTo>
                      <a:pt x="42" y="24"/>
                    </a:moveTo>
                    <a:cubicBezTo>
                      <a:pt x="46" y="24"/>
                      <a:pt x="46" y="24"/>
                      <a:pt x="46" y="24"/>
                    </a:cubicBezTo>
                    <a:cubicBezTo>
                      <a:pt x="46" y="26"/>
                      <a:pt x="46" y="26"/>
                      <a:pt x="46" y="26"/>
                    </a:cubicBezTo>
                    <a:cubicBezTo>
                      <a:pt x="46" y="27"/>
                      <a:pt x="47" y="28"/>
                      <a:pt x="48" y="28"/>
                    </a:cubicBezTo>
                    <a:cubicBezTo>
                      <a:pt x="49" y="28"/>
                      <a:pt x="51" y="29"/>
                      <a:pt x="53" y="30"/>
                    </a:cubicBezTo>
                    <a:cubicBezTo>
                      <a:pt x="53" y="31"/>
                      <a:pt x="54" y="30"/>
                      <a:pt x="55" y="30"/>
                    </a:cubicBezTo>
                    <a:cubicBezTo>
                      <a:pt x="57" y="28"/>
                      <a:pt x="57" y="28"/>
                      <a:pt x="57" y="28"/>
                    </a:cubicBezTo>
                    <a:cubicBezTo>
                      <a:pt x="60" y="31"/>
                      <a:pt x="60" y="31"/>
                      <a:pt x="60" y="31"/>
                    </a:cubicBezTo>
                    <a:cubicBezTo>
                      <a:pt x="58" y="33"/>
                      <a:pt x="58" y="33"/>
                      <a:pt x="58" y="33"/>
                    </a:cubicBezTo>
                    <a:cubicBezTo>
                      <a:pt x="57" y="33"/>
                      <a:pt x="57" y="34"/>
                      <a:pt x="58" y="35"/>
                    </a:cubicBezTo>
                    <a:cubicBezTo>
                      <a:pt x="58" y="37"/>
                      <a:pt x="59" y="38"/>
                      <a:pt x="60" y="40"/>
                    </a:cubicBezTo>
                    <a:cubicBezTo>
                      <a:pt x="60" y="41"/>
                      <a:pt x="61" y="42"/>
                      <a:pt x="62" y="42"/>
                    </a:cubicBezTo>
                    <a:cubicBezTo>
                      <a:pt x="64" y="42"/>
                      <a:pt x="64" y="42"/>
                      <a:pt x="64" y="42"/>
                    </a:cubicBezTo>
                    <a:cubicBezTo>
                      <a:pt x="64" y="46"/>
                      <a:pt x="64" y="46"/>
                      <a:pt x="64" y="46"/>
                    </a:cubicBezTo>
                    <a:cubicBezTo>
                      <a:pt x="62" y="46"/>
                      <a:pt x="62" y="46"/>
                      <a:pt x="62" y="46"/>
                    </a:cubicBezTo>
                    <a:cubicBezTo>
                      <a:pt x="61" y="46"/>
                      <a:pt x="60" y="46"/>
                      <a:pt x="60" y="47"/>
                    </a:cubicBezTo>
                    <a:cubicBezTo>
                      <a:pt x="59" y="49"/>
                      <a:pt x="58" y="51"/>
                      <a:pt x="58" y="52"/>
                    </a:cubicBezTo>
                    <a:cubicBezTo>
                      <a:pt x="57" y="53"/>
                      <a:pt x="57" y="54"/>
                      <a:pt x="58" y="55"/>
                    </a:cubicBezTo>
                    <a:cubicBezTo>
                      <a:pt x="60" y="56"/>
                      <a:pt x="60" y="56"/>
                      <a:pt x="60" y="56"/>
                    </a:cubicBezTo>
                    <a:cubicBezTo>
                      <a:pt x="57" y="59"/>
                      <a:pt x="57" y="59"/>
                      <a:pt x="57" y="59"/>
                    </a:cubicBezTo>
                    <a:cubicBezTo>
                      <a:pt x="55" y="57"/>
                      <a:pt x="55" y="57"/>
                      <a:pt x="55" y="57"/>
                    </a:cubicBezTo>
                    <a:cubicBezTo>
                      <a:pt x="54" y="57"/>
                      <a:pt x="53" y="57"/>
                      <a:pt x="53" y="57"/>
                    </a:cubicBezTo>
                    <a:cubicBezTo>
                      <a:pt x="51" y="58"/>
                      <a:pt x="49" y="59"/>
                      <a:pt x="48" y="59"/>
                    </a:cubicBezTo>
                    <a:cubicBezTo>
                      <a:pt x="47" y="59"/>
                      <a:pt x="46" y="60"/>
                      <a:pt x="46" y="61"/>
                    </a:cubicBezTo>
                    <a:cubicBezTo>
                      <a:pt x="46" y="64"/>
                      <a:pt x="46" y="64"/>
                      <a:pt x="46" y="64"/>
                    </a:cubicBezTo>
                    <a:cubicBezTo>
                      <a:pt x="42" y="64"/>
                      <a:pt x="42" y="64"/>
                      <a:pt x="42" y="64"/>
                    </a:cubicBezTo>
                    <a:cubicBezTo>
                      <a:pt x="42" y="61"/>
                      <a:pt x="42" y="61"/>
                      <a:pt x="42" y="61"/>
                    </a:cubicBezTo>
                    <a:cubicBezTo>
                      <a:pt x="42" y="60"/>
                      <a:pt x="41" y="59"/>
                      <a:pt x="40" y="59"/>
                    </a:cubicBezTo>
                    <a:cubicBezTo>
                      <a:pt x="39" y="59"/>
                      <a:pt x="37" y="58"/>
                      <a:pt x="35" y="57"/>
                    </a:cubicBezTo>
                    <a:cubicBezTo>
                      <a:pt x="35" y="57"/>
                      <a:pt x="34" y="57"/>
                      <a:pt x="33" y="57"/>
                    </a:cubicBezTo>
                    <a:cubicBezTo>
                      <a:pt x="31" y="59"/>
                      <a:pt x="31" y="59"/>
                      <a:pt x="31" y="59"/>
                    </a:cubicBezTo>
                    <a:cubicBezTo>
                      <a:pt x="28" y="56"/>
                      <a:pt x="28" y="56"/>
                      <a:pt x="28" y="56"/>
                    </a:cubicBezTo>
                    <a:cubicBezTo>
                      <a:pt x="30" y="55"/>
                      <a:pt x="30" y="55"/>
                      <a:pt x="30" y="55"/>
                    </a:cubicBezTo>
                    <a:cubicBezTo>
                      <a:pt x="31" y="54"/>
                      <a:pt x="31" y="53"/>
                      <a:pt x="30" y="52"/>
                    </a:cubicBezTo>
                    <a:cubicBezTo>
                      <a:pt x="30" y="51"/>
                      <a:pt x="29" y="49"/>
                      <a:pt x="28" y="47"/>
                    </a:cubicBezTo>
                    <a:cubicBezTo>
                      <a:pt x="28" y="46"/>
                      <a:pt x="27" y="46"/>
                      <a:pt x="26" y="46"/>
                    </a:cubicBezTo>
                    <a:cubicBezTo>
                      <a:pt x="24" y="46"/>
                      <a:pt x="24" y="46"/>
                      <a:pt x="24" y="46"/>
                    </a:cubicBezTo>
                    <a:cubicBezTo>
                      <a:pt x="24" y="42"/>
                      <a:pt x="24" y="42"/>
                      <a:pt x="24" y="42"/>
                    </a:cubicBezTo>
                    <a:cubicBezTo>
                      <a:pt x="26" y="42"/>
                      <a:pt x="26" y="42"/>
                      <a:pt x="26" y="42"/>
                    </a:cubicBezTo>
                    <a:cubicBezTo>
                      <a:pt x="27" y="42"/>
                      <a:pt x="28" y="41"/>
                      <a:pt x="28" y="40"/>
                    </a:cubicBezTo>
                    <a:cubicBezTo>
                      <a:pt x="29" y="38"/>
                      <a:pt x="30" y="37"/>
                      <a:pt x="30" y="35"/>
                    </a:cubicBezTo>
                    <a:cubicBezTo>
                      <a:pt x="31" y="34"/>
                      <a:pt x="31" y="33"/>
                      <a:pt x="30" y="33"/>
                    </a:cubicBezTo>
                    <a:cubicBezTo>
                      <a:pt x="28" y="31"/>
                      <a:pt x="28" y="31"/>
                      <a:pt x="28" y="31"/>
                    </a:cubicBezTo>
                    <a:cubicBezTo>
                      <a:pt x="31" y="28"/>
                      <a:pt x="31" y="28"/>
                      <a:pt x="31" y="28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0"/>
                      <a:pt x="35" y="31"/>
                      <a:pt x="35" y="30"/>
                    </a:cubicBezTo>
                    <a:cubicBezTo>
                      <a:pt x="37" y="29"/>
                      <a:pt x="39" y="28"/>
                      <a:pt x="40" y="28"/>
                    </a:cubicBezTo>
                    <a:cubicBezTo>
                      <a:pt x="41" y="28"/>
                      <a:pt x="42" y="27"/>
                      <a:pt x="42" y="26"/>
                    </a:cubicBezTo>
                    <a:lnTo>
                      <a:pt x="42" y="24"/>
                    </a:lnTo>
                    <a:close/>
                    <a:moveTo>
                      <a:pt x="3" y="28"/>
                    </a:moveTo>
                    <a:cubicBezTo>
                      <a:pt x="2" y="31"/>
                      <a:pt x="2" y="31"/>
                      <a:pt x="2" y="31"/>
                    </a:cubicBezTo>
                    <a:cubicBezTo>
                      <a:pt x="2" y="31"/>
                      <a:pt x="2" y="31"/>
                      <a:pt x="2" y="31"/>
                    </a:cubicBezTo>
                    <a:cubicBezTo>
                      <a:pt x="2" y="32"/>
                      <a:pt x="2" y="32"/>
                      <a:pt x="2" y="32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7" y="30"/>
                      <a:pt x="7" y="30"/>
                      <a:pt x="7" y="30"/>
                    </a:cubicBezTo>
                    <a:lnTo>
                      <a:pt x="3" y="28"/>
                    </a:lnTo>
                    <a:close/>
                    <a:moveTo>
                      <a:pt x="86" y="31"/>
                    </a:moveTo>
                    <a:cubicBezTo>
                      <a:pt x="83" y="32"/>
                      <a:pt x="83" y="32"/>
                      <a:pt x="83" y="32"/>
                    </a:cubicBezTo>
                    <a:cubicBezTo>
                      <a:pt x="82" y="32"/>
                      <a:pt x="82" y="32"/>
                      <a:pt x="82" y="32"/>
                    </a:cubicBezTo>
                    <a:cubicBezTo>
                      <a:pt x="82" y="32"/>
                      <a:pt x="82" y="32"/>
                      <a:pt x="82" y="32"/>
                    </a:cubicBezTo>
                    <a:cubicBezTo>
                      <a:pt x="82" y="32"/>
                      <a:pt x="82" y="32"/>
                      <a:pt x="82" y="32"/>
                    </a:cubicBezTo>
                    <a:cubicBezTo>
                      <a:pt x="82" y="32"/>
                      <a:pt x="82" y="32"/>
                      <a:pt x="82" y="32"/>
                    </a:cubicBezTo>
                    <a:cubicBezTo>
                      <a:pt x="82" y="32"/>
                      <a:pt x="82" y="32"/>
                      <a:pt x="82" y="32"/>
                    </a:cubicBezTo>
                    <a:cubicBezTo>
                      <a:pt x="83" y="36"/>
                      <a:pt x="83" y="36"/>
                      <a:pt x="83" y="36"/>
                    </a:cubicBezTo>
                    <a:cubicBezTo>
                      <a:pt x="83" y="36"/>
                      <a:pt x="83" y="36"/>
                      <a:pt x="83" y="36"/>
                    </a:cubicBezTo>
                    <a:cubicBezTo>
                      <a:pt x="83" y="36"/>
                      <a:pt x="83" y="36"/>
                      <a:pt x="83" y="36"/>
                    </a:cubicBezTo>
                    <a:cubicBezTo>
                      <a:pt x="83" y="36"/>
                      <a:pt x="83" y="36"/>
                      <a:pt x="83" y="36"/>
                    </a:cubicBezTo>
                    <a:cubicBezTo>
                      <a:pt x="83" y="36"/>
                      <a:pt x="83" y="36"/>
                      <a:pt x="83" y="36"/>
                    </a:cubicBezTo>
                    <a:cubicBezTo>
                      <a:pt x="87" y="35"/>
                      <a:pt x="87" y="35"/>
                      <a:pt x="87" y="35"/>
                    </a:cubicBezTo>
                    <a:cubicBezTo>
                      <a:pt x="87" y="35"/>
                      <a:pt x="87" y="35"/>
                      <a:pt x="87" y="35"/>
                    </a:cubicBezTo>
                    <a:cubicBezTo>
                      <a:pt x="87" y="35"/>
                      <a:pt x="87" y="35"/>
                      <a:pt x="87" y="35"/>
                    </a:cubicBezTo>
                    <a:cubicBezTo>
                      <a:pt x="86" y="31"/>
                      <a:pt x="86" y="31"/>
                      <a:pt x="86" y="31"/>
                    </a:cubicBezTo>
                    <a:cubicBezTo>
                      <a:pt x="86" y="31"/>
                      <a:pt x="86" y="31"/>
                      <a:pt x="86" y="31"/>
                    </a:cubicBezTo>
                    <a:close/>
                    <a:moveTo>
                      <a:pt x="44" y="34"/>
                    </a:moveTo>
                    <a:cubicBezTo>
                      <a:pt x="39" y="34"/>
                      <a:pt x="34" y="38"/>
                      <a:pt x="34" y="44"/>
                    </a:cubicBezTo>
                    <a:cubicBezTo>
                      <a:pt x="34" y="49"/>
                      <a:pt x="39" y="54"/>
                      <a:pt x="44" y="54"/>
                    </a:cubicBezTo>
                    <a:cubicBezTo>
                      <a:pt x="49" y="54"/>
                      <a:pt x="54" y="49"/>
                      <a:pt x="54" y="44"/>
                    </a:cubicBezTo>
                    <a:cubicBezTo>
                      <a:pt x="54" y="38"/>
                      <a:pt x="49" y="34"/>
                      <a:pt x="44" y="34"/>
                    </a:cubicBezTo>
                    <a:close/>
                    <a:moveTo>
                      <a:pt x="44" y="38"/>
                    </a:moveTo>
                    <a:cubicBezTo>
                      <a:pt x="47" y="38"/>
                      <a:pt x="50" y="40"/>
                      <a:pt x="50" y="44"/>
                    </a:cubicBezTo>
                    <a:cubicBezTo>
                      <a:pt x="50" y="47"/>
                      <a:pt x="47" y="50"/>
                      <a:pt x="44" y="50"/>
                    </a:cubicBezTo>
                    <a:cubicBezTo>
                      <a:pt x="41" y="50"/>
                      <a:pt x="38" y="47"/>
                      <a:pt x="38" y="44"/>
                    </a:cubicBezTo>
                    <a:cubicBezTo>
                      <a:pt x="38" y="40"/>
                      <a:pt x="41" y="38"/>
                      <a:pt x="44" y="38"/>
                    </a:cubicBezTo>
                    <a:close/>
                    <a:moveTo>
                      <a:pt x="0" y="41"/>
                    </a:moveTo>
                    <a:cubicBezTo>
                      <a:pt x="0" y="43"/>
                      <a:pt x="0" y="43"/>
                      <a:pt x="0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0" y="45"/>
                      <a:pt x="0" y="45"/>
                      <a:pt x="0" y="45"/>
                    </a:cubicBezTo>
                    <a:cubicBezTo>
                      <a:pt x="4" y="45"/>
                      <a:pt x="4" y="45"/>
                      <a:pt x="4" y="45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4" y="41"/>
                      <a:pt x="4" y="41"/>
                      <a:pt x="4" y="41"/>
                    </a:cubicBezTo>
                    <a:lnTo>
                      <a:pt x="0" y="41"/>
                    </a:lnTo>
                    <a:close/>
                    <a:moveTo>
                      <a:pt x="84" y="43"/>
                    </a:moveTo>
                    <a:cubicBezTo>
                      <a:pt x="84" y="46"/>
                      <a:pt x="84" y="46"/>
                      <a:pt x="84" y="46"/>
                    </a:cubicBezTo>
                    <a:cubicBezTo>
                      <a:pt x="84" y="47"/>
                      <a:pt x="84" y="47"/>
                      <a:pt x="84" y="47"/>
                    </a:cubicBezTo>
                    <a:cubicBezTo>
                      <a:pt x="88" y="48"/>
                      <a:pt x="88" y="48"/>
                      <a:pt x="88" y="48"/>
                    </a:cubicBezTo>
                    <a:cubicBezTo>
                      <a:pt x="88" y="46"/>
                      <a:pt x="88" y="46"/>
                      <a:pt x="88" y="46"/>
                    </a:cubicBezTo>
                    <a:cubicBezTo>
                      <a:pt x="88" y="46"/>
                      <a:pt x="88" y="46"/>
                      <a:pt x="88" y="46"/>
                    </a:cubicBezTo>
                    <a:cubicBezTo>
                      <a:pt x="88" y="43"/>
                      <a:pt x="88" y="43"/>
                      <a:pt x="88" y="43"/>
                    </a:cubicBezTo>
                    <a:lnTo>
                      <a:pt x="84" y="43"/>
                    </a:lnTo>
                    <a:close/>
                    <a:moveTo>
                      <a:pt x="5" y="52"/>
                    </a:moveTo>
                    <a:cubicBezTo>
                      <a:pt x="1" y="53"/>
                      <a:pt x="1" y="53"/>
                      <a:pt x="1" y="53"/>
                    </a:cubicBezTo>
                    <a:cubicBezTo>
                      <a:pt x="1" y="54"/>
                      <a:pt x="1" y="54"/>
                      <a:pt x="1" y="54"/>
                    </a:cubicBezTo>
                    <a:cubicBezTo>
                      <a:pt x="1" y="54"/>
                      <a:pt x="1" y="54"/>
                      <a:pt x="1" y="54"/>
                    </a:cubicBezTo>
                    <a:cubicBezTo>
                      <a:pt x="2" y="57"/>
                      <a:pt x="2" y="57"/>
                      <a:pt x="2" y="57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5" y="53"/>
                      <a:pt x="5" y="53"/>
                      <a:pt x="5" y="53"/>
                    </a:cubicBezTo>
                    <a:lnTo>
                      <a:pt x="5" y="52"/>
                    </a:lnTo>
                    <a:close/>
                    <a:moveTo>
                      <a:pt x="83" y="55"/>
                    </a:moveTo>
                    <a:cubicBezTo>
                      <a:pt x="82" y="56"/>
                      <a:pt x="82" y="56"/>
                      <a:pt x="82" y="56"/>
                    </a:cubicBezTo>
                    <a:cubicBezTo>
                      <a:pt x="82" y="56"/>
                      <a:pt x="82" y="56"/>
                      <a:pt x="82" y="56"/>
                    </a:cubicBezTo>
                    <a:cubicBezTo>
                      <a:pt x="81" y="58"/>
                      <a:pt x="81" y="58"/>
                      <a:pt x="81" y="58"/>
                    </a:cubicBezTo>
                    <a:cubicBezTo>
                      <a:pt x="85" y="60"/>
                      <a:pt x="85" y="60"/>
                      <a:pt x="85" y="60"/>
                    </a:cubicBezTo>
                    <a:cubicBezTo>
                      <a:pt x="86" y="57"/>
                      <a:pt x="86" y="57"/>
                      <a:pt x="86" y="57"/>
                    </a:cubicBezTo>
                    <a:cubicBezTo>
                      <a:pt x="86" y="57"/>
                      <a:pt x="86" y="57"/>
                      <a:pt x="86" y="57"/>
                    </a:cubicBezTo>
                    <a:cubicBezTo>
                      <a:pt x="86" y="56"/>
                      <a:pt x="86" y="56"/>
                      <a:pt x="86" y="56"/>
                    </a:cubicBezTo>
                    <a:lnTo>
                      <a:pt x="83" y="55"/>
                    </a:lnTo>
                    <a:close/>
                    <a:moveTo>
                      <a:pt x="9" y="63"/>
                    </a:moveTo>
                    <a:cubicBezTo>
                      <a:pt x="5" y="65"/>
                      <a:pt x="5" y="65"/>
                      <a:pt x="5" y="65"/>
                    </a:cubicBezTo>
                    <a:cubicBezTo>
                      <a:pt x="7" y="67"/>
                      <a:pt x="7" y="67"/>
                      <a:pt x="7" y="67"/>
                    </a:cubicBezTo>
                    <a:cubicBezTo>
                      <a:pt x="7" y="67"/>
                      <a:pt x="7" y="67"/>
                      <a:pt x="7" y="67"/>
                    </a:cubicBezTo>
                    <a:cubicBezTo>
                      <a:pt x="7" y="68"/>
                      <a:pt x="7" y="68"/>
                      <a:pt x="7" y="68"/>
                    </a:cubicBezTo>
                    <a:cubicBezTo>
                      <a:pt x="11" y="66"/>
                      <a:pt x="11" y="66"/>
                      <a:pt x="11" y="66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10" y="65"/>
                      <a:pt x="10" y="65"/>
                      <a:pt x="10" y="65"/>
                    </a:cubicBezTo>
                    <a:lnTo>
                      <a:pt x="9" y="63"/>
                    </a:lnTo>
                    <a:close/>
                    <a:moveTo>
                      <a:pt x="78" y="65"/>
                    </a:moveTo>
                    <a:cubicBezTo>
                      <a:pt x="76" y="68"/>
                      <a:pt x="76" y="68"/>
                      <a:pt x="76" y="68"/>
                    </a:cubicBezTo>
                    <a:cubicBezTo>
                      <a:pt x="76" y="68"/>
                      <a:pt x="76" y="68"/>
                      <a:pt x="76" y="68"/>
                    </a:cubicBezTo>
                    <a:cubicBezTo>
                      <a:pt x="76" y="68"/>
                      <a:pt x="76" y="68"/>
                      <a:pt x="76" y="68"/>
                    </a:cubicBezTo>
                    <a:cubicBezTo>
                      <a:pt x="79" y="71"/>
                      <a:pt x="79" y="71"/>
                      <a:pt x="79" y="71"/>
                    </a:cubicBezTo>
                    <a:cubicBezTo>
                      <a:pt x="79" y="70"/>
                      <a:pt x="79" y="70"/>
                      <a:pt x="79" y="70"/>
                    </a:cubicBezTo>
                    <a:cubicBezTo>
                      <a:pt x="79" y="70"/>
                      <a:pt x="79" y="70"/>
                      <a:pt x="79" y="70"/>
                    </a:cubicBezTo>
                    <a:cubicBezTo>
                      <a:pt x="81" y="67"/>
                      <a:pt x="81" y="67"/>
                      <a:pt x="81" y="67"/>
                    </a:cubicBezTo>
                    <a:lnTo>
                      <a:pt x="78" y="65"/>
                    </a:lnTo>
                    <a:close/>
                    <a:moveTo>
                      <a:pt x="16" y="72"/>
                    </a:moveTo>
                    <a:cubicBezTo>
                      <a:pt x="13" y="75"/>
                      <a:pt x="13" y="75"/>
                      <a:pt x="13" y="75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4" y="76"/>
                      <a:pt x="14" y="76"/>
                      <a:pt x="14" y="76"/>
                    </a:cubicBezTo>
                    <a:cubicBezTo>
                      <a:pt x="16" y="78"/>
                      <a:pt x="16" y="78"/>
                      <a:pt x="16" y="78"/>
                    </a:cubicBezTo>
                    <a:cubicBezTo>
                      <a:pt x="18" y="75"/>
                      <a:pt x="18" y="75"/>
                      <a:pt x="18" y="75"/>
                    </a:cubicBezTo>
                    <a:cubicBezTo>
                      <a:pt x="17" y="73"/>
                      <a:pt x="17" y="73"/>
                      <a:pt x="17" y="73"/>
                    </a:cubicBezTo>
                    <a:lnTo>
                      <a:pt x="16" y="72"/>
                    </a:lnTo>
                    <a:close/>
                    <a:moveTo>
                      <a:pt x="71" y="74"/>
                    </a:moveTo>
                    <a:cubicBezTo>
                      <a:pt x="69" y="75"/>
                      <a:pt x="69" y="75"/>
                      <a:pt x="69" y="75"/>
                    </a:cubicBezTo>
                    <a:cubicBezTo>
                      <a:pt x="68" y="76"/>
                      <a:pt x="68" y="76"/>
                      <a:pt x="68" y="76"/>
                    </a:cubicBezTo>
                    <a:cubicBezTo>
                      <a:pt x="70" y="79"/>
                      <a:pt x="70" y="79"/>
                      <a:pt x="70" y="79"/>
                    </a:cubicBezTo>
                    <a:cubicBezTo>
                      <a:pt x="72" y="78"/>
                      <a:pt x="72" y="78"/>
                      <a:pt x="72" y="78"/>
                    </a:cubicBezTo>
                    <a:cubicBezTo>
                      <a:pt x="72" y="78"/>
                      <a:pt x="72" y="78"/>
                      <a:pt x="72" y="78"/>
                    </a:cubicBezTo>
                    <a:cubicBezTo>
                      <a:pt x="73" y="77"/>
                      <a:pt x="73" y="77"/>
                      <a:pt x="73" y="77"/>
                    </a:cubicBezTo>
                    <a:lnTo>
                      <a:pt x="71" y="74"/>
                    </a:lnTo>
                    <a:close/>
                    <a:moveTo>
                      <a:pt x="83" y="79"/>
                    </a:moveTo>
                    <a:cubicBezTo>
                      <a:pt x="81" y="79"/>
                      <a:pt x="81" y="80"/>
                      <a:pt x="81" y="81"/>
                    </a:cubicBezTo>
                    <a:cubicBezTo>
                      <a:pt x="81" y="83"/>
                      <a:pt x="81" y="83"/>
                      <a:pt x="81" y="83"/>
                    </a:cubicBezTo>
                    <a:cubicBezTo>
                      <a:pt x="80" y="83"/>
                      <a:pt x="79" y="83"/>
                      <a:pt x="79" y="83"/>
                    </a:cubicBezTo>
                    <a:cubicBezTo>
                      <a:pt x="77" y="82"/>
                      <a:pt x="77" y="82"/>
                      <a:pt x="77" y="82"/>
                    </a:cubicBezTo>
                    <a:cubicBezTo>
                      <a:pt x="77" y="81"/>
                      <a:pt x="75" y="81"/>
                      <a:pt x="75" y="82"/>
                    </a:cubicBezTo>
                    <a:cubicBezTo>
                      <a:pt x="70" y="86"/>
                      <a:pt x="70" y="86"/>
                      <a:pt x="70" y="86"/>
                    </a:cubicBezTo>
                    <a:cubicBezTo>
                      <a:pt x="70" y="87"/>
                      <a:pt x="70" y="88"/>
                      <a:pt x="70" y="89"/>
                    </a:cubicBezTo>
                    <a:cubicBezTo>
                      <a:pt x="72" y="90"/>
                      <a:pt x="72" y="90"/>
                      <a:pt x="72" y="90"/>
                    </a:cubicBezTo>
                    <a:cubicBezTo>
                      <a:pt x="71" y="91"/>
                      <a:pt x="71" y="92"/>
                      <a:pt x="71" y="92"/>
                    </a:cubicBezTo>
                    <a:cubicBezTo>
                      <a:pt x="69" y="92"/>
                      <a:pt x="69" y="92"/>
                      <a:pt x="69" y="92"/>
                    </a:cubicBezTo>
                    <a:cubicBezTo>
                      <a:pt x="68" y="92"/>
                      <a:pt x="67" y="93"/>
                      <a:pt x="67" y="94"/>
                    </a:cubicBezTo>
                    <a:cubicBezTo>
                      <a:pt x="67" y="100"/>
                      <a:pt x="67" y="100"/>
                      <a:pt x="67" y="100"/>
                    </a:cubicBezTo>
                    <a:cubicBezTo>
                      <a:pt x="67" y="101"/>
                      <a:pt x="68" y="102"/>
                      <a:pt x="69" y="102"/>
                    </a:cubicBezTo>
                    <a:cubicBezTo>
                      <a:pt x="71" y="102"/>
                      <a:pt x="71" y="102"/>
                      <a:pt x="71" y="102"/>
                    </a:cubicBezTo>
                    <a:cubicBezTo>
                      <a:pt x="71" y="103"/>
                      <a:pt x="71" y="103"/>
                      <a:pt x="72" y="104"/>
                    </a:cubicBezTo>
                    <a:cubicBezTo>
                      <a:pt x="70" y="105"/>
                      <a:pt x="70" y="105"/>
                      <a:pt x="70" y="105"/>
                    </a:cubicBezTo>
                    <a:cubicBezTo>
                      <a:pt x="70" y="106"/>
                      <a:pt x="70" y="107"/>
                      <a:pt x="70" y="108"/>
                    </a:cubicBezTo>
                    <a:cubicBezTo>
                      <a:pt x="75" y="112"/>
                      <a:pt x="75" y="112"/>
                      <a:pt x="75" y="112"/>
                    </a:cubicBezTo>
                    <a:cubicBezTo>
                      <a:pt x="75" y="113"/>
                      <a:pt x="77" y="113"/>
                      <a:pt x="77" y="112"/>
                    </a:cubicBezTo>
                    <a:cubicBezTo>
                      <a:pt x="79" y="111"/>
                      <a:pt x="79" y="111"/>
                      <a:pt x="79" y="111"/>
                    </a:cubicBezTo>
                    <a:cubicBezTo>
                      <a:pt x="79" y="111"/>
                      <a:pt x="80" y="111"/>
                      <a:pt x="81" y="112"/>
                    </a:cubicBezTo>
                    <a:cubicBezTo>
                      <a:pt x="81" y="114"/>
                      <a:pt x="81" y="114"/>
                      <a:pt x="81" y="114"/>
                    </a:cubicBezTo>
                    <a:cubicBezTo>
                      <a:pt x="81" y="115"/>
                      <a:pt x="81" y="116"/>
                      <a:pt x="83" y="116"/>
                    </a:cubicBezTo>
                    <a:cubicBezTo>
                      <a:pt x="89" y="116"/>
                      <a:pt x="89" y="116"/>
                      <a:pt x="89" y="116"/>
                    </a:cubicBezTo>
                    <a:cubicBezTo>
                      <a:pt x="90" y="116"/>
                      <a:pt x="90" y="115"/>
                      <a:pt x="91" y="114"/>
                    </a:cubicBezTo>
                    <a:cubicBezTo>
                      <a:pt x="91" y="112"/>
                      <a:pt x="91" y="112"/>
                      <a:pt x="91" y="112"/>
                    </a:cubicBezTo>
                    <a:cubicBezTo>
                      <a:pt x="91" y="111"/>
                      <a:pt x="92" y="111"/>
                      <a:pt x="92" y="111"/>
                    </a:cubicBezTo>
                    <a:cubicBezTo>
                      <a:pt x="94" y="112"/>
                      <a:pt x="94" y="112"/>
                      <a:pt x="94" y="112"/>
                    </a:cubicBezTo>
                    <a:cubicBezTo>
                      <a:pt x="94" y="113"/>
                      <a:pt x="96" y="113"/>
                      <a:pt x="96" y="112"/>
                    </a:cubicBezTo>
                    <a:cubicBezTo>
                      <a:pt x="101" y="108"/>
                      <a:pt x="101" y="108"/>
                      <a:pt x="101" y="108"/>
                    </a:cubicBezTo>
                    <a:cubicBezTo>
                      <a:pt x="101" y="107"/>
                      <a:pt x="101" y="106"/>
                      <a:pt x="101" y="105"/>
                    </a:cubicBezTo>
                    <a:cubicBezTo>
                      <a:pt x="99" y="104"/>
                      <a:pt x="99" y="104"/>
                      <a:pt x="99" y="104"/>
                    </a:cubicBezTo>
                    <a:cubicBezTo>
                      <a:pt x="100" y="103"/>
                      <a:pt x="100" y="103"/>
                      <a:pt x="100" y="102"/>
                    </a:cubicBezTo>
                    <a:cubicBezTo>
                      <a:pt x="102" y="102"/>
                      <a:pt x="102" y="102"/>
                      <a:pt x="102" y="102"/>
                    </a:cubicBezTo>
                    <a:cubicBezTo>
                      <a:pt x="103" y="102"/>
                      <a:pt x="104" y="101"/>
                      <a:pt x="104" y="100"/>
                    </a:cubicBezTo>
                    <a:cubicBezTo>
                      <a:pt x="104" y="94"/>
                      <a:pt x="104" y="94"/>
                      <a:pt x="104" y="94"/>
                    </a:cubicBezTo>
                    <a:cubicBezTo>
                      <a:pt x="104" y="93"/>
                      <a:pt x="103" y="92"/>
                      <a:pt x="102" y="92"/>
                    </a:cubicBezTo>
                    <a:cubicBezTo>
                      <a:pt x="100" y="92"/>
                      <a:pt x="100" y="92"/>
                      <a:pt x="100" y="92"/>
                    </a:cubicBezTo>
                    <a:cubicBezTo>
                      <a:pt x="100" y="92"/>
                      <a:pt x="100" y="91"/>
                      <a:pt x="99" y="90"/>
                    </a:cubicBezTo>
                    <a:cubicBezTo>
                      <a:pt x="101" y="89"/>
                      <a:pt x="101" y="89"/>
                      <a:pt x="101" y="89"/>
                    </a:cubicBezTo>
                    <a:cubicBezTo>
                      <a:pt x="101" y="88"/>
                      <a:pt x="101" y="87"/>
                      <a:pt x="101" y="86"/>
                    </a:cubicBezTo>
                    <a:cubicBezTo>
                      <a:pt x="96" y="82"/>
                      <a:pt x="96" y="82"/>
                      <a:pt x="96" y="82"/>
                    </a:cubicBezTo>
                    <a:cubicBezTo>
                      <a:pt x="96" y="81"/>
                      <a:pt x="94" y="81"/>
                      <a:pt x="94" y="82"/>
                    </a:cubicBezTo>
                    <a:cubicBezTo>
                      <a:pt x="92" y="83"/>
                      <a:pt x="92" y="83"/>
                      <a:pt x="92" y="83"/>
                    </a:cubicBezTo>
                    <a:cubicBezTo>
                      <a:pt x="92" y="83"/>
                      <a:pt x="91" y="83"/>
                      <a:pt x="91" y="83"/>
                    </a:cubicBezTo>
                    <a:cubicBezTo>
                      <a:pt x="91" y="81"/>
                      <a:pt x="91" y="81"/>
                      <a:pt x="91" y="81"/>
                    </a:cubicBezTo>
                    <a:cubicBezTo>
                      <a:pt x="90" y="80"/>
                      <a:pt x="90" y="79"/>
                      <a:pt x="89" y="79"/>
                    </a:cubicBezTo>
                    <a:lnTo>
                      <a:pt x="83" y="79"/>
                    </a:lnTo>
                    <a:close/>
                    <a:moveTo>
                      <a:pt x="85" y="83"/>
                    </a:moveTo>
                    <a:cubicBezTo>
                      <a:pt x="87" y="83"/>
                      <a:pt x="87" y="83"/>
                      <a:pt x="87" y="83"/>
                    </a:cubicBezTo>
                    <a:cubicBezTo>
                      <a:pt x="87" y="84"/>
                      <a:pt x="87" y="84"/>
                      <a:pt x="87" y="84"/>
                    </a:cubicBezTo>
                    <a:cubicBezTo>
                      <a:pt x="86" y="85"/>
                      <a:pt x="87" y="86"/>
                      <a:pt x="88" y="86"/>
                    </a:cubicBezTo>
                    <a:cubicBezTo>
                      <a:pt x="89" y="86"/>
                      <a:pt x="91" y="87"/>
                      <a:pt x="92" y="87"/>
                    </a:cubicBezTo>
                    <a:cubicBezTo>
                      <a:pt x="92" y="88"/>
                      <a:pt x="93" y="88"/>
                      <a:pt x="94" y="87"/>
                    </a:cubicBezTo>
                    <a:cubicBezTo>
                      <a:pt x="95" y="86"/>
                      <a:pt x="95" y="86"/>
                      <a:pt x="95" y="86"/>
                    </a:cubicBezTo>
                    <a:cubicBezTo>
                      <a:pt x="96" y="88"/>
                      <a:pt x="96" y="88"/>
                      <a:pt x="96" y="88"/>
                    </a:cubicBezTo>
                    <a:cubicBezTo>
                      <a:pt x="96" y="89"/>
                      <a:pt x="96" y="89"/>
                      <a:pt x="96" y="89"/>
                    </a:cubicBezTo>
                    <a:cubicBezTo>
                      <a:pt x="95" y="89"/>
                      <a:pt x="95" y="90"/>
                      <a:pt x="95" y="91"/>
                    </a:cubicBezTo>
                    <a:cubicBezTo>
                      <a:pt x="96" y="92"/>
                      <a:pt x="96" y="93"/>
                      <a:pt x="97" y="95"/>
                    </a:cubicBezTo>
                    <a:cubicBezTo>
                      <a:pt x="97" y="95"/>
                      <a:pt x="98" y="96"/>
                      <a:pt x="99" y="96"/>
                    </a:cubicBezTo>
                    <a:cubicBezTo>
                      <a:pt x="100" y="96"/>
                      <a:pt x="100" y="96"/>
                      <a:pt x="100" y="96"/>
                    </a:cubicBezTo>
                    <a:cubicBezTo>
                      <a:pt x="100" y="98"/>
                      <a:pt x="100" y="98"/>
                      <a:pt x="100" y="98"/>
                    </a:cubicBezTo>
                    <a:cubicBezTo>
                      <a:pt x="99" y="98"/>
                      <a:pt x="99" y="98"/>
                      <a:pt x="99" y="98"/>
                    </a:cubicBezTo>
                    <a:cubicBezTo>
                      <a:pt x="98" y="98"/>
                      <a:pt x="97" y="99"/>
                      <a:pt x="97" y="100"/>
                    </a:cubicBezTo>
                    <a:cubicBezTo>
                      <a:pt x="96" y="101"/>
                      <a:pt x="96" y="102"/>
                      <a:pt x="95" y="103"/>
                    </a:cubicBezTo>
                    <a:cubicBezTo>
                      <a:pt x="95" y="104"/>
                      <a:pt x="95" y="105"/>
                      <a:pt x="96" y="106"/>
                    </a:cubicBezTo>
                    <a:cubicBezTo>
                      <a:pt x="96" y="107"/>
                      <a:pt x="96" y="107"/>
                      <a:pt x="96" y="107"/>
                    </a:cubicBezTo>
                    <a:cubicBezTo>
                      <a:pt x="95" y="108"/>
                      <a:pt x="95" y="108"/>
                      <a:pt x="95" y="108"/>
                    </a:cubicBezTo>
                    <a:cubicBezTo>
                      <a:pt x="94" y="107"/>
                      <a:pt x="94" y="107"/>
                      <a:pt x="94" y="107"/>
                    </a:cubicBezTo>
                    <a:cubicBezTo>
                      <a:pt x="93" y="106"/>
                      <a:pt x="92" y="106"/>
                      <a:pt x="92" y="107"/>
                    </a:cubicBezTo>
                    <a:cubicBezTo>
                      <a:pt x="91" y="108"/>
                      <a:pt x="89" y="108"/>
                      <a:pt x="88" y="108"/>
                    </a:cubicBezTo>
                    <a:cubicBezTo>
                      <a:pt x="87" y="109"/>
                      <a:pt x="86" y="109"/>
                      <a:pt x="87" y="110"/>
                    </a:cubicBezTo>
                    <a:cubicBezTo>
                      <a:pt x="87" y="112"/>
                      <a:pt x="87" y="112"/>
                      <a:pt x="87" y="112"/>
                    </a:cubicBezTo>
                    <a:cubicBezTo>
                      <a:pt x="85" y="112"/>
                      <a:pt x="85" y="112"/>
                      <a:pt x="85" y="112"/>
                    </a:cubicBezTo>
                    <a:cubicBezTo>
                      <a:pt x="85" y="110"/>
                      <a:pt x="85" y="110"/>
                      <a:pt x="85" y="110"/>
                    </a:cubicBezTo>
                    <a:cubicBezTo>
                      <a:pt x="85" y="109"/>
                      <a:pt x="84" y="109"/>
                      <a:pt x="83" y="108"/>
                    </a:cubicBezTo>
                    <a:cubicBezTo>
                      <a:pt x="82" y="108"/>
                      <a:pt x="80" y="108"/>
                      <a:pt x="79" y="107"/>
                    </a:cubicBezTo>
                    <a:cubicBezTo>
                      <a:pt x="79" y="106"/>
                      <a:pt x="78" y="106"/>
                      <a:pt x="77" y="107"/>
                    </a:cubicBezTo>
                    <a:cubicBezTo>
                      <a:pt x="76" y="108"/>
                      <a:pt x="76" y="108"/>
                      <a:pt x="76" y="108"/>
                    </a:cubicBezTo>
                    <a:cubicBezTo>
                      <a:pt x="75" y="107"/>
                      <a:pt x="75" y="107"/>
                      <a:pt x="75" y="107"/>
                    </a:cubicBezTo>
                    <a:cubicBezTo>
                      <a:pt x="75" y="106"/>
                      <a:pt x="75" y="106"/>
                      <a:pt x="75" y="106"/>
                    </a:cubicBezTo>
                    <a:cubicBezTo>
                      <a:pt x="76" y="105"/>
                      <a:pt x="76" y="104"/>
                      <a:pt x="76" y="103"/>
                    </a:cubicBezTo>
                    <a:cubicBezTo>
                      <a:pt x="75" y="102"/>
                      <a:pt x="75" y="101"/>
                      <a:pt x="74" y="100"/>
                    </a:cubicBezTo>
                    <a:cubicBezTo>
                      <a:pt x="74" y="99"/>
                      <a:pt x="73" y="98"/>
                      <a:pt x="72" y="98"/>
                    </a:cubicBezTo>
                    <a:cubicBezTo>
                      <a:pt x="71" y="98"/>
                      <a:pt x="71" y="98"/>
                      <a:pt x="71" y="98"/>
                    </a:cubicBezTo>
                    <a:cubicBezTo>
                      <a:pt x="71" y="96"/>
                      <a:pt x="71" y="96"/>
                      <a:pt x="71" y="96"/>
                    </a:cubicBezTo>
                    <a:cubicBezTo>
                      <a:pt x="72" y="96"/>
                      <a:pt x="72" y="96"/>
                      <a:pt x="72" y="96"/>
                    </a:cubicBezTo>
                    <a:cubicBezTo>
                      <a:pt x="73" y="96"/>
                      <a:pt x="74" y="95"/>
                      <a:pt x="74" y="95"/>
                    </a:cubicBezTo>
                    <a:cubicBezTo>
                      <a:pt x="75" y="93"/>
                      <a:pt x="75" y="92"/>
                      <a:pt x="76" y="91"/>
                    </a:cubicBezTo>
                    <a:cubicBezTo>
                      <a:pt x="76" y="90"/>
                      <a:pt x="76" y="89"/>
                      <a:pt x="75" y="89"/>
                    </a:cubicBezTo>
                    <a:cubicBezTo>
                      <a:pt x="75" y="88"/>
                      <a:pt x="75" y="88"/>
                      <a:pt x="75" y="88"/>
                    </a:cubicBezTo>
                    <a:cubicBezTo>
                      <a:pt x="76" y="86"/>
                      <a:pt x="76" y="86"/>
                      <a:pt x="76" y="86"/>
                    </a:cubicBezTo>
                    <a:cubicBezTo>
                      <a:pt x="77" y="87"/>
                      <a:pt x="77" y="87"/>
                      <a:pt x="77" y="87"/>
                    </a:cubicBezTo>
                    <a:cubicBezTo>
                      <a:pt x="78" y="88"/>
                      <a:pt x="79" y="88"/>
                      <a:pt x="79" y="87"/>
                    </a:cubicBezTo>
                    <a:cubicBezTo>
                      <a:pt x="80" y="87"/>
                      <a:pt x="82" y="86"/>
                      <a:pt x="83" y="86"/>
                    </a:cubicBezTo>
                    <a:cubicBezTo>
                      <a:pt x="84" y="86"/>
                      <a:pt x="84" y="85"/>
                      <a:pt x="85" y="84"/>
                    </a:cubicBezTo>
                    <a:lnTo>
                      <a:pt x="85" y="83"/>
                    </a:lnTo>
                    <a:close/>
                    <a:moveTo>
                      <a:pt x="86" y="91"/>
                    </a:moveTo>
                    <a:cubicBezTo>
                      <a:pt x="82" y="91"/>
                      <a:pt x="79" y="94"/>
                      <a:pt x="79" y="97"/>
                    </a:cubicBezTo>
                    <a:cubicBezTo>
                      <a:pt x="79" y="101"/>
                      <a:pt x="82" y="104"/>
                      <a:pt x="86" y="104"/>
                    </a:cubicBezTo>
                    <a:cubicBezTo>
                      <a:pt x="89" y="104"/>
                      <a:pt x="92" y="101"/>
                      <a:pt x="92" y="97"/>
                    </a:cubicBezTo>
                    <a:cubicBezTo>
                      <a:pt x="92" y="94"/>
                      <a:pt x="89" y="91"/>
                      <a:pt x="86" y="91"/>
                    </a:cubicBezTo>
                    <a:close/>
                    <a:moveTo>
                      <a:pt x="86" y="95"/>
                    </a:moveTo>
                    <a:cubicBezTo>
                      <a:pt x="87" y="95"/>
                      <a:pt x="88" y="96"/>
                      <a:pt x="88" y="97"/>
                    </a:cubicBezTo>
                    <a:cubicBezTo>
                      <a:pt x="88" y="99"/>
                      <a:pt x="87" y="100"/>
                      <a:pt x="86" y="100"/>
                    </a:cubicBezTo>
                    <a:cubicBezTo>
                      <a:pt x="84" y="100"/>
                      <a:pt x="83" y="99"/>
                      <a:pt x="83" y="97"/>
                    </a:cubicBezTo>
                    <a:cubicBezTo>
                      <a:pt x="83" y="96"/>
                      <a:pt x="84" y="95"/>
                      <a:pt x="86" y="95"/>
                    </a:cubicBezTo>
                    <a:close/>
                    <a:moveTo>
                      <a:pt x="32" y="99"/>
                    </a:moveTo>
                    <a:cubicBezTo>
                      <a:pt x="44" y="99"/>
                      <a:pt x="44" y="99"/>
                      <a:pt x="44" y="99"/>
                    </a:cubicBezTo>
                    <a:cubicBezTo>
                      <a:pt x="44" y="99"/>
                      <a:pt x="44" y="99"/>
                      <a:pt x="44" y="99"/>
                    </a:cubicBezTo>
                    <a:cubicBezTo>
                      <a:pt x="56" y="99"/>
                      <a:pt x="56" y="99"/>
                      <a:pt x="56" y="99"/>
                    </a:cubicBezTo>
                    <a:cubicBezTo>
                      <a:pt x="56" y="112"/>
                      <a:pt x="56" y="112"/>
                      <a:pt x="56" y="112"/>
                    </a:cubicBezTo>
                    <a:cubicBezTo>
                      <a:pt x="32" y="112"/>
                      <a:pt x="32" y="112"/>
                      <a:pt x="32" y="112"/>
                    </a:cubicBezTo>
                    <a:cubicBezTo>
                      <a:pt x="32" y="108"/>
                      <a:pt x="32" y="108"/>
                      <a:pt x="32" y="108"/>
                    </a:cubicBezTo>
                    <a:cubicBezTo>
                      <a:pt x="52" y="108"/>
                      <a:pt x="52" y="108"/>
                      <a:pt x="52" y="108"/>
                    </a:cubicBezTo>
                    <a:cubicBezTo>
                      <a:pt x="52" y="104"/>
                      <a:pt x="52" y="104"/>
                      <a:pt x="52" y="104"/>
                    </a:cubicBezTo>
                    <a:cubicBezTo>
                      <a:pt x="32" y="104"/>
                      <a:pt x="32" y="104"/>
                      <a:pt x="32" y="104"/>
                    </a:cubicBezTo>
                    <a:lnTo>
                      <a:pt x="32" y="99"/>
                    </a:lnTo>
                    <a:close/>
                    <a:moveTo>
                      <a:pt x="34" y="120"/>
                    </a:moveTo>
                    <a:cubicBezTo>
                      <a:pt x="33" y="120"/>
                      <a:pt x="32" y="121"/>
                      <a:pt x="32" y="122"/>
                    </a:cubicBezTo>
                    <a:cubicBezTo>
                      <a:pt x="32" y="123"/>
                      <a:pt x="33" y="124"/>
                      <a:pt x="34" y="124"/>
                    </a:cubicBezTo>
                    <a:cubicBezTo>
                      <a:pt x="54" y="124"/>
                      <a:pt x="54" y="124"/>
                      <a:pt x="54" y="124"/>
                    </a:cubicBezTo>
                    <a:cubicBezTo>
                      <a:pt x="55" y="124"/>
                      <a:pt x="56" y="123"/>
                      <a:pt x="56" y="122"/>
                    </a:cubicBezTo>
                    <a:cubicBezTo>
                      <a:pt x="56" y="121"/>
                      <a:pt x="55" y="120"/>
                      <a:pt x="54" y="120"/>
                    </a:cubicBezTo>
                    <a:cubicBezTo>
                      <a:pt x="54" y="120"/>
                      <a:pt x="54" y="120"/>
                      <a:pt x="54" y="120"/>
                    </a:cubicBezTo>
                    <a:cubicBezTo>
                      <a:pt x="34" y="120"/>
                      <a:pt x="34" y="120"/>
                      <a:pt x="34" y="120"/>
                    </a:cubicBezTo>
                    <a:cubicBezTo>
                      <a:pt x="34" y="120"/>
                      <a:pt x="34" y="120"/>
                      <a:pt x="34" y="120"/>
                    </a:cubicBezTo>
                    <a:close/>
                  </a:path>
                </a:pathLst>
              </a:custGeom>
              <a:solidFill>
                <a:srgbClr val="703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00" dirty="0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FAC2690C-3EF2-4D92-B3C5-608BCB287DED}"/>
                </a:ext>
              </a:extLst>
            </p:cNvPr>
            <p:cNvGrpSpPr/>
            <p:nvPr/>
          </p:nvGrpSpPr>
          <p:grpSpPr>
            <a:xfrm>
              <a:off x="744714" y="1525734"/>
              <a:ext cx="566777" cy="566777"/>
              <a:chOff x="863600" y="2162175"/>
              <a:chExt cx="685800" cy="685800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752E0CE5-53ED-465A-873F-EFCB4C9353A1}"/>
                  </a:ext>
                </a:extLst>
              </p:cNvPr>
              <p:cNvSpPr/>
              <p:nvPr/>
            </p:nvSpPr>
            <p:spPr>
              <a:xfrm>
                <a:off x="863600" y="2162175"/>
                <a:ext cx="685800" cy="6858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Freeform 122">
                <a:extLst>
                  <a:ext uri="{FF2B5EF4-FFF2-40B4-BE49-F238E27FC236}">
                    <a16:creationId xmlns:a16="http://schemas.microsoft.com/office/drawing/2014/main" id="{7E575B0F-EA27-4CB8-A924-A35CC5B8CC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89465" y="2305079"/>
                <a:ext cx="434071" cy="399993"/>
              </a:xfrm>
              <a:custGeom>
                <a:avLst/>
                <a:gdLst>
                  <a:gd name="T0" fmla="*/ 160 w 196"/>
                  <a:gd name="T1" fmla="*/ 18 h 180"/>
                  <a:gd name="T2" fmla="*/ 156 w 196"/>
                  <a:gd name="T3" fmla="*/ 80 h 180"/>
                  <a:gd name="T4" fmla="*/ 138 w 196"/>
                  <a:gd name="T5" fmla="*/ 40 h 180"/>
                  <a:gd name="T6" fmla="*/ 57 w 196"/>
                  <a:gd name="T7" fmla="*/ 40 h 180"/>
                  <a:gd name="T8" fmla="*/ 20 w 196"/>
                  <a:gd name="T9" fmla="*/ 80 h 180"/>
                  <a:gd name="T10" fmla="*/ 18 w 196"/>
                  <a:gd name="T11" fmla="*/ 0 h 180"/>
                  <a:gd name="T12" fmla="*/ 16 w 196"/>
                  <a:gd name="T13" fmla="*/ 82 h 180"/>
                  <a:gd name="T14" fmla="*/ 56 w 196"/>
                  <a:gd name="T15" fmla="*/ 122 h 180"/>
                  <a:gd name="T16" fmla="*/ 96 w 196"/>
                  <a:gd name="T17" fmla="*/ 140 h 180"/>
                  <a:gd name="T18" fmla="*/ 50 w 196"/>
                  <a:gd name="T19" fmla="*/ 144 h 180"/>
                  <a:gd name="T20" fmla="*/ 68 w 196"/>
                  <a:gd name="T21" fmla="*/ 164 h 180"/>
                  <a:gd name="T22" fmla="*/ 164 w 196"/>
                  <a:gd name="T23" fmla="*/ 162 h 180"/>
                  <a:gd name="T24" fmla="*/ 100 w 196"/>
                  <a:gd name="T25" fmla="*/ 160 h 180"/>
                  <a:gd name="T26" fmla="*/ 138 w 196"/>
                  <a:gd name="T27" fmla="*/ 124 h 180"/>
                  <a:gd name="T28" fmla="*/ 156 w 196"/>
                  <a:gd name="T29" fmla="*/ 84 h 180"/>
                  <a:gd name="T30" fmla="*/ 180 w 196"/>
                  <a:gd name="T31" fmla="*/ 36 h 180"/>
                  <a:gd name="T32" fmla="*/ 18 w 196"/>
                  <a:gd name="T33" fmla="*/ 4 h 180"/>
                  <a:gd name="T34" fmla="*/ 4 w 196"/>
                  <a:gd name="T35" fmla="*/ 18 h 180"/>
                  <a:gd name="T36" fmla="*/ 146 w 196"/>
                  <a:gd name="T37" fmla="*/ 176 h 180"/>
                  <a:gd name="T38" fmla="*/ 59 w 196"/>
                  <a:gd name="T39" fmla="*/ 45 h 180"/>
                  <a:gd name="T40" fmla="*/ 44 w 196"/>
                  <a:gd name="T41" fmla="*/ 80 h 180"/>
                  <a:gd name="T42" fmla="*/ 152 w 196"/>
                  <a:gd name="T43" fmla="*/ 80 h 180"/>
                  <a:gd name="T44" fmla="*/ 137 w 196"/>
                  <a:gd name="T45" fmla="*/ 45 h 180"/>
                  <a:gd name="T46" fmla="*/ 122 w 196"/>
                  <a:gd name="T47" fmla="*/ 114 h 180"/>
                  <a:gd name="T48" fmla="*/ 72 w 196"/>
                  <a:gd name="T49" fmla="*/ 110 h 180"/>
                  <a:gd name="T50" fmla="*/ 96 w 196"/>
                  <a:gd name="T51" fmla="*/ 104 h 180"/>
                  <a:gd name="T52" fmla="*/ 74 w 196"/>
                  <a:gd name="T53" fmla="*/ 114 h 180"/>
                  <a:gd name="T54" fmla="*/ 100 w 196"/>
                  <a:gd name="T55" fmla="*/ 84 h 180"/>
                  <a:gd name="T56" fmla="*/ 100 w 196"/>
                  <a:gd name="T57" fmla="*/ 104 h 180"/>
                  <a:gd name="T58" fmla="*/ 100 w 196"/>
                  <a:gd name="T59" fmla="*/ 60 h 180"/>
                  <a:gd name="T60" fmla="*/ 100 w 196"/>
                  <a:gd name="T61" fmla="*/ 56 h 180"/>
                  <a:gd name="T62" fmla="*/ 100 w 196"/>
                  <a:gd name="T63" fmla="*/ 56 h 180"/>
                  <a:gd name="T64" fmla="*/ 74 w 196"/>
                  <a:gd name="T65" fmla="*/ 50 h 180"/>
                  <a:gd name="T66" fmla="*/ 96 w 196"/>
                  <a:gd name="T67" fmla="*/ 80 h 180"/>
                  <a:gd name="T68" fmla="*/ 96 w 196"/>
                  <a:gd name="T69" fmla="*/ 60 h 180"/>
                  <a:gd name="T70" fmla="*/ 59 w 196"/>
                  <a:gd name="T71" fmla="*/ 119 h 180"/>
                  <a:gd name="T72" fmla="*/ 70 w 196"/>
                  <a:gd name="T73" fmla="*/ 116 h 180"/>
                  <a:gd name="T74" fmla="*/ 70 w 196"/>
                  <a:gd name="T75" fmla="*/ 116 h 180"/>
                  <a:gd name="T76" fmla="*/ 113 w 196"/>
                  <a:gd name="T77" fmla="*/ 134 h 180"/>
                  <a:gd name="T78" fmla="*/ 132 w 196"/>
                  <a:gd name="T79" fmla="*/ 84 h 180"/>
                  <a:gd name="T80" fmla="*/ 127 w 196"/>
                  <a:gd name="T81" fmla="*/ 112 h 180"/>
                  <a:gd name="T82" fmla="*/ 113 w 196"/>
                  <a:gd name="T83" fmla="*/ 30 h 180"/>
                  <a:gd name="T84" fmla="*/ 62 w 196"/>
                  <a:gd name="T85" fmla="*/ 42 h 180"/>
                  <a:gd name="T86" fmla="*/ 50 w 196"/>
                  <a:gd name="T87" fmla="*/ 176 h 180"/>
                  <a:gd name="T88" fmla="*/ 64 w 196"/>
                  <a:gd name="T89" fmla="*/ 162 h 180"/>
                  <a:gd name="T90" fmla="*/ 164 w 196"/>
                  <a:gd name="T91" fmla="*/ 18 h 180"/>
                  <a:gd name="T92" fmla="*/ 178 w 196"/>
                  <a:gd name="T93" fmla="*/ 32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96" h="180">
                    <a:moveTo>
                      <a:pt x="196" y="18"/>
                    </a:moveTo>
                    <a:cubicBezTo>
                      <a:pt x="196" y="8"/>
                      <a:pt x="188" y="0"/>
                      <a:pt x="178" y="0"/>
                    </a:cubicBezTo>
                    <a:cubicBezTo>
                      <a:pt x="168" y="0"/>
                      <a:pt x="160" y="8"/>
                      <a:pt x="160" y="18"/>
                    </a:cubicBezTo>
                    <a:cubicBezTo>
                      <a:pt x="160" y="27"/>
                      <a:pt x="167" y="35"/>
                      <a:pt x="176" y="36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56" y="80"/>
                      <a:pt x="156" y="80"/>
                      <a:pt x="156" y="80"/>
                    </a:cubicBezTo>
                    <a:cubicBezTo>
                      <a:pt x="155" y="65"/>
                      <a:pt x="149" y="52"/>
                      <a:pt x="140" y="42"/>
                    </a:cubicBezTo>
                    <a:cubicBezTo>
                      <a:pt x="140" y="41"/>
                      <a:pt x="140" y="41"/>
                      <a:pt x="139" y="40"/>
                    </a:cubicBezTo>
                    <a:cubicBezTo>
                      <a:pt x="139" y="40"/>
                      <a:pt x="138" y="40"/>
                      <a:pt x="138" y="40"/>
                    </a:cubicBezTo>
                    <a:cubicBezTo>
                      <a:pt x="127" y="30"/>
                      <a:pt x="113" y="24"/>
                      <a:pt x="98" y="24"/>
                    </a:cubicBezTo>
                    <a:cubicBezTo>
                      <a:pt x="83" y="24"/>
                      <a:pt x="69" y="30"/>
                      <a:pt x="58" y="40"/>
                    </a:cubicBezTo>
                    <a:cubicBezTo>
                      <a:pt x="58" y="40"/>
                      <a:pt x="58" y="40"/>
                      <a:pt x="57" y="40"/>
                    </a:cubicBezTo>
                    <a:cubicBezTo>
                      <a:pt x="57" y="40"/>
                      <a:pt x="57" y="41"/>
                      <a:pt x="57" y="41"/>
                    </a:cubicBezTo>
                    <a:cubicBezTo>
                      <a:pt x="47" y="51"/>
                      <a:pt x="41" y="65"/>
                      <a:pt x="40" y="80"/>
                    </a:cubicBezTo>
                    <a:cubicBezTo>
                      <a:pt x="20" y="80"/>
                      <a:pt x="20" y="80"/>
                      <a:pt x="20" y="80"/>
                    </a:cubicBezTo>
                    <a:cubicBezTo>
                      <a:pt x="20" y="36"/>
                      <a:pt x="20" y="36"/>
                      <a:pt x="20" y="36"/>
                    </a:cubicBezTo>
                    <a:cubicBezTo>
                      <a:pt x="29" y="35"/>
                      <a:pt x="36" y="27"/>
                      <a:pt x="36" y="18"/>
                    </a:cubicBezTo>
                    <a:cubicBezTo>
                      <a:pt x="36" y="8"/>
                      <a:pt x="28" y="0"/>
                      <a:pt x="18" y="0"/>
                    </a:cubicBezTo>
                    <a:cubicBezTo>
                      <a:pt x="8" y="0"/>
                      <a:pt x="0" y="8"/>
                      <a:pt x="0" y="18"/>
                    </a:cubicBezTo>
                    <a:cubicBezTo>
                      <a:pt x="0" y="27"/>
                      <a:pt x="7" y="35"/>
                      <a:pt x="16" y="36"/>
                    </a:cubicBezTo>
                    <a:cubicBezTo>
                      <a:pt x="16" y="82"/>
                      <a:pt x="16" y="82"/>
                      <a:pt x="16" y="82"/>
                    </a:cubicBezTo>
                    <a:cubicBezTo>
                      <a:pt x="16" y="83"/>
                      <a:pt x="17" y="84"/>
                      <a:pt x="18" y="84"/>
                    </a:cubicBezTo>
                    <a:cubicBezTo>
                      <a:pt x="40" y="84"/>
                      <a:pt x="40" y="84"/>
                      <a:pt x="40" y="84"/>
                    </a:cubicBezTo>
                    <a:cubicBezTo>
                      <a:pt x="41" y="99"/>
                      <a:pt x="47" y="112"/>
                      <a:pt x="56" y="122"/>
                    </a:cubicBezTo>
                    <a:cubicBezTo>
                      <a:pt x="56" y="123"/>
                      <a:pt x="57" y="123"/>
                      <a:pt x="57" y="124"/>
                    </a:cubicBezTo>
                    <a:cubicBezTo>
                      <a:pt x="57" y="124"/>
                      <a:pt x="58" y="124"/>
                      <a:pt x="59" y="124"/>
                    </a:cubicBezTo>
                    <a:cubicBezTo>
                      <a:pt x="68" y="134"/>
                      <a:pt x="82" y="139"/>
                      <a:pt x="96" y="140"/>
                    </a:cubicBezTo>
                    <a:cubicBezTo>
                      <a:pt x="96" y="160"/>
                      <a:pt x="96" y="160"/>
                      <a:pt x="96" y="160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7" y="151"/>
                      <a:pt x="59" y="144"/>
                      <a:pt x="50" y="144"/>
                    </a:cubicBezTo>
                    <a:cubicBezTo>
                      <a:pt x="40" y="144"/>
                      <a:pt x="32" y="152"/>
                      <a:pt x="32" y="162"/>
                    </a:cubicBezTo>
                    <a:cubicBezTo>
                      <a:pt x="32" y="172"/>
                      <a:pt x="40" y="180"/>
                      <a:pt x="50" y="180"/>
                    </a:cubicBezTo>
                    <a:cubicBezTo>
                      <a:pt x="59" y="180"/>
                      <a:pt x="67" y="173"/>
                      <a:pt x="68" y="164"/>
                    </a:cubicBezTo>
                    <a:cubicBezTo>
                      <a:pt x="128" y="164"/>
                      <a:pt x="128" y="164"/>
                      <a:pt x="128" y="164"/>
                    </a:cubicBezTo>
                    <a:cubicBezTo>
                      <a:pt x="129" y="173"/>
                      <a:pt x="137" y="180"/>
                      <a:pt x="146" y="180"/>
                    </a:cubicBezTo>
                    <a:cubicBezTo>
                      <a:pt x="156" y="180"/>
                      <a:pt x="164" y="172"/>
                      <a:pt x="164" y="162"/>
                    </a:cubicBezTo>
                    <a:cubicBezTo>
                      <a:pt x="164" y="152"/>
                      <a:pt x="156" y="144"/>
                      <a:pt x="146" y="144"/>
                    </a:cubicBezTo>
                    <a:cubicBezTo>
                      <a:pt x="137" y="144"/>
                      <a:pt x="129" y="151"/>
                      <a:pt x="128" y="160"/>
                    </a:cubicBezTo>
                    <a:cubicBezTo>
                      <a:pt x="100" y="160"/>
                      <a:pt x="100" y="160"/>
                      <a:pt x="100" y="160"/>
                    </a:cubicBezTo>
                    <a:cubicBezTo>
                      <a:pt x="100" y="140"/>
                      <a:pt x="100" y="140"/>
                      <a:pt x="100" y="140"/>
                    </a:cubicBezTo>
                    <a:cubicBezTo>
                      <a:pt x="114" y="139"/>
                      <a:pt x="128" y="134"/>
                      <a:pt x="137" y="124"/>
                    </a:cubicBezTo>
                    <a:cubicBezTo>
                      <a:pt x="138" y="124"/>
                      <a:pt x="138" y="124"/>
                      <a:pt x="138" y="124"/>
                    </a:cubicBezTo>
                    <a:cubicBezTo>
                      <a:pt x="138" y="124"/>
                      <a:pt x="139" y="124"/>
                      <a:pt x="139" y="124"/>
                    </a:cubicBezTo>
                    <a:cubicBezTo>
                      <a:pt x="139" y="123"/>
                      <a:pt x="140" y="123"/>
                      <a:pt x="140" y="122"/>
                    </a:cubicBezTo>
                    <a:cubicBezTo>
                      <a:pt x="149" y="112"/>
                      <a:pt x="155" y="99"/>
                      <a:pt x="156" y="84"/>
                    </a:cubicBezTo>
                    <a:cubicBezTo>
                      <a:pt x="178" y="84"/>
                      <a:pt x="178" y="84"/>
                      <a:pt x="178" y="84"/>
                    </a:cubicBezTo>
                    <a:cubicBezTo>
                      <a:pt x="179" y="84"/>
                      <a:pt x="180" y="83"/>
                      <a:pt x="180" y="82"/>
                    </a:cubicBezTo>
                    <a:cubicBezTo>
                      <a:pt x="180" y="36"/>
                      <a:pt x="180" y="36"/>
                      <a:pt x="180" y="36"/>
                    </a:cubicBezTo>
                    <a:cubicBezTo>
                      <a:pt x="189" y="35"/>
                      <a:pt x="196" y="27"/>
                      <a:pt x="196" y="18"/>
                    </a:cubicBezTo>
                    <a:close/>
                    <a:moveTo>
                      <a:pt x="4" y="18"/>
                    </a:moveTo>
                    <a:cubicBezTo>
                      <a:pt x="4" y="10"/>
                      <a:pt x="10" y="4"/>
                      <a:pt x="18" y="4"/>
                    </a:cubicBezTo>
                    <a:cubicBezTo>
                      <a:pt x="26" y="4"/>
                      <a:pt x="32" y="10"/>
                      <a:pt x="32" y="18"/>
                    </a:cubicBezTo>
                    <a:cubicBezTo>
                      <a:pt x="32" y="26"/>
                      <a:pt x="26" y="32"/>
                      <a:pt x="18" y="32"/>
                    </a:cubicBezTo>
                    <a:cubicBezTo>
                      <a:pt x="10" y="32"/>
                      <a:pt x="4" y="26"/>
                      <a:pt x="4" y="18"/>
                    </a:cubicBezTo>
                    <a:close/>
                    <a:moveTo>
                      <a:pt x="146" y="148"/>
                    </a:moveTo>
                    <a:cubicBezTo>
                      <a:pt x="154" y="148"/>
                      <a:pt x="160" y="154"/>
                      <a:pt x="160" y="162"/>
                    </a:cubicBezTo>
                    <a:cubicBezTo>
                      <a:pt x="160" y="170"/>
                      <a:pt x="154" y="176"/>
                      <a:pt x="146" y="176"/>
                    </a:cubicBezTo>
                    <a:cubicBezTo>
                      <a:pt x="138" y="176"/>
                      <a:pt x="132" y="170"/>
                      <a:pt x="132" y="162"/>
                    </a:cubicBezTo>
                    <a:cubicBezTo>
                      <a:pt x="132" y="154"/>
                      <a:pt x="138" y="148"/>
                      <a:pt x="146" y="148"/>
                    </a:cubicBezTo>
                    <a:close/>
                    <a:moveTo>
                      <a:pt x="59" y="45"/>
                    </a:moveTo>
                    <a:cubicBezTo>
                      <a:pt x="62" y="47"/>
                      <a:pt x="66" y="50"/>
                      <a:pt x="69" y="52"/>
                    </a:cubicBezTo>
                    <a:cubicBezTo>
                      <a:pt x="66" y="60"/>
                      <a:pt x="64" y="70"/>
                      <a:pt x="64" y="80"/>
                    </a:cubicBezTo>
                    <a:cubicBezTo>
                      <a:pt x="44" y="80"/>
                      <a:pt x="44" y="80"/>
                      <a:pt x="44" y="80"/>
                    </a:cubicBezTo>
                    <a:cubicBezTo>
                      <a:pt x="45" y="66"/>
                      <a:pt x="50" y="54"/>
                      <a:pt x="59" y="45"/>
                    </a:cubicBezTo>
                    <a:close/>
                    <a:moveTo>
                      <a:pt x="137" y="45"/>
                    </a:moveTo>
                    <a:cubicBezTo>
                      <a:pt x="146" y="54"/>
                      <a:pt x="151" y="66"/>
                      <a:pt x="152" y="80"/>
                    </a:cubicBezTo>
                    <a:cubicBezTo>
                      <a:pt x="132" y="80"/>
                      <a:pt x="132" y="80"/>
                      <a:pt x="132" y="80"/>
                    </a:cubicBezTo>
                    <a:cubicBezTo>
                      <a:pt x="132" y="70"/>
                      <a:pt x="130" y="60"/>
                      <a:pt x="127" y="52"/>
                    </a:cubicBezTo>
                    <a:cubicBezTo>
                      <a:pt x="131" y="50"/>
                      <a:pt x="134" y="48"/>
                      <a:pt x="137" y="45"/>
                    </a:cubicBezTo>
                    <a:close/>
                    <a:moveTo>
                      <a:pt x="100" y="136"/>
                    </a:moveTo>
                    <a:cubicBezTo>
                      <a:pt x="100" y="108"/>
                      <a:pt x="100" y="108"/>
                      <a:pt x="100" y="108"/>
                    </a:cubicBezTo>
                    <a:cubicBezTo>
                      <a:pt x="108" y="108"/>
                      <a:pt x="115" y="110"/>
                      <a:pt x="122" y="114"/>
                    </a:cubicBezTo>
                    <a:cubicBezTo>
                      <a:pt x="117" y="126"/>
                      <a:pt x="109" y="135"/>
                      <a:pt x="100" y="136"/>
                    </a:cubicBezTo>
                    <a:close/>
                    <a:moveTo>
                      <a:pt x="96" y="104"/>
                    </a:moveTo>
                    <a:cubicBezTo>
                      <a:pt x="88" y="104"/>
                      <a:pt x="80" y="106"/>
                      <a:pt x="72" y="110"/>
                    </a:cubicBezTo>
                    <a:cubicBezTo>
                      <a:pt x="70" y="102"/>
                      <a:pt x="68" y="94"/>
                      <a:pt x="68" y="84"/>
                    </a:cubicBezTo>
                    <a:cubicBezTo>
                      <a:pt x="96" y="84"/>
                      <a:pt x="96" y="84"/>
                      <a:pt x="96" y="84"/>
                    </a:cubicBezTo>
                    <a:lnTo>
                      <a:pt x="96" y="104"/>
                    </a:lnTo>
                    <a:close/>
                    <a:moveTo>
                      <a:pt x="96" y="108"/>
                    </a:moveTo>
                    <a:cubicBezTo>
                      <a:pt x="96" y="136"/>
                      <a:pt x="96" y="136"/>
                      <a:pt x="96" y="136"/>
                    </a:cubicBezTo>
                    <a:cubicBezTo>
                      <a:pt x="87" y="135"/>
                      <a:pt x="79" y="126"/>
                      <a:pt x="74" y="114"/>
                    </a:cubicBezTo>
                    <a:cubicBezTo>
                      <a:pt x="81" y="110"/>
                      <a:pt x="88" y="108"/>
                      <a:pt x="96" y="108"/>
                    </a:cubicBezTo>
                    <a:close/>
                    <a:moveTo>
                      <a:pt x="100" y="104"/>
                    </a:moveTo>
                    <a:cubicBezTo>
                      <a:pt x="100" y="84"/>
                      <a:pt x="100" y="84"/>
                      <a:pt x="100" y="84"/>
                    </a:cubicBezTo>
                    <a:cubicBezTo>
                      <a:pt x="128" y="84"/>
                      <a:pt x="128" y="84"/>
                      <a:pt x="128" y="84"/>
                    </a:cubicBezTo>
                    <a:cubicBezTo>
                      <a:pt x="128" y="94"/>
                      <a:pt x="126" y="102"/>
                      <a:pt x="124" y="110"/>
                    </a:cubicBezTo>
                    <a:cubicBezTo>
                      <a:pt x="116" y="106"/>
                      <a:pt x="108" y="104"/>
                      <a:pt x="100" y="104"/>
                    </a:cubicBezTo>
                    <a:close/>
                    <a:moveTo>
                      <a:pt x="128" y="80"/>
                    </a:moveTo>
                    <a:cubicBezTo>
                      <a:pt x="100" y="80"/>
                      <a:pt x="100" y="80"/>
                      <a:pt x="100" y="80"/>
                    </a:cubicBezTo>
                    <a:cubicBezTo>
                      <a:pt x="100" y="60"/>
                      <a:pt x="100" y="60"/>
                      <a:pt x="100" y="60"/>
                    </a:cubicBezTo>
                    <a:cubicBezTo>
                      <a:pt x="108" y="60"/>
                      <a:pt x="116" y="58"/>
                      <a:pt x="124" y="54"/>
                    </a:cubicBezTo>
                    <a:cubicBezTo>
                      <a:pt x="126" y="62"/>
                      <a:pt x="128" y="71"/>
                      <a:pt x="128" y="80"/>
                    </a:cubicBezTo>
                    <a:close/>
                    <a:moveTo>
                      <a:pt x="100" y="56"/>
                    </a:moveTo>
                    <a:cubicBezTo>
                      <a:pt x="100" y="28"/>
                      <a:pt x="100" y="28"/>
                      <a:pt x="100" y="28"/>
                    </a:cubicBezTo>
                    <a:cubicBezTo>
                      <a:pt x="109" y="29"/>
                      <a:pt x="117" y="38"/>
                      <a:pt x="122" y="50"/>
                    </a:cubicBezTo>
                    <a:cubicBezTo>
                      <a:pt x="115" y="54"/>
                      <a:pt x="108" y="56"/>
                      <a:pt x="100" y="56"/>
                    </a:cubicBezTo>
                    <a:close/>
                    <a:moveTo>
                      <a:pt x="96" y="28"/>
                    </a:moveTo>
                    <a:cubicBezTo>
                      <a:pt x="96" y="56"/>
                      <a:pt x="96" y="56"/>
                      <a:pt x="96" y="56"/>
                    </a:cubicBezTo>
                    <a:cubicBezTo>
                      <a:pt x="88" y="56"/>
                      <a:pt x="81" y="54"/>
                      <a:pt x="74" y="50"/>
                    </a:cubicBezTo>
                    <a:cubicBezTo>
                      <a:pt x="79" y="38"/>
                      <a:pt x="87" y="29"/>
                      <a:pt x="96" y="28"/>
                    </a:cubicBezTo>
                    <a:close/>
                    <a:moveTo>
                      <a:pt x="96" y="60"/>
                    </a:moveTo>
                    <a:cubicBezTo>
                      <a:pt x="96" y="80"/>
                      <a:pt x="96" y="80"/>
                      <a:pt x="96" y="80"/>
                    </a:cubicBezTo>
                    <a:cubicBezTo>
                      <a:pt x="68" y="80"/>
                      <a:pt x="68" y="80"/>
                      <a:pt x="68" y="80"/>
                    </a:cubicBezTo>
                    <a:cubicBezTo>
                      <a:pt x="68" y="70"/>
                      <a:pt x="70" y="62"/>
                      <a:pt x="72" y="54"/>
                    </a:cubicBezTo>
                    <a:cubicBezTo>
                      <a:pt x="80" y="58"/>
                      <a:pt x="88" y="60"/>
                      <a:pt x="96" y="60"/>
                    </a:cubicBezTo>
                    <a:close/>
                    <a:moveTo>
                      <a:pt x="64" y="84"/>
                    </a:moveTo>
                    <a:cubicBezTo>
                      <a:pt x="64" y="94"/>
                      <a:pt x="66" y="104"/>
                      <a:pt x="69" y="112"/>
                    </a:cubicBezTo>
                    <a:cubicBezTo>
                      <a:pt x="65" y="114"/>
                      <a:pt x="62" y="116"/>
                      <a:pt x="59" y="119"/>
                    </a:cubicBezTo>
                    <a:cubicBezTo>
                      <a:pt x="50" y="110"/>
                      <a:pt x="45" y="98"/>
                      <a:pt x="44" y="84"/>
                    </a:cubicBezTo>
                    <a:lnTo>
                      <a:pt x="64" y="84"/>
                    </a:lnTo>
                    <a:close/>
                    <a:moveTo>
                      <a:pt x="70" y="116"/>
                    </a:moveTo>
                    <a:cubicBezTo>
                      <a:pt x="74" y="123"/>
                      <a:pt x="78" y="130"/>
                      <a:pt x="83" y="134"/>
                    </a:cubicBezTo>
                    <a:cubicBezTo>
                      <a:pt x="75" y="131"/>
                      <a:pt x="68" y="127"/>
                      <a:pt x="62" y="122"/>
                    </a:cubicBezTo>
                    <a:cubicBezTo>
                      <a:pt x="65" y="120"/>
                      <a:pt x="67" y="117"/>
                      <a:pt x="70" y="116"/>
                    </a:cubicBezTo>
                    <a:close/>
                    <a:moveTo>
                      <a:pt x="126" y="116"/>
                    </a:moveTo>
                    <a:cubicBezTo>
                      <a:pt x="129" y="117"/>
                      <a:pt x="131" y="120"/>
                      <a:pt x="134" y="122"/>
                    </a:cubicBezTo>
                    <a:cubicBezTo>
                      <a:pt x="128" y="127"/>
                      <a:pt x="121" y="131"/>
                      <a:pt x="113" y="134"/>
                    </a:cubicBezTo>
                    <a:cubicBezTo>
                      <a:pt x="118" y="130"/>
                      <a:pt x="122" y="123"/>
                      <a:pt x="126" y="116"/>
                    </a:cubicBezTo>
                    <a:close/>
                    <a:moveTo>
                      <a:pt x="127" y="112"/>
                    </a:moveTo>
                    <a:cubicBezTo>
                      <a:pt x="130" y="104"/>
                      <a:pt x="132" y="94"/>
                      <a:pt x="132" y="84"/>
                    </a:cubicBezTo>
                    <a:cubicBezTo>
                      <a:pt x="152" y="84"/>
                      <a:pt x="152" y="84"/>
                      <a:pt x="152" y="84"/>
                    </a:cubicBezTo>
                    <a:cubicBezTo>
                      <a:pt x="151" y="98"/>
                      <a:pt x="146" y="110"/>
                      <a:pt x="137" y="119"/>
                    </a:cubicBezTo>
                    <a:cubicBezTo>
                      <a:pt x="134" y="116"/>
                      <a:pt x="131" y="114"/>
                      <a:pt x="127" y="112"/>
                    </a:cubicBezTo>
                    <a:close/>
                    <a:moveTo>
                      <a:pt x="134" y="42"/>
                    </a:moveTo>
                    <a:cubicBezTo>
                      <a:pt x="132" y="45"/>
                      <a:pt x="129" y="47"/>
                      <a:pt x="126" y="49"/>
                    </a:cubicBezTo>
                    <a:cubicBezTo>
                      <a:pt x="123" y="41"/>
                      <a:pt x="118" y="35"/>
                      <a:pt x="113" y="30"/>
                    </a:cubicBezTo>
                    <a:cubicBezTo>
                      <a:pt x="121" y="33"/>
                      <a:pt x="128" y="37"/>
                      <a:pt x="134" y="42"/>
                    </a:cubicBezTo>
                    <a:close/>
                    <a:moveTo>
                      <a:pt x="70" y="48"/>
                    </a:moveTo>
                    <a:cubicBezTo>
                      <a:pt x="67" y="46"/>
                      <a:pt x="65" y="44"/>
                      <a:pt x="62" y="42"/>
                    </a:cubicBezTo>
                    <a:cubicBezTo>
                      <a:pt x="68" y="37"/>
                      <a:pt x="75" y="33"/>
                      <a:pt x="83" y="30"/>
                    </a:cubicBezTo>
                    <a:cubicBezTo>
                      <a:pt x="78" y="34"/>
                      <a:pt x="74" y="41"/>
                      <a:pt x="70" y="48"/>
                    </a:cubicBezTo>
                    <a:close/>
                    <a:moveTo>
                      <a:pt x="50" y="176"/>
                    </a:moveTo>
                    <a:cubicBezTo>
                      <a:pt x="42" y="176"/>
                      <a:pt x="36" y="170"/>
                      <a:pt x="36" y="162"/>
                    </a:cubicBezTo>
                    <a:cubicBezTo>
                      <a:pt x="36" y="154"/>
                      <a:pt x="42" y="148"/>
                      <a:pt x="50" y="148"/>
                    </a:cubicBezTo>
                    <a:cubicBezTo>
                      <a:pt x="58" y="148"/>
                      <a:pt x="64" y="154"/>
                      <a:pt x="64" y="162"/>
                    </a:cubicBezTo>
                    <a:cubicBezTo>
                      <a:pt x="64" y="170"/>
                      <a:pt x="58" y="176"/>
                      <a:pt x="50" y="176"/>
                    </a:cubicBezTo>
                    <a:close/>
                    <a:moveTo>
                      <a:pt x="178" y="32"/>
                    </a:moveTo>
                    <a:cubicBezTo>
                      <a:pt x="170" y="32"/>
                      <a:pt x="164" y="26"/>
                      <a:pt x="164" y="18"/>
                    </a:cubicBezTo>
                    <a:cubicBezTo>
                      <a:pt x="164" y="10"/>
                      <a:pt x="170" y="4"/>
                      <a:pt x="178" y="4"/>
                    </a:cubicBezTo>
                    <a:cubicBezTo>
                      <a:pt x="186" y="4"/>
                      <a:pt x="192" y="10"/>
                      <a:pt x="192" y="18"/>
                    </a:cubicBezTo>
                    <a:cubicBezTo>
                      <a:pt x="192" y="26"/>
                      <a:pt x="186" y="32"/>
                      <a:pt x="178" y="32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700" dirty="0"/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E845C33B-415B-4D53-863A-11CDA4174310}"/>
                </a:ext>
              </a:extLst>
            </p:cNvPr>
            <p:cNvGrpSpPr/>
            <p:nvPr/>
          </p:nvGrpSpPr>
          <p:grpSpPr>
            <a:xfrm>
              <a:off x="749986" y="4420532"/>
              <a:ext cx="566777" cy="566777"/>
              <a:chOff x="583122" y="5550920"/>
              <a:chExt cx="685800" cy="685800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B2ACF7B6-0178-4C7C-9A5D-FB0655C9040C}"/>
                  </a:ext>
                </a:extLst>
              </p:cNvPr>
              <p:cNvSpPr/>
              <p:nvPr/>
            </p:nvSpPr>
            <p:spPr>
              <a:xfrm>
                <a:off x="583122" y="5550920"/>
                <a:ext cx="685800" cy="685800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rgbClr val="646EAC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Freeform 87">
                <a:extLst>
                  <a:ext uri="{FF2B5EF4-FFF2-40B4-BE49-F238E27FC236}">
                    <a16:creationId xmlns:a16="http://schemas.microsoft.com/office/drawing/2014/main" id="{E7E3E112-1562-4041-8425-F3178019EE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831" y="5677863"/>
                <a:ext cx="532382" cy="360824"/>
              </a:xfrm>
              <a:custGeom>
                <a:avLst/>
                <a:gdLst>
                  <a:gd name="T0" fmla="*/ 179 w 392"/>
                  <a:gd name="T1" fmla="*/ 106 h 265"/>
                  <a:gd name="T2" fmla="*/ 106 w 392"/>
                  <a:gd name="T3" fmla="*/ 63 h 265"/>
                  <a:gd name="T4" fmla="*/ 103 w 392"/>
                  <a:gd name="T5" fmla="*/ 106 h 265"/>
                  <a:gd name="T6" fmla="*/ 59 w 392"/>
                  <a:gd name="T7" fmla="*/ 103 h 265"/>
                  <a:gd name="T8" fmla="*/ 93 w 392"/>
                  <a:gd name="T9" fmla="*/ 133 h 265"/>
                  <a:gd name="T10" fmla="*/ 0 w 392"/>
                  <a:gd name="T11" fmla="*/ 136 h 265"/>
                  <a:gd name="T12" fmla="*/ 93 w 392"/>
                  <a:gd name="T13" fmla="*/ 179 h 265"/>
                  <a:gd name="T14" fmla="*/ 10 w 392"/>
                  <a:gd name="T15" fmla="*/ 212 h 265"/>
                  <a:gd name="T16" fmla="*/ 58 w 392"/>
                  <a:gd name="T17" fmla="*/ 206 h 265"/>
                  <a:gd name="T18" fmla="*/ 53 w 392"/>
                  <a:gd name="T19" fmla="*/ 226 h 265"/>
                  <a:gd name="T20" fmla="*/ 73 w 392"/>
                  <a:gd name="T21" fmla="*/ 236 h 265"/>
                  <a:gd name="T22" fmla="*/ 315 w 392"/>
                  <a:gd name="T23" fmla="*/ 232 h 265"/>
                  <a:gd name="T24" fmla="*/ 332 w 392"/>
                  <a:gd name="T25" fmla="*/ 236 h 265"/>
                  <a:gd name="T26" fmla="*/ 299 w 392"/>
                  <a:gd name="T27" fmla="*/ 206 h 265"/>
                  <a:gd name="T28" fmla="*/ 392 w 392"/>
                  <a:gd name="T29" fmla="*/ 202 h 265"/>
                  <a:gd name="T30" fmla="*/ 299 w 392"/>
                  <a:gd name="T31" fmla="*/ 159 h 265"/>
                  <a:gd name="T32" fmla="*/ 382 w 392"/>
                  <a:gd name="T33" fmla="*/ 126 h 265"/>
                  <a:gd name="T34" fmla="*/ 333 w 392"/>
                  <a:gd name="T35" fmla="*/ 133 h 265"/>
                  <a:gd name="T36" fmla="*/ 338 w 392"/>
                  <a:gd name="T37" fmla="*/ 112 h 265"/>
                  <a:gd name="T38" fmla="*/ 245 w 392"/>
                  <a:gd name="T39" fmla="*/ 106 h 265"/>
                  <a:gd name="T40" fmla="*/ 275 w 392"/>
                  <a:gd name="T41" fmla="*/ 53 h 265"/>
                  <a:gd name="T42" fmla="*/ 219 w 392"/>
                  <a:gd name="T43" fmla="*/ 67 h 265"/>
                  <a:gd name="T44" fmla="*/ 245 w 392"/>
                  <a:gd name="T45" fmla="*/ 19 h 265"/>
                  <a:gd name="T46" fmla="*/ 152 w 392"/>
                  <a:gd name="T47" fmla="*/ 32 h 265"/>
                  <a:gd name="T48" fmla="*/ 149 w 392"/>
                  <a:gd name="T49" fmla="*/ 13 h 265"/>
                  <a:gd name="T50" fmla="*/ 245 w 392"/>
                  <a:gd name="T51" fmla="*/ 10 h 265"/>
                  <a:gd name="T52" fmla="*/ 116 w 392"/>
                  <a:gd name="T53" fmla="*/ 59 h 265"/>
                  <a:gd name="T54" fmla="*/ 49 w 392"/>
                  <a:gd name="T55" fmla="*/ 99 h 265"/>
                  <a:gd name="T56" fmla="*/ 345 w 392"/>
                  <a:gd name="T57" fmla="*/ 103 h 265"/>
                  <a:gd name="T58" fmla="*/ 292 w 392"/>
                  <a:gd name="T59" fmla="*/ 116 h 265"/>
                  <a:gd name="T60" fmla="*/ 99 w 392"/>
                  <a:gd name="T61" fmla="*/ 232 h 265"/>
                  <a:gd name="T62" fmla="*/ 116 w 392"/>
                  <a:gd name="T63" fmla="*/ 219 h 265"/>
                  <a:gd name="T64" fmla="*/ 173 w 392"/>
                  <a:gd name="T65" fmla="*/ 126 h 265"/>
                  <a:gd name="T66" fmla="*/ 159 w 392"/>
                  <a:gd name="T67" fmla="*/ 181 h 265"/>
                  <a:gd name="T68" fmla="*/ 219 w 392"/>
                  <a:gd name="T69" fmla="*/ 198 h 265"/>
                  <a:gd name="T70" fmla="*/ 217 w 392"/>
                  <a:gd name="T71" fmla="*/ 126 h 265"/>
                  <a:gd name="T72" fmla="*/ 275 w 392"/>
                  <a:gd name="T73" fmla="*/ 219 h 265"/>
                  <a:gd name="T74" fmla="*/ 13 w 392"/>
                  <a:gd name="T75" fmla="*/ 136 h 265"/>
                  <a:gd name="T76" fmla="*/ 225 w 392"/>
                  <a:gd name="T77" fmla="*/ 162 h 265"/>
                  <a:gd name="T78" fmla="*/ 208 w 392"/>
                  <a:gd name="T79" fmla="*/ 212 h 265"/>
                  <a:gd name="T80" fmla="*/ 192 w 392"/>
                  <a:gd name="T81" fmla="*/ 199 h 265"/>
                  <a:gd name="T82" fmla="*/ 176 w 392"/>
                  <a:gd name="T83" fmla="*/ 192 h 265"/>
                  <a:gd name="T84" fmla="*/ 196 w 392"/>
                  <a:gd name="T85" fmla="*/ 133 h 265"/>
                  <a:gd name="T86" fmla="*/ 179 w 392"/>
                  <a:gd name="T87" fmla="*/ 153 h 265"/>
                  <a:gd name="T88" fmla="*/ 186 w 392"/>
                  <a:gd name="T89" fmla="*/ 156 h 265"/>
                  <a:gd name="T90" fmla="*/ 181 w 392"/>
                  <a:gd name="T91" fmla="*/ 160 h 265"/>
                  <a:gd name="T92" fmla="*/ 212 w 392"/>
                  <a:gd name="T93" fmla="*/ 163 h 265"/>
                  <a:gd name="T94" fmla="*/ 200 w 392"/>
                  <a:gd name="T95" fmla="*/ 157 h 265"/>
                  <a:gd name="T96" fmla="*/ 189 w 392"/>
                  <a:gd name="T97" fmla="*/ 179 h 265"/>
                  <a:gd name="T98" fmla="*/ 202 w 392"/>
                  <a:gd name="T99" fmla="*/ 179 h 265"/>
                  <a:gd name="T100" fmla="*/ 10 w 392"/>
                  <a:gd name="T101" fmla="*/ 206 h 265"/>
                  <a:gd name="T102" fmla="*/ 378 w 392"/>
                  <a:gd name="T103" fmla="*/ 202 h 265"/>
                  <a:gd name="T104" fmla="*/ 49 w 392"/>
                  <a:gd name="T105" fmla="*/ 232 h 265"/>
                  <a:gd name="T106" fmla="*/ 79 w 392"/>
                  <a:gd name="T107" fmla="*/ 239 h 265"/>
                  <a:gd name="T108" fmla="*/ 232 w 392"/>
                  <a:gd name="T109" fmla="*/ 239 h 265"/>
                  <a:gd name="T110" fmla="*/ 79 w 392"/>
                  <a:gd name="T111" fmla="*/ 239 h 265"/>
                  <a:gd name="T112" fmla="*/ 168 w 392"/>
                  <a:gd name="T113" fmla="*/ 243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92" h="265">
                    <a:moveTo>
                      <a:pt x="149" y="0"/>
                    </a:moveTo>
                    <a:cubicBezTo>
                      <a:pt x="144" y="0"/>
                      <a:pt x="139" y="4"/>
                      <a:pt x="139" y="10"/>
                    </a:cubicBezTo>
                    <a:cubicBezTo>
                      <a:pt x="139" y="14"/>
                      <a:pt x="142" y="18"/>
                      <a:pt x="146" y="19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79" y="67"/>
                      <a:pt x="179" y="67"/>
                      <a:pt x="179" y="67"/>
                    </a:cubicBezTo>
                    <a:cubicBezTo>
                      <a:pt x="179" y="106"/>
                      <a:pt x="179" y="106"/>
                      <a:pt x="179" y="106"/>
                    </a:cubicBezTo>
                    <a:cubicBezTo>
                      <a:pt x="152" y="106"/>
                      <a:pt x="152" y="106"/>
                      <a:pt x="152" y="106"/>
                    </a:cubicBezTo>
                    <a:cubicBezTo>
                      <a:pt x="152" y="71"/>
                      <a:pt x="152" y="71"/>
                      <a:pt x="152" y="71"/>
                    </a:cubicBezTo>
                    <a:cubicBezTo>
                      <a:pt x="140" y="59"/>
                      <a:pt x="140" y="59"/>
                      <a:pt x="140" y="59"/>
                    </a:cubicBezTo>
                    <a:cubicBezTo>
                      <a:pt x="125" y="59"/>
                      <a:pt x="125" y="59"/>
                      <a:pt x="125" y="59"/>
                    </a:cubicBezTo>
                    <a:cubicBezTo>
                      <a:pt x="124" y="56"/>
                      <a:pt x="120" y="53"/>
                      <a:pt x="116" y="53"/>
                    </a:cubicBezTo>
                    <a:cubicBezTo>
                      <a:pt x="110" y="53"/>
                      <a:pt x="106" y="57"/>
                      <a:pt x="106" y="63"/>
                    </a:cubicBezTo>
                    <a:cubicBezTo>
                      <a:pt x="106" y="68"/>
                      <a:pt x="110" y="73"/>
                      <a:pt x="116" y="73"/>
                    </a:cubicBezTo>
                    <a:cubicBezTo>
                      <a:pt x="120" y="73"/>
                      <a:pt x="124" y="70"/>
                      <a:pt x="125" y="66"/>
                    </a:cubicBezTo>
                    <a:cubicBezTo>
                      <a:pt x="138" y="66"/>
                      <a:pt x="138" y="66"/>
                      <a:pt x="138" y="66"/>
                    </a:cubicBezTo>
                    <a:cubicBezTo>
                      <a:pt x="146" y="74"/>
                      <a:pt x="146" y="74"/>
                      <a:pt x="146" y="74"/>
                    </a:cubicBezTo>
                    <a:cubicBezTo>
                      <a:pt x="146" y="106"/>
                      <a:pt x="146" y="106"/>
                      <a:pt x="146" y="106"/>
                    </a:cubicBezTo>
                    <a:cubicBezTo>
                      <a:pt x="103" y="106"/>
                      <a:pt x="103" y="106"/>
                      <a:pt x="103" y="106"/>
                    </a:cubicBezTo>
                    <a:cubicBezTo>
                      <a:pt x="97" y="106"/>
                      <a:pt x="93" y="111"/>
                      <a:pt x="93" y="116"/>
                    </a:cubicBezTo>
                    <a:cubicBezTo>
                      <a:pt x="93" y="126"/>
                      <a:pt x="93" y="126"/>
                      <a:pt x="93" y="126"/>
                    </a:cubicBezTo>
                    <a:cubicBezTo>
                      <a:pt x="61" y="126"/>
                      <a:pt x="61" y="126"/>
                      <a:pt x="61" y="126"/>
                    </a:cubicBezTo>
                    <a:cubicBezTo>
                      <a:pt x="53" y="118"/>
                      <a:pt x="53" y="118"/>
                      <a:pt x="53" y="118"/>
                    </a:cubicBezTo>
                    <a:cubicBezTo>
                      <a:pt x="53" y="112"/>
                      <a:pt x="53" y="112"/>
                      <a:pt x="53" y="112"/>
                    </a:cubicBezTo>
                    <a:cubicBezTo>
                      <a:pt x="57" y="111"/>
                      <a:pt x="59" y="107"/>
                      <a:pt x="59" y="103"/>
                    </a:cubicBezTo>
                    <a:cubicBezTo>
                      <a:pt x="59" y="97"/>
                      <a:pt x="55" y="93"/>
                      <a:pt x="49" y="93"/>
                    </a:cubicBezTo>
                    <a:cubicBezTo>
                      <a:pt x="44" y="93"/>
                      <a:pt x="39" y="97"/>
                      <a:pt x="39" y="103"/>
                    </a:cubicBezTo>
                    <a:cubicBezTo>
                      <a:pt x="39" y="107"/>
                      <a:pt x="42" y="111"/>
                      <a:pt x="46" y="112"/>
                    </a:cubicBezTo>
                    <a:cubicBezTo>
                      <a:pt x="46" y="121"/>
                      <a:pt x="46" y="121"/>
                      <a:pt x="46" y="121"/>
                    </a:cubicBezTo>
                    <a:cubicBezTo>
                      <a:pt x="58" y="133"/>
                      <a:pt x="58" y="133"/>
                      <a:pt x="58" y="133"/>
                    </a:cubicBezTo>
                    <a:cubicBezTo>
                      <a:pt x="93" y="133"/>
                      <a:pt x="93" y="133"/>
                      <a:pt x="93" y="133"/>
                    </a:cubicBezTo>
                    <a:cubicBezTo>
                      <a:pt x="93" y="152"/>
                      <a:pt x="93" y="152"/>
                      <a:pt x="93" y="152"/>
                    </a:cubicBezTo>
                    <a:cubicBezTo>
                      <a:pt x="54" y="152"/>
                      <a:pt x="54" y="152"/>
                      <a:pt x="54" y="152"/>
                    </a:cubicBezTo>
                    <a:cubicBezTo>
                      <a:pt x="34" y="133"/>
                      <a:pt x="34" y="133"/>
                      <a:pt x="34" y="133"/>
                    </a:cubicBezTo>
                    <a:cubicBezTo>
                      <a:pt x="19" y="133"/>
                      <a:pt x="19" y="133"/>
                      <a:pt x="19" y="133"/>
                    </a:cubicBezTo>
                    <a:cubicBezTo>
                      <a:pt x="18" y="129"/>
                      <a:pt x="14" y="126"/>
                      <a:pt x="10" y="126"/>
                    </a:cubicBezTo>
                    <a:cubicBezTo>
                      <a:pt x="4" y="126"/>
                      <a:pt x="0" y="130"/>
                      <a:pt x="0" y="136"/>
                    </a:cubicBezTo>
                    <a:cubicBezTo>
                      <a:pt x="0" y="141"/>
                      <a:pt x="4" y="146"/>
                      <a:pt x="10" y="146"/>
                    </a:cubicBezTo>
                    <a:cubicBezTo>
                      <a:pt x="14" y="146"/>
                      <a:pt x="18" y="143"/>
                      <a:pt x="19" y="139"/>
                    </a:cubicBezTo>
                    <a:cubicBezTo>
                      <a:pt x="31" y="139"/>
                      <a:pt x="31" y="139"/>
                      <a:pt x="31" y="139"/>
                    </a:cubicBezTo>
                    <a:cubicBezTo>
                      <a:pt x="51" y="159"/>
                      <a:pt x="51" y="159"/>
                      <a:pt x="51" y="159"/>
                    </a:cubicBezTo>
                    <a:cubicBezTo>
                      <a:pt x="93" y="159"/>
                      <a:pt x="93" y="159"/>
                      <a:pt x="93" y="159"/>
                    </a:cubicBezTo>
                    <a:cubicBezTo>
                      <a:pt x="93" y="179"/>
                      <a:pt x="93" y="179"/>
                      <a:pt x="93" y="179"/>
                    </a:cubicBezTo>
                    <a:cubicBezTo>
                      <a:pt x="51" y="179"/>
                      <a:pt x="51" y="179"/>
                      <a:pt x="51" y="179"/>
                    </a:cubicBezTo>
                    <a:cubicBezTo>
                      <a:pt x="31" y="199"/>
                      <a:pt x="31" y="199"/>
                      <a:pt x="31" y="199"/>
                    </a:cubicBezTo>
                    <a:cubicBezTo>
                      <a:pt x="19" y="199"/>
                      <a:pt x="19" y="199"/>
                      <a:pt x="19" y="199"/>
                    </a:cubicBezTo>
                    <a:cubicBezTo>
                      <a:pt x="18" y="195"/>
                      <a:pt x="14" y="192"/>
                      <a:pt x="10" y="192"/>
                    </a:cubicBezTo>
                    <a:cubicBezTo>
                      <a:pt x="4" y="192"/>
                      <a:pt x="0" y="197"/>
                      <a:pt x="0" y="202"/>
                    </a:cubicBezTo>
                    <a:cubicBezTo>
                      <a:pt x="0" y="208"/>
                      <a:pt x="4" y="212"/>
                      <a:pt x="10" y="212"/>
                    </a:cubicBezTo>
                    <a:cubicBezTo>
                      <a:pt x="14" y="212"/>
                      <a:pt x="18" y="209"/>
                      <a:pt x="19" y="206"/>
                    </a:cubicBezTo>
                    <a:cubicBezTo>
                      <a:pt x="34" y="206"/>
                      <a:pt x="34" y="206"/>
                      <a:pt x="34" y="206"/>
                    </a:cubicBezTo>
                    <a:cubicBezTo>
                      <a:pt x="54" y="186"/>
                      <a:pt x="54" y="186"/>
                      <a:pt x="54" y="186"/>
                    </a:cubicBezTo>
                    <a:cubicBezTo>
                      <a:pt x="93" y="186"/>
                      <a:pt x="93" y="186"/>
                      <a:pt x="93" y="186"/>
                    </a:cubicBezTo>
                    <a:cubicBezTo>
                      <a:pt x="93" y="206"/>
                      <a:pt x="93" y="206"/>
                      <a:pt x="93" y="206"/>
                    </a:cubicBezTo>
                    <a:cubicBezTo>
                      <a:pt x="58" y="206"/>
                      <a:pt x="58" y="206"/>
                      <a:pt x="58" y="206"/>
                    </a:cubicBezTo>
                    <a:cubicBezTo>
                      <a:pt x="46" y="218"/>
                      <a:pt x="46" y="218"/>
                      <a:pt x="46" y="218"/>
                    </a:cubicBezTo>
                    <a:cubicBezTo>
                      <a:pt x="46" y="226"/>
                      <a:pt x="46" y="226"/>
                      <a:pt x="46" y="226"/>
                    </a:cubicBezTo>
                    <a:cubicBezTo>
                      <a:pt x="42" y="228"/>
                      <a:pt x="39" y="231"/>
                      <a:pt x="39" y="236"/>
                    </a:cubicBezTo>
                    <a:cubicBezTo>
                      <a:pt x="39" y="241"/>
                      <a:pt x="44" y="246"/>
                      <a:pt x="49" y="246"/>
                    </a:cubicBezTo>
                    <a:cubicBezTo>
                      <a:pt x="55" y="246"/>
                      <a:pt x="59" y="241"/>
                      <a:pt x="59" y="236"/>
                    </a:cubicBezTo>
                    <a:cubicBezTo>
                      <a:pt x="59" y="231"/>
                      <a:pt x="57" y="228"/>
                      <a:pt x="53" y="226"/>
                    </a:cubicBezTo>
                    <a:cubicBezTo>
                      <a:pt x="53" y="220"/>
                      <a:pt x="53" y="220"/>
                      <a:pt x="53" y="220"/>
                    </a:cubicBezTo>
                    <a:cubicBezTo>
                      <a:pt x="61" y="212"/>
                      <a:pt x="61" y="212"/>
                      <a:pt x="61" y="212"/>
                    </a:cubicBezTo>
                    <a:cubicBezTo>
                      <a:pt x="93" y="212"/>
                      <a:pt x="93" y="212"/>
                      <a:pt x="93" y="212"/>
                    </a:cubicBezTo>
                    <a:cubicBezTo>
                      <a:pt x="93" y="232"/>
                      <a:pt x="93" y="232"/>
                      <a:pt x="93" y="232"/>
                    </a:cubicBezTo>
                    <a:cubicBezTo>
                      <a:pt x="76" y="232"/>
                      <a:pt x="76" y="232"/>
                      <a:pt x="76" y="232"/>
                    </a:cubicBezTo>
                    <a:cubicBezTo>
                      <a:pt x="74" y="232"/>
                      <a:pt x="73" y="234"/>
                      <a:pt x="73" y="236"/>
                    </a:cubicBezTo>
                    <a:cubicBezTo>
                      <a:pt x="73" y="244"/>
                      <a:pt x="73" y="244"/>
                      <a:pt x="73" y="244"/>
                    </a:cubicBezTo>
                    <a:cubicBezTo>
                      <a:pt x="73" y="256"/>
                      <a:pt x="82" y="265"/>
                      <a:pt x="93" y="265"/>
                    </a:cubicBezTo>
                    <a:cubicBezTo>
                      <a:pt x="299" y="265"/>
                      <a:pt x="299" y="265"/>
                      <a:pt x="299" y="265"/>
                    </a:cubicBezTo>
                    <a:cubicBezTo>
                      <a:pt x="310" y="265"/>
                      <a:pt x="319" y="256"/>
                      <a:pt x="319" y="244"/>
                    </a:cubicBezTo>
                    <a:cubicBezTo>
                      <a:pt x="319" y="236"/>
                      <a:pt x="319" y="236"/>
                      <a:pt x="319" y="236"/>
                    </a:cubicBezTo>
                    <a:cubicBezTo>
                      <a:pt x="319" y="234"/>
                      <a:pt x="317" y="232"/>
                      <a:pt x="315" y="232"/>
                    </a:cubicBezTo>
                    <a:cubicBezTo>
                      <a:pt x="299" y="232"/>
                      <a:pt x="299" y="232"/>
                      <a:pt x="299" y="232"/>
                    </a:cubicBezTo>
                    <a:cubicBezTo>
                      <a:pt x="299" y="212"/>
                      <a:pt x="299" y="212"/>
                      <a:pt x="299" y="212"/>
                    </a:cubicBezTo>
                    <a:cubicBezTo>
                      <a:pt x="330" y="212"/>
                      <a:pt x="330" y="212"/>
                      <a:pt x="330" y="212"/>
                    </a:cubicBezTo>
                    <a:cubicBezTo>
                      <a:pt x="338" y="220"/>
                      <a:pt x="338" y="220"/>
                      <a:pt x="338" y="220"/>
                    </a:cubicBezTo>
                    <a:cubicBezTo>
                      <a:pt x="338" y="226"/>
                      <a:pt x="338" y="226"/>
                      <a:pt x="338" y="226"/>
                    </a:cubicBezTo>
                    <a:cubicBezTo>
                      <a:pt x="335" y="228"/>
                      <a:pt x="332" y="231"/>
                      <a:pt x="332" y="236"/>
                    </a:cubicBezTo>
                    <a:cubicBezTo>
                      <a:pt x="332" y="241"/>
                      <a:pt x="336" y="246"/>
                      <a:pt x="342" y="246"/>
                    </a:cubicBezTo>
                    <a:cubicBezTo>
                      <a:pt x="347" y="246"/>
                      <a:pt x="352" y="241"/>
                      <a:pt x="352" y="236"/>
                    </a:cubicBezTo>
                    <a:cubicBezTo>
                      <a:pt x="352" y="231"/>
                      <a:pt x="349" y="228"/>
                      <a:pt x="345" y="226"/>
                    </a:cubicBezTo>
                    <a:cubicBezTo>
                      <a:pt x="345" y="218"/>
                      <a:pt x="345" y="218"/>
                      <a:pt x="345" y="218"/>
                    </a:cubicBezTo>
                    <a:cubicBezTo>
                      <a:pt x="333" y="206"/>
                      <a:pt x="333" y="206"/>
                      <a:pt x="333" y="206"/>
                    </a:cubicBezTo>
                    <a:cubicBezTo>
                      <a:pt x="299" y="206"/>
                      <a:pt x="299" y="206"/>
                      <a:pt x="299" y="206"/>
                    </a:cubicBezTo>
                    <a:cubicBezTo>
                      <a:pt x="299" y="186"/>
                      <a:pt x="299" y="186"/>
                      <a:pt x="299" y="186"/>
                    </a:cubicBezTo>
                    <a:cubicBezTo>
                      <a:pt x="337" y="186"/>
                      <a:pt x="337" y="186"/>
                      <a:pt x="337" y="186"/>
                    </a:cubicBezTo>
                    <a:cubicBezTo>
                      <a:pt x="357" y="206"/>
                      <a:pt x="357" y="206"/>
                      <a:pt x="357" y="206"/>
                    </a:cubicBezTo>
                    <a:cubicBezTo>
                      <a:pt x="372" y="206"/>
                      <a:pt x="372" y="206"/>
                      <a:pt x="372" y="206"/>
                    </a:cubicBezTo>
                    <a:cubicBezTo>
                      <a:pt x="374" y="209"/>
                      <a:pt x="377" y="212"/>
                      <a:pt x="382" y="212"/>
                    </a:cubicBezTo>
                    <a:cubicBezTo>
                      <a:pt x="387" y="212"/>
                      <a:pt x="392" y="208"/>
                      <a:pt x="392" y="202"/>
                    </a:cubicBezTo>
                    <a:cubicBezTo>
                      <a:pt x="392" y="197"/>
                      <a:pt x="387" y="192"/>
                      <a:pt x="382" y="192"/>
                    </a:cubicBezTo>
                    <a:cubicBezTo>
                      <a:pt x="377" y="192"/>
                      <a:pt x="374" y="195"/>
                      <a:pt x="372" y="199"/>
                    </a:cubicBezTo>
                    <a:cubicBezTo>
                      <a:pt x="360" y="199"/>
                      <a:pt x="360" y="199"/>
                      <a:pt x="360" y="199"/>
                    </a:cubicBezTo>
                    <a:cubicBezTo>
                      <a:pt x="340" y="179"/>
                      <a:pt x="340" y="179"/>
                      <a:pt x="340" y="179"/>
                    </a:cubicBezTo>
                    <a:cubicBezTo>
                      <a:pt x="299" y="179"/>
                      <a:pt x="299" y="179"/>
                      <a:pt x="299" y="179"/>
                    </a:cubicBezTo>
                    <a:cubicBezTo>
                      <a:pt x="299" y="159"/>
                      <a:pt x="299" y="159"/>
                      <a:pt x="299" y="159"/>
                    </a:cubicBezTo>
                    <a:cubicBezTo>
                      <a:pt x="340" y="159"/>
                      <a:pt x="340" y="159"/>
                      <a:pt x="340" y="159"/>
                    </a:cubicBezTo>
                    <a:cubicBezTo>
                      <a:pt x="360" y="139"/>
                      <a:pt x="360" y="139"/>
                      <a:pt x="360" y="139"/>
                    </a:cubicBezTo>
                    <a:cubicBezTo>
                      <a:pt x="372" y="139"/>
                      <a:pt x="372" y="139"/>
                      <a:pt x="372" y="139"/>
                    </a:cubicBezTo>
                    <a:cubicBezTo>
                      <a:pt x="374" y="143"/>
                      <a:pt x="377" y="146"/>
                      <a:pt x="382" y="146"/>
                    </a:cubicBezTo>
                    <a:cubicBezTo>
                      <a:pt x="387" y="146"/>
                      <a:pt x="392" y="141"/>
                      <a:pt x="392" y="136"/>
                    </a:cubicBezTo>
                    <a:cubicBezTo>
                      <a:pt x="392" y="130"/>
                      <a:pt x="387" y="126"/>
                      <a:pt x="382" y="126"/>
                    </a:cubicBezTo>
                    <a:cubicBezTo>
                      <a:pt x="377" y="126"/>
                      <a:pt x="374" y="129"/>
                      <a:pt x="372" y="133"/>
                    </a:cubicBezTo>
                    <a:cubicBezTo>
                      <a:pt x="357" y="133"/>
                      <a:pt x="357" y="133"/>
                      <a:pt x="357" y="133"/>
                    </a:cubicBezTo>
                    <a:cubicBezTo>
                      <a:pt x="337" y="152"/>
                      <a:pt x="337" y="152"/>
                      <a:pt x="337" y="152"/>
                    </a:cubicBezTo>
                    <a:cubicBezTo>
                      <a:pt x="299" y="152"/>
                      <a:pt x="299" y="152"/>
                      <a:pt x="299" y="152"/>
                    </a:cubicBezTo>
                    <a:cubicBezTo>
                      <a:pt x="299" y="133"/>
                      <a:pt x="299" y="133"/>
                      <a:pt x="299" y="133"/>
                    </a:cubicBezTo>
                    <a:cubicBezTo>
                      <a:pt x="333" y="133"/>
                      <a:pt x="333" y="133"/>
                      <a:pt x="333" y="133"/>
                    </a:cubicBezTo>
                    <a:cubicBezTo>
                      <a:pt x="345" y="121"/>
                      <a:pt x="345" y="121"/>
                      <a:pt x="345" y="121"/>
                    </a:cubicBezTo>
                    <a:cubicBezTo>
                      <a:pt x="345" y="112"/>
                      <a:pt x="345" y="112"/>
                      <a:pt x="345" y="112"/>
                    </a:cubicBezTo>
                    <a:cubicBezTo>
                      <a:pt x="349" y="111"/>
                      <a:pt x="352" y="107"/>
                      <a:pt x="352" y="103"/>
                    </a:cubicBezTo>
                    <a:cubicBezTo>
                      <a:pt x="352" y="97"/>
                      <a:pt x="347" y="93"/>
                      <a:pt x="342" y="93"/>
                    </a:cubicBezTo>
                    <a:cubicBezTo>
                      <a:pt x="336" y="93"/>
                      <a:pt x="332" y="97"/>
                      <a:pt x="332" y="103"/>
                    </a:cubicBezTo>
                    <a:cubicBezTo>
                      <a:pt x="332" y="107"/>
                      <a:pt x="335" y="111"/>
                      <a:pt x="338" y="112"/>
                    </a:cubicBezTo>
                    <a:cubicBezTo>
                      <a:pt x="338" y="118"/>
                      <a:pt x="338" y="118"/>
                      <a:pt x="338" y="118"/>
                    </a:cubicBezTo>
                    <a:cubicBezTo>
                      <a:pt x="330" y="126"/>
                      <a:pt x="330" y="126"/>
                      <a:pt x="330" y="126"/>
                    </a:cubicBezTo>
                    <a:cubicBezTo>
                      <a:pt x="299" y="126"/>
                      <a:pt x="299" y="126"/>
                      <a:pt x="299" y="126"/>
                    </a:cubicBezTo>
                    <a:cubicBezTo>
                      <a:pt x="299" y="116"/>
                      <a:pt x="299" y="116"/>
                      <a:pt x="299" y="116"/>
                    </a:cubicBezTo>
                    <a:cubicBezTo>
                      <a:pt x="299" y="111"/>
                      <a:pt x="294" y="106"/>
                      <a:pt x="289" y="106"/>
                    </a:cubicBezTo>
                    <a:cubicBezTo>
                      <a:pt x="245" y="106"/>
                      <a:pt x="245" y="106"/>
                      <a:pt x="245" y="106"/>
                    </a:cubicBezTo>
                    <a:cubicBezTo>
                      <a:pt x="245" y="74"/>
                      <a:pt x="245" y="74"/>
                      <a:pt x="245" y="74"/>
                    </a:cubicBezTo>
                    <a:cubicBezTo>
                      <a:pt x="253" y="66"/>
                      <a:pt x="253" y="66"/>
                      <a:pt x="253" y="66"/>
                    </a:cubicBezTo>
                    <a:cubicBezTo>
                      <a:pt x="266" y="66"/>
                      <a:pt x="266" y="66"/>
                      <a:pt x="266" y="66"/>
                    </a:cubicBezTo>
                    <a:cubicBezTo>
                      <a:pt x="267" y="70"/>
                      <a:pt x="271" y="73"/>
                      <a:pt x="275" y="73"/>
                    </a:cubicBezTo>
                    <a:cubicBezTo>
                      <a:pt x="281" y="73"/>
                      <a:pt x="285" y="68"/>
                      <a:pt x="285" y="63"/>
                    </a:cubicBezTo>
                    <a:cubicBezTo>
                      <a:pt x="285" y="57"/>
                      <a:pt x="281" y="53"/>
                      <a:pt x="275" y="53"/>
                    </a:cubicBezTo>
                    <a:cubicBezTo>
                      <a:pt x="271" y="53"/>
                      <a:pt x="267" y="56"/>
                      <a:pt x="266" y="59"/>
                    </a:cubicBezTo>
                    <a:cubicBezTo>
                      <a:pt x="251" y="59"/>
                      <a:pt x="251" y="59"/>
                      <a:pt x="251" y="59"/>
                    </a:cubicBezTo>
                    <a:cubicBezTo>
                      <a:pt x="239" y="71"/>
                      <a:pt x="239" y="71"/>
                      <a:pt x="239" y="71"/>
                    </a:cubicBezTo>
                    <a:cubicBezTo>
                      <a:pt x="239" y="106"/>
                      <a:pt x="239" y="106"/>
                      <a:pt x="239" y="106"/>
                    </a:cubicBezTo>
                    <a:cubicBezTo>
                      <a:pt x="219" y="106"/>
                      <a:pt x="219" y="106"/>
                      <a:pt x="219" y="106"/>
                    </a:cubicBezTo>
                    <a:cubicBezTo>
                      <a:pt x="219" y="67"/>
                      <a:pt x="219" y="67"/>
                      <a:pt x="219" y="67"/>
                    </a:cubicBezTo>
                    <a:cubicBezTo>
                      <a:pt x="252" y="34"/>
                      <a:pt x="252" y="34"/>
                      <a:pt x="252" y="34"/>
                    </a:cubicBezTo>
                    <a:cubicBezTo>
                      <a:pt x="252" y="19"/>
                      <a:pt x="252" y="19"/>
                      <a:pt x="252" y="19"/>
                    </a:cubicBezTo>
                    <a:cubicBezTo>
                      <a:pt x="256" y="18"/>
                      <a:pt x="259" y="14"/>
                      <a:pt x="259" y="10"/>
                    </a:cubicBezTo>
                    <a:cubicBezTo>
                      <a:pt x="259" y="4"/>
                      <a:pt x="254" y="0"/>
                      <a:pt x="249" y="0"/>
                    </a:cubicBezTo>
                    <a:cubicBezTo>
                      <a:pt x="243" y="0"/>
                      <a:pt x="239" y="4"/>
                      <a:pt x="239" y="10"/>
                    </a:cubicBezTo>
                    <a:cubicBezTo>
                      <a:pt x="239" y="14"/>
                      <a:pt x="242" y="18"/>
                      <a:pt x="245" y="19"/>
                    </a:cubicBezTo>
                    <a:cubicBezTo>
                      <a:pt x="245" y="32"/>
                      <a:pt x="245" y="32"/>
                      <a:pt x="245" y="32"/>
                    </a:cubicBezTo>
                    <a:cubicBezTo>
                      <a:pt x="212" y="65"/>
                      <a:pt x="212" y="65"/>
                      <a:pt x="212" y="65"/>
                    </a:cubicBezTo>
                    <a:cubicBezTo>
                      <a:pt x="212" y="106"/>
                      <a:pt x="212" y="106"/>
                      <a:pt x="212" y="106"/>
                    </a:cubicBezTo>
                    <a:cubicBezTo>
                      <a:pt x="186" y="106"/>
                      <a:pt x="186" y="106"/>
                      <a:pt x="186" y="106"/>
                    </a:cubicBezTo>
                    <a:cubicBezTo>
                      <a:pt x="186" y="65"/>
                      <a:pt x="186" y="65"/>
                      <a:pt x="186" y="65"/>
                    </a:cubicBezTo>
                    <a:cubicBezTo>
                      <a:pt x="152" y="32"/>
                      <a:pt x="152" y="32"/>
                      <a:pt x="152" y="32"/>
                    </a:cubicBezTo>
                    <a:cubicBezTo>
                      <a:pt x="152" y="19"/>
                      <a:pt x="152" y="19"/>
                      <a:pt x="152" y="19"/>
                    </a:cubicBezTo>
                    <a:cubicBezTo>
                      <a:pt x="156" y="18"/>
                      <a:pt x="159" y="14"/>
                      <a:pt x="159" y="10"/>
                    </a:cubicBezTo>
                    <a:cubicBezTo>
                      <a:pt x="159" y="4"/>
                      <a:pt x="155" y="0"/>
                      <a:pt x="149" y="0"/>
                    </a:cubicBezTo>
                    <a:close/>
                    <a:moveTo>
                      <a:pt x="149" y="6"/>
                    </a:moveTo>
                    <a:cubicBezTo>
                      <a:pt x="151" y="6"/>
                      <a:pt x="152" y="8"/>
                      <a:pt x="152" y="10"/>
                    </a:cubicBezTo>
                    <a:cubicBezTo>
                      <a:pt x="152" y="12"/>
                      <a:pt x="151" y="13"/>
                      <a:pt x="149" y="13"/>
                    </a:cubicBezTo>
                    <a:cubicBezTo>
                      <a:pt x="147" y="13"/>
                      <a:pt x="146" y="12"/>
                      <a:pt x="146" y="10"/>
                    </a:cubicBezTo>
                    <a:cubicBezTo>
                      <a:pt x="146" y="8"/>
                      <a:pt x="147" y="6"/>
                      <a:pt x="149" y="6"/>
                    </a:cubicBezTo>
                    <a:close/>
                    <a:moveTo>
                      <a:pt x="249" y="6"/>
                    </a:moveTo>
                    <a:cubicBezTo>
                      <a:pt x="251" y="6"/>
                      <a:pt x="252" y="8"/>
                      <a:pt x="252" y="10"/>
                    </a:cubicBezTo>
                    <a:cubicBezTo>
                      <a:pt x="252" y="12"/>
                      <a:pt x="251" y="13"/>
                      <a:pt x="249" y="13"/>
                    </a:cubicBezTo>
                    <a:cubicBezTo>
                      <a:pt x="247" y="13"/>
                      <a:pt x="245" y="12"/>
                      <a:pt x="245" y="10"/>
                    </a:cubicBezTo>
                    <a:cubicBezTo>
                      <a:pt x="245" y="8"/>
                      <a:pt x="247" y="6"/>
                      <a:pt x="249" y="6"/>
                    </a:cubicBezTo>
                    <a:close/>
                    <a:moveTo>
                      <a:pt x="116" y="59"/>
                    </a:moveTo>
                    <a:cubicBezTo>
                      <a:pt x="118" y="59"/>
                      <a:pt x="119" y="61"/>
                      <a:pt x="119" y="63"/>
                    </a:cubicBezTo>
                    <a:cubicBezTo>
                      <a:pt x="119" y="65"/>
                      <a:pt x="118" y="66"/>
                      <a:pt x="116" y="66"/>
                    </a:cubicBezTo>
                    <a:cubicBezTo>
                      <a:pt x="114" y="66"/>
                      <a:pt x="113" y="65"/>
                      <a:pt x="113" y="63"/>
                    </a:cubicBezTo>
                    <a:cubicBezTo>
                      <a:pt x="113" y="61"/>
                      <a:pt x="114" y="59"/>
                      <a:pt x="116" y="59"/>
                    </a:cubicBezTo>
                    <a:close/>
                    <a:moveTo>
                      <a:pt x="275" y="59"/>
                    </a:moveTo>
                    <a:cubicBezTo>
                      <a:pt x="277" y="59"/>
                      <a:pt x="279" y="61"/>
                      <a:pt x="279" y="63"/>
                    </a:cubicBezTo>
                    <a:cubicBezTo>
                      <a:pt x="279" y="65"/>
                      <a:pt x="277" y="66"/>
                      <a:pt x="275" y="66"/>
                    </a:cubicBezTo>
                    <a:cubicBezTo>
                      <a:pt x="273" y="66"/>
                      <a:pt x="272" y="65"/>
                      <a:pt x="272" y="63"/>
                    </a:cubicBezTo>
                    <a:cubicBezTo>
                      <a:pt x="272" y="61"/>
                      <a:pt x="273" y="59"/>
                      <a:pt x="275" y="59"/>
                    </a:cubicBezTo>
                    <a:close/>
                    <a:moveTo>
                      <a:pt x="49" y="99"/>
                    </a:moveTo>
                    <a:cubicBezTo>
                      <a:pt x="51" y="99"/>
                      <a:pt x="53" y="101"/>
                      <a:pt x="53" y="103"/>
                    </a:cubicBezTo>
                    <a:cubicBezTo>
                      <a:pt x="53" y="105"/>
                      <a:pt x="51" y="106"/>
                      <a:pt x="49" y="106"/>
                    </a:cubicBezTo>
                    <a:cubicBezTo>
                      <a:pt x="48" y="106"/>
                      <a:pt x="46" y="105"/>
                      <a:pt x="46" y="103"/>
                    </a:cubicBezTo>
                    <a:cubicBezTo>
                      <a:pt x="46" y="101"/>
                      <a:pt x="48" y="99"/>
                      <a:pt x="49" y="99"/>
                    </a:cubicBezTo>
                    <a:close/>
                    <a:moveTo>
                      <a:pt x="342" y="99"/>
                    </a:moveTo>
                    <a:cubicBezTo>
                      <a:pt x="344" y="99"/>
                      <a:pt x="345" y="101"/>
                      <a:pt x="345" y="103"/>
                    </a:cubicBezTo>
                    <a:cubicBezTo>
                      <a:pt x="345" y="105"/>
                      <a:pt x="344" y="106"/>
                      <a:pt x="342" y="106"/>
                    </a:cubicBezTo>
                    <a:cubicBezTo>
                      <a:pt x="340" y="106"/>
                      <a:pt x="338" y="105"/>
                      <a:pt x="338" y="103"/>
                    </a:cubicBezTo>
                    <a:cubicBezTo>
                      <a:pt x="338" y="101"/>
                      <a:pt x="340" y="99"/>
                      <a:pt x="342" y="99"/>
                    </a:cubicBezTo>
                    <a:close/>
                    <a:moveTo>
                      <a:pt x="103" y="113"/>
                    </a:moveTo>
                    <a:cubicBezTo>
                      <a:pt x="289" y="113"/>
                      <a:pt x="289" y="113"/>
                      <a:pt x="289" y="113"/>
                    </a:cubicBezTo>
                    <a:cubicBezTo>
                      <a:pt x="290" y="113"/>
                      <a:pt x="292" y="114"/>
                      <a:pt x="292" y="116"/>
                    </a:cubicBezTo>
                    <a:cubicBezTo>
                      <a:pt x="292" y="126"/>
                      <a:pt x="292" y="126"/>
                      <a:pt x="292" y="126"/>
                    </a:cubicBezTo>
                    <a:cubicBezTo>
                      <a:pt x="292" y="133"/>
                      <a:pt x="292" y="133"/>
                      <a:pt x="292" y="133"/>
                    </a:cubicBezTo>
                    <a:cubicBezTo>
                      <a:pt x="292" y="206"/>
                      <a:pt x="292" y="206"/>
                      <a:pt x="292" y="206"/>
                    </a:cubicBezTo>
                    <a:cubicBezTo>
                      <a:pt x="292" y="212"/>
                      <a:pt x="292" y="212"/>
                      <a:pt x="292" y="212"/>
                    </a:cubicBezTo>
                    <a:cubicBezTo>
                      <a:pt x="292" y="232"/>
                      <a:pt x="292" y="232"/>
                      <a:pt x="292" y="232"/>
                    </a:cubicBezTo>
                    <a:cubicBezTo>
                      <a:pt x="99" y="232"/>
                      <a:pt x="99" y="232"/>
                      <a:pt x="99" y="232"/>
                    </a:cubicBezTo>
                    <a:cubicBezTo>
                      <a:pt x="99" y="116"/>
                      <a:pt x="99" y="116"/>
                      <a:pt x="99" y="116"/>
                    </a:cubicBezTo>
                    <a:cubicBezTo>
                      <a:pt x="99" y="114"/>
                      <a:pt x="101" y="113"/>
                      <a:pt x="103" y="113"/>
                    </a:cubicBezTo>
                    <a:close/>
                    <a:moveTo>
                      <a:pt x="116" y="126"/>
                    </a:moveTo>
                    <a:cubicBezTo>
                      <a:pt x="114" y="126"/>
                      <a:pt x="113" y="127"/>
                      <a:pt x="113" y="129"/>
                    </a:cubicBezTo>
                    <a:cubicBezTo>
                      <a:pt x="113" y="216"/>
                      <a:pt x="113" y="216"/>
                      <a:pt x="113" y="216"/>
                    </a:cubicBezTo>
                    <a:cubicBezTo>
                      <a:pt x="113" y="217"/>
                      <a:pt x="114" y="219"/>
                      <a:pt x="116" y="219"/>
                    </a:cubicBezTo>
                    <a:cubicBezTo>
                      <a:pt x="170" y="219"/>
                      <a:pt x="170" y="219"/>
                      <a:pt x="170" y="219"/>
                    </a:cubicBezTo>
                    <a:cubicBezTo>
                      <a:pt x="168" y="217"/>
                      <a:pt x="167" y="215"/>
                      <a:pt x="166" y="212"/>
                    </a:cubicBezTo>
                    <a:cubicBezTo>
                      <a:pt x="119" y="212"/>
                      <a:pt x="119" y="212"/>
                      <a:pt x="119" y="212"/>
                    </a:cubicBezTo>
                    <a:cubicBezTo>
                      <a:pt x="119" y="133"/>
                      <a:pt x="119" y="133"/>
                      <a:pt x="119" y="133"/>
                    </a:cubicBezTo>
                    <a:cubicBezTo>
                      <a:pt x="165" y="133"/>
                      <a:pt x="165" y="133"/>
                      <a:pt x="165" y="133"/>
                    </a:cubicBezTo>
                    <a:cubicBezTo>
                      <a:pt x="167" y="130"/>
                      <a:pt x="170" y="128"/>
                      <a:pt x="173" y="126"/>
                    </a:cubicBezTo>
                    <a:lnTo>
                      <a:pt x="116" y="126"/>
                    </a:lnTo>
                    <a:close/>
                    <a:moveTo>
                      <a:pt x="196" y="126"/>
                    </a:moveTo>
                    <a:cubicBezTo>
                      <a:pt x="177" y="126"/>
                      <a:pt x="161" y="140"/>
                      <a:pt x="159" y="158"/>
                    </a:cubicBezTo>
                    <a:cubicBezTo>
                      <a:pt x="159" y="162"/>
                      <a:pt x="159" y="162"/>
                      <a:pt x="159" y="162"/>
                    </a:cubicBezTo>
                    <a:cubicBezTo>
                      <a:pt x="159" y="162"/>
                      <a:pt x="159" y="162"/>
                      <a:pt x="159" y="162"/>
                    </a:cubicBezTo>
                    <a:cubicBezTo>
                      <a:pt x="159" y="181"/>
                      <a:pt x="159" y="181"/>
                      <a:pt x="159" y="181"/>
                    </a:cubicBezTo>
                    <a:cubicBezTo>
                      <a:pt x="159" y="189"/>
                      <a:pt x="165" y="196"/>
                      <a:pt x="172" y="198"/>
                    </a:cubicBezTo>
                    <a:cubicBezTo>
                      <a:pt x="172" y="208"/>
                      <a:pt x="172" y="208"/>
                      <a:pt x="172" y="208"/>
                    </a:cubicBezTo>
                    <a:cubicBezTo>
                      <a:pt x="172" y="214"/>
                      <a:pt x="177" y="219"/>
                      <a:pt x="184" y="219"/>
                    </a:cubicBezTo>
                    <a:cubicBezTo>
                      <a:pt x="208" y="219"/>
                      <a:pt x="208" y="219"/>
                      <a:pt x="208" y="219"/>
                    </a:cubicBezTo>
                    <a:cubicBezTo>
                      <a:pt x="214" y="219"/>
                      <a:pt x="219" y="214"/>
                      <a:pt x="219" y="208"/>
                    </a:cubicBezTo>
                    <a:cubicBezTo>
                      <a:pt x="219" y="198"/>
                      <a:pt x="219" y="198"/>
                      <a:pt x="219" y="198"/>
                    </a:cubicBezTo>
                    <a:cubicBezTo>
                      <a:pt x="226" y="196"/>
                      <a:pt x="232" y="189"/>
                      <a:pt x="232" y="181"/>
                    </a:cubicBezTo>
                    <a:cubicBezTo>
                      <a:pt x="232" y="162"/>
                      <a:pt x="232" y="162"/>
                      <a:pt x="232" y="162"/>
                    </a:cubicBezTo>
                    <a:cubicBezTo>
                      <a:pt x="232" y="162"/>
                      <a:pt x="232" y="162"/>
                      <a:pt x="232" y="162"/>
                    </a:cubicBezTo>
                    <a:cubicBezTo>
                      <a:pt x="232" y="158"/>
                      <a:pt x="232" y="158"/>
                      <a:pt x="232" y="158"/>
                    </a:cubicBezTo>
                    <a:cubicBezTo>
                      <a:pt x="230" y="140"/>
                      <a:pt x="214" y="126"/>
                      <a:pt x="196" y="126"/>
                    </a:cubicBezTo>
                    <a:close/>
                    <a:moveTo>
                      <a:pt x="217" y="126"/>
                    </a:moveTo>
                    <a:cubicBezTo>
                      <a:pt x="220" y="128"/>
                      <a:pt x="223" y="130"/>
                      <a:pt x="226" y="133"/>
                    </a:cubicBezTo>
                    <a:cubicBezTo>
                      <a:pt x="272" y="133"/>
                      <a:pt x="272" y="133"/>
                      <a:pt x="272" y="133"/>
                    </a:cubicBezTo>
                    <a:cubicBezTo>
                      <a:pt x="272" y="212"/>
                      <a:pt x="272" y="212"/>
                      <a:pt x="272" y="212"/>
                    </a:cubicBezTo>
                    <a:cubicBezTo>
                      <a:pt x="225" y="212"/>
                      <a:pt x="225" y="212"/>
                      <a:pt x="225" y="212"/>
                    </a:cubicBezTo>
                    <a:cubicBezTo>
                      <a:pt x="224" y="215"/>
                      <a:pt x="223" y="217"/>
                      <a:pt x="221" y="219"/>
                    </a:cubicBezTo>
                    <a:cubicBezTo>
                      <a:pt x="275" y="219"/>
                      <a:pt x="275" y="219"/>
                      <a:pt x="275" y="219"/>
                    </a:cubicBezTo>
                    <a:cubicBezTo>
                      <a:pt x="277" y="219"/>
                      <a:pt x="279" y="217"/>
                      <a:pt x="279" y="216"/>
                    </a:cubicBezTo>
                    <a:cubicBezTo>
                      <a:pt x="279" y="129"/>
                      <a:pt x="279" y="129"/>
                      <a:pt x="279" y="129"/>
                    </a:cubicBezTo>
                    <a:cubicBezTo>
                      <a:pt x="279" y="127"/>
                      <a:pt x="277" y="126"/>
                      <a:pt x="275" y="126"/>
                    </a:cubicBezTo>
                    <a:lnTo>
                      <a:pt x="217" y="126"/>
                    </a:lnTo>
                    <a:close/>
                    <a:moveTo>
                      <a:pt x="10" y="133"/>
                    </a:moveTo>
                    <a:cubicBezTo>
                      <a:pt x="11" y="133"/>
                      <a:pt x="13" y="134"/>
                      <a:pt x="13" y="136"/>
                    </a:cubicBezTo>
                    <a:cubicBezTo>
                      <a:pt x="13" y="138"/>
                      <a:pt x="11" y="139"/>
                      <a:pt x="10" y="139"/>
                    </a:cubicBezTo>
                    <a:cubicBezTo>
                      <a:pt x="8" y="139"/>
                      <a:pt x="6" y="138"/>
                      <a:pt x="6" y="136"/>
                    </a:cubicBezTo>
                    <a:cubicBezTo>
                      <a:pt x="6" y="134"/>
                      <a:pt x="8" y="133"/>
                      <a:pt x="10" y="133"/>
                    </a:cubicBezTo>
                    <a:close/>
                    <a:moveTo>
                      <a:pt x="196" y="133"/>
                    </a:moveTo>
                    <a:cubicBezTo>
                      <a:pt x="211" y="133"/>
                      <a:pt x="223" y="144"/>
                      <a:pt x="225" y="159"/>
                    </a:cubicBezTo>
                    <a:cubicBezTo>
                      <a:pt x="225" y="162"/>
                      <a:pt x="225" y="162"/>
                      <a:pt x="225" y="162"/>
                    </a:cubicBezTo>
                    <a:cubicBezTo>
                      <a:pt x="225" y="162"/>
                      <a:pt x="225" y="162"/>
                      <a:pt x="225" y="162"/>
                    </a:cubicBezTo>
                    <a:cubicBezTo>
                      <a:pt x="225" y="181"/>
                      <a:pt x="225" y="181"/>
                      <a:pt x="225" y="181"/>
                    </a:cubicBezTo>
                    <a:cubicBezTo>
                      <a:pt x="225" y="187"/>
                      <a:pt x="221" y="192"/>
                      <a:pt x="215" y="192"/>
                    </a:cubicBezTo>
                    <a:cubicBezTo>
                      <a:pt x="212" y="192"/>
                      <a:pt x="212" y="192"/>
                      <a:pt x="212" y="192"/>
                    </a:cubicBezTo>
                    <a:cubicBezTo>
                      <a:pt x="212" y="208"/>
                      <a:pt x="212" y="208"/>
                      <a:pt x="212" y="208"/>
                    </a:cubicBezTo>
                    <a:cubicBezTo>
                      <a:pt x="212" y="210"/>
                      <a:pt x="210" y="212"/>
                      <a:pt x="208" y="212"/>
                    </a:cubicBezTo>
                    <a:cubicBezTo>
                      <a:pt x="206" y="212"/>
                      <a:pt x="206" y="212"/>
                      <a:pt x="206" y="212"/>
                    </a:cubicBezTo>
                    <a:cubicBezTo>
                      <a:pt x="206" y="199"/>
                      <a:pt x="206" y="199"/>
                      <a:pt x="206" y="199"/>
                    </a:cubicBezTo>
                    <a:cubicBezTo>
                      <a:pt x="199" y="199"/>
                      <a:pt x="199" y="199"/>
                      <a:pt x="199" y="199"/>
                    </a:cubicBezTo>
                    <a:cubicBezTo>
                      <a:pt x="199" y="212"/>
                      <a:pt x="199" y="212"/>
                      <a:pt x="199" y="212"/>
                    </a:cubicBezTo>
                    <a:cubicBezTo>
                      <a:pt x="192" y="212"/>
                      <a:pt x="192" y="212"/>
                      <a:pt x="192" y="212"/>
                    </a:cubicBezTo>
                    <a:cubicBezTo>
                      <a:pt x="192" y="199"/>
                      <a:pt x="192" y="199"/>
                      <a:pt x="192" y="199"/>
                    </a:cubicBezTo>
                    <a:cubicBezTo>
                      <a:pt x="186" y="199"/>
                      <a:pt x="186" y="199"/>
                      <a:pt x="186" y="199"/>
                    </a:cubicBezTo>
                    <a:cubicBezTo>
                      <a:pt x="186" y="212"/>
                      <a:pt x="186" y="212"/>
                      <a:pt x="186" y="212"/>
                    </a:cubicBezTo>
                    <a:cubicBezTo>
                      <a:pt x="184" y="212"/>
                      <a:pt x="184" y="212"/>
                      <a:pt x="184" y="212"/>
                    </a:cubicBezTo>
                    <a:cubicBezTo>
                      <a:pt x="181" y="212"/>
                      <a:pt x="179" y="210"/>
                      <a:pt x="179" y="208"/>
                    </a:cubicBezTo>
                    <a:cubicBezTo>
                      <a:pt x="179" y="192"/>
                      <a:pt x="179" y="192"/>
                      <a:pt x="179" y="192"/>
                    </a:cubicBezTo>
                    <a:cubicBezTo>
                      <a:pt x="176" y="192"/>
                      <a:pt x="176" y="192"/>
                      <a:pt x="176" y="192"/>
                    </a:cubicBezTo>
                    <a:cubicBezTo>
                      <a:pt x="170" y="192"/>
                      <a:pt x="166" y="187"/>
                      <a:pt x="166" y="181"/>
                    </a:cubicBezTo>
                    <a:cubicBezTo>
                      <a:pt x="166" y="162"/>
                      <a:pt x="166" y="162"/>
                      <a:pt x="166" y="162"/>
                    </a:cubicBezTo>
                    <a:cubicBezTo>
                      <a:pt x="166" y="162"/>
                      <a:pt x="166" y="162"/>
                      <a:pt x="166" y="162"/>
                    </a:cubicBezTo>
                    <a:cubicBezTo>
                      <a:pt x="166" y="159"/>
                      <a:pt x="166" y="159"/>
                      <a:pt x="166" y="159"/>
                    </a:cubicBezTo>
                    <a:cubicBezTo>
                      <a:pt x="166" y="159"/>
                      <a:pt x="166" y="159"/>
                      <a:pt x="166" y="159"/>
                    </a:cubicBezTo>
                    <a:cubicBezTo>
                      <a:pt x="168" y="144"/>
                      <a:pt x="180" y="133"/>
                      <a:pt x="196" y="133"/>
                    </a:cubicBezTo>
                    <a:close/>
                    <a:moveTo>
                      <a:pt x="382" y="133"/>
                    </a:moveTo>
                    <a:cubicBezTo>
                      <a:pt x="383" y="133"/>
                      <a:pt x="385" y="134"/>
                      <a:pt x="385" y="136"/>
                    </a:cubicBezTo>
                    <a:cubicBezTo>
                      <a:pt x="385" y="138"/>
                      <a:pt x="383" y="139"/>
                      <a:pt x="382" y="139"/>
                    </a:cubicBezTo>
                    <a:cubicBezTo>
                      <a:pt x="380" y="139"/>
                      <a:pt x="378" y="138"/>
                      <a:pt x="378" y="136"/>
                    </a:cubicBezTo>
                    <a:cubicBezTo>
                      <a:pt x="378" y="134"/>
                      <a:pt x="380" y="133"/>
                      <a:pt x="382" y="133"/>
                    </a:cubicBezTo>
                    <a:close/>
                    <a:moveTo>
                      <a:pt x="179" y="153"/>
                    </a:moveTo>
                    <a:cubicBezTo>
                      <a:pt x="178" y="153"/>
                      <a:pt x="178" y="154"/>
                      <a:pt x="177" y="154"/>
                    </a:cubicBezTo>
                    <a:cubicBezTo>
                      <a:pt x="174" y="156"/>
                      <a:pt x="172" y="160"/>
                      <a:pt x="172" y="164"/>
                    </a:cubicBezTo>
                    <a:cubicBezTo>
                      <a:pt x="173" y="168"/>
                      <a:pt x="176" y="171"/>
                      <a:pt x="180" y="172"/>
                    </a:cubicBezTo>
                    <a:cubicBezTo>
                      <a:pt x="184" y="173"/>
                      <a:pt x="188" y="172"/>
                      <a:pt x="190" y="169"/>
                    </a:cubicBezTo>
                    <a:cubicBezTo>
                      <a:pt x="193" y="165"/>
                      <a:pt x="193" y="161"/>
                      <a:pt x="191" y="157"/>
                    </a:cubicBezTo>
                    <a:cubicBezTo>
                      <a:pt x="190" y="156"/>
                      <a:pt x="188" y="155"/>
                      <a:pt x="186" y="156"/>
                    </a:cubicBezTo>
                    <a:cubicBezTo>
                      <a:pt x="185" y="157"/>
                      <a:pt x="184" y="159"/>
                      <a:pt x="185" y="161"/>
                    </a:cubicBezTo>
                    <a:cubicBezTo>
                      <a:pt x="185" y="161"/>
                      <a:pt x="185" y="161"/>
                      <a:pt x="185" y="161"/>
                    </a:cubicBezTo>
                    <a:cubicBezTo>
                      <a:pt x="186" y="162"/>
                      <a:pt x="186" y="163"/>
                      <a:pt x="185" y="164"/>
                    </a:cubicBezTo>
                    <a:cubicBezTo>
                      <a:pt x="184" y="166"/>
                      <a:pt x="183" y="166"/>
                      <a:pt x="181" y="166"/>
                    </a:cubicBezTo>
                    <a:cubicBezTo>
                      <a:pt x="180" y="165"/>
                      <a:pt x="179" y="164"/>
                      <a:pt x="179" y="163"/>
                    </a:cubicBezTo>
                    <a:cubicBezTo>
                      <a:pt x="179" y="162"/>
                      <a:pt x="179" y="160"/>
                      <a:pt x="181" y="160"/>
                    </a:cubicBezTo>
                    <a:cubicBezTo>
                      <a:pt x="182" y="159"/>
                      <a:pt x="183" y="157"/>
                      <a:pt x="182" y="155"/>
                    </a:cubicBezTo>
                    <a:cubicBezTo>
                      <a:pt x="181" y="154"/>
                      <a:pt x="180" y="153"/>
                      <a:pt x="179" y="153"/>
                    </a:cubicBezTo>
                    <a:close/>
                    <a:moveTo>
                      <a:pt x="212" y="153"/>
                    </a:moveTo>
                    <a:cubicBezTo>
                      <a:pt x="210" y="153"/>
                      <a:pt x="209" y="155"/>
                      <a:pt x="209" y="157"/>
                    </a:cubicBezTo>
                    <a:cubicBezTo>
                      <a:pt x="209" y="158"/>
                      <a:pt x="210" y="159"/>
                      <a:pt x="211" y="160"/>
                    </a:cubicBezTo>
                    <a:cubicBezTo>
                      <a:pt x="212" y="160"/>
                      <a:pt x="212" y="162"/>
                      <a:pt x="212" y="163"/>
                    </a:cubicBezTo>
                    <a:cubicBezTo>
                      <a:pt x="212" y="164"/>
                      <a:pt x="211" y="165"/>
                      <a:pt x="210" y="166"/>
                    </a:cubicBezTo>
                    <a:cubicBezTo>
                      <a:pt x="208" y="166"/>
                      <a:pt x="207" y="166"/>
                      <a:pt x="206" y="164"/>
                    </a:cubicBezTo>
                    <a:cubicBezTo>
                      <a:pt x="205" y="163"/>
                      <a:pt x="205" y="162"/>
                      <a:pt x="206" y="161"/>
                    </a:cubicBezTo>
                    <a:cubicBezTo>
                      <a:pt x="207" y="159"/>
                      <a:pt x="207" y="157"/>
                      <a:pt x="205" y="156"/>
                    </a:cubicBezTo>
                    <a:cubicBezTo>
                      <a:pt x="203" y="155"/>
                      <a:pt x="201" y="156"/>
                      <a:pt x="200" y="157"/>
                    </a:cubicBezTo>
                    <a:cubicBezTo>
                      <a:pt x="200" y="157"/>
                      <a:pt x="200" y="157"/>
                      <a:pt x="200" y="157"/>
                    </a:cubicBezTo>
                    <a:cubicBezTo>
                      <a:pt x="198" y="161"/>
                      <a:pt x="199" y="165"/>
                      <a:pt x="201" y="169"/>
                    </a:cubicBezTo>
                    <a:cubicBezTo>
                      <a:pt x="203" y="172"/>
                      <a:pt x="208" y="173"/>
                      <a:pt x="211" y="172"/>
                    </a:cubicBezTo>
                    <a:cubicBezTo>
                      <a:pt x="215" y="171"/>
                      <a:pt x="218" y="168"/>
                      <a:pt x="219" y="164"/>
                    </a:cubicBezTo>
                    <a:cubicBezTo>
                      <a:pt x="219" y="160"/>
                      <a:pt x="217" y="156"/>
                      <a:pt x="214" y="154"/>
                    </a:cubicBezTo>
                    <a:cubicBezTo>
                      <a:pt x="213" y="154"/>
                      <a:pt x="213" y="153"/>
                      <a:pt x="212" y="153"/>
                    </a:cubicBezTo>
                    <a:close/>
                    <a:moveTo>
                      <a:pt x="189" y="179"/>
                    </a:moveTo>
                    <a:cubicBezTo>
                      <a:pt x="187" y="179"/>
                      <a:pt x="185" y="181"/>
                      <a:pt x="185" y="183"/>
                    </a:cubicBezTo>
                    <a:cubicBezTo>
                      <a:pt x="186" y="184"/>
                      <a:pt x="187" y="186"/>
                      <a:pt x="189" y="186"/>
                    </a:cubicBezTo>
                    <a:cubicBezTo>
                      <a:pt x="189" y="186"/>
                      <a:pt x="189" y="186"/>
                      <a:pt x="189" y="186"/>
                    </a:cubicBezTo>
                    <a:cubicBezTo>
                      <a:pt x="202" y="186"/>
                      <a:pt x="202" y="186"/>
                      <a:pt x="202" y="186"/>
                    </a:cubicBezTo>
                    <a:cubicBezTo>
                      <a:pt x="204" y="186"/>
                      <a:pt x="206" y="184"/>
                      <a:pt x="206" y="182"/>
                    </a:cubicBezTo>
                    <a:cubicBezTo>
                      <a:pt x="206" y="181"/>
                      <a:pt x="204" y="179"/>
                      <a:pt x="202" y="179"/>
                    </a:cubicBezTo>
                    <a:cubicBezTo>
                      <a:pt x="202" y="179"/>
                      <a:pt x="202" y="179"/>
                      <a:pt x="202" y="179"/>
                    </a:cubicBezTo>
                    <a:cubicBezTo>
                      <a:pt x="189" y="179"/>
                      <a:pt x="189" y="179"/>
                      <a:pt x="189" y="179"/>
                    </a:cubicBezTo>
                    <a:cubicBezTo>
                      <a:pt x="189" y="179"/>
                      <a:pt x="189" y="179"/>
                      <a:pt x="189" y="179"/>
                    </a:cubicBezTo>
                    <a:close/>
                    <a:moveTo>
                      <a:pt x="10" y="199"/>
                    </a:moveTo>
                    <a:cubicBezTo>
                      <a:pt x="11" y="199"/>
                      <a:pt x="13" y="200"/>
                      <a:pt x="13" y="202"/>
                    </a:cubicBezTo>
                    <a:cubicBezTo>
                      <a:pt x="13" y="204"/>
                      <a:pt x="11" y="206"/>
                      <a:pt x="10" y="206"/>
                    </a:cubicBezTo>
                    <a:cubicBezTo>
                      <a:pt x="8" y="206"/>
                      <a:pt x="6" y="204"/>
                      <a:pt x="6" y="202"/>
                    </a:cubicBezTo>
                    <a:cubicBezTo>
                      <a:pt x="6" y="200"/>
                      <a:pt x="8" y="199"/>
                      <a:pt x="10" y="199"/>
                    </a:cubicBezTo>
                    <a:close/>
                    <a:moveTo>
                      <a:pt x="382" y="199"/>
                    </a:moveTo>
                    <a:cubicBezTo>
                      <a:pt x="383" y="199"/>
                      <a:pt x="385" y="200"/>
                      <a:pt x="385" y="202"/>
                    </a:cubicBezTo>
                    <a:cubicBezTo>
                      <a:pt x="385" y="204"/>
                      <a:pt x="383" y="206"/>
                      <a:pt x="382" y="206"/>
                    </a:cubicBezTo>
                    <a:cubicBezTo>
                      <a:pt x="380" y="206"/>
                      <a:pt x="378" y="204"/>
                      <a:pt x="378" y="202"/>
                    </a:cubicBezTo>
                    <a:cubicBezTo>
                      <a:pt x="378" y="200"/>
                      <a:pt x="380" y="199"/>
                      <a:pt x="382" y="199"/>
                    </a:cubicBezTo>
                    <a:close/>
                    <a:moveTo>
                      <a:pt x="49" y="232"/>
                    </a:moveTo>
                    <a:cubicBezTo>
                      <a:pt x="51" y="232"/>
                      <a:pt x="53" y="234"/>
                      <a:pt x="53" y="236"/>
                    </a:cubicBezTo>
                    <a:cubicBezTo>
                      <a:pt x="53" y="237"/>
                      <a:pt x="51" y="239"/>
                      <a:pt x="49" y="239"/>
                    </a:cubicBezTo>
                    <a:cubicBezTo>
                      <a:pt x="48" y="239"/>
                      <a:pt x="46" y="237"/>
                      <a:pt x="46" y="236"/>
                    </a:cubicBezTo>
                    <a:cubicBezTo>
                      <a:pt x="46" y="234"/>
                      <a:pt x="48" y="232"/>
                      <a:pt x="49" y="232"/>
                    </a:cubicBezTo>
                    <a:close/>
                    <a:moveTo>
                      <a:pt x="342" y="232"/>
                    </a:moveTo>
                    <a:cubicBezTo>
                      <a:pt x="344" y="232"/>
                      <a:pt x="345" y="234"/>
                      <a:pt x="345" y="236"/>
                    </a:cubicBezTo>
                    <a:cubicBezTo>
                      <a:pt x="345" y="237"/>
                      <a:pt x="344" y="239"/>
                      <a:pt x="342" y="239"/>
                    </a:cubicBezTo>
                    <a:cubicBezTo>
                      <a:pt x="340" y="239"/>
                      <a:pt x="338" y="237"/>
                      <a:pt x="338" y="236"/>
                    </a:cubicBezTo>
                    <a:cubicBezTo>
                      <a:pt x="338" y="234"/>
                      <a:pt x="340" y="232"/>
                      <a:pt x="342" y="232"/>
                    </a:cubicBezTo>
                    <a:close/>
                    <a:moveTo>
                      <a:pt x="79" y="239"/>
                    </a:moveTo>
                    <a:cubicBezTo>
                      <a:pt x="159" y="239"/>
                      <a:pt x="159" y="239"/>
                      <a:pt x="159" y="239"/>
                    </a:cubicBezTo>
                    <a:cubicBezTo>
                      <a:pt x="160" y="242"/>
                      <a:pt x="161" y="245"/>
                      <a:pt x="163" y="247"/>
                    </a:cubicBezTo>
                    <a:cubicBezTo>
                      <a:pt x="165" y="250"/>
                      <a:pt x="169" y="252"/>
                      <a:pt x="173" y="252"/>
                    </a:cubicBezTo>
                    <a:cubicBezTo>
                      <a:pt x="218" y="252"/>
                      <a:pt x="218" y="252"/>
                      <a:pt x="218" y="252"/>
                    </a:cubicBezTo>
                    <a:cubicBezTo>
                      <a:pt x="222" y="252"/>
                      <a:pt x="226" y="250"/>
                      <a:pt x="228" y="247"/>
                    </a:cubicBezTo>
                    <a:cubicBezTo>
                      <a:pt x="230" y="245"/>
                      <a:pt x="231" y="242"/>
                      <a:pt x="232" y="239"/>
                    </a:cubicBezTo>
                    <a:cubicBezTo>
                      <a:pt x="312" y="239"/>
                      <a:pt x="312" y="239"/>
                      <a:pt x="312" y="239"/>
                    </a:cubicBezTo>
                    <a:cubicBezTo>
                      <a:pt x="312" y="244"/>
                      <a:pt x="312" y="244"/>
                      <a:pt x="312" y="244"/>
                    </a:cubicBezTo>
                    <a:cubicBezTo>
                      <a:pt x="312" y="253"/>
                      <a:pt x="306" y="259"/>
                      <a:pt x="299" y="259"/>
                    </a:cubicBezTo>
                    <a:cubicBezTo>
                      <a:pt x="93" y="259"/>
                      <a:pt x="93" y="259"/>
                      <a:pt x="93" y="259"/>
                    </a:cubicBezTo>
                    <a:cubicBezTo>
                      <a:pt x="85" y="259"/>
                      <a:pt x="79" y="253"/>
                      <a:pt x="79" y="244"/>
                    </a:cubicBezTo>
                    <a:lnTo>
                      <a:pt x="79" y="239"/>
                    </a:lnTo>
                    <a:close/>
                    <a:moveTo>
                      <a:pt x="167" y="239"/>
                    </a:moveTo>
                    <a:cubicBezTo>
                      <a:pt x="224" y="239"/>
                      <a:pt x="224" y="239"/>
                      <a:pt x="224" y="239"/>
                    </a:cubicBezTo>
                    <a:cubicBezTo>
                      <a:pt x="224" y="240"/>
                      <a:pt x="224" y="242"/>
                      <a:pt x="223" y="243"/>
                    </a:cubicBezTo>
                    <a:cubicBezTo>
                      <a:pt x="222" y="245"/>
                      <a:pt x="220" y="246"/>
                      <a:pt x="218" y="246"/>
                    </a:cubicBezTo>
                    <a:cubicBezTo>
                      <a:pt x="173" y="246"/>
                      <a:pt x="173" y="246"/>
                      <a:pt x="173" y="246"/>
                    </a:cubicBezTo>
                    <a:cubicBezTo>
                      <a:pt x="171" y="246"/>
                      <a:pt x="169" y="245"/>
                      <a:pt x="168" y="243"/>
                    </a:cubicBezTo>
                    <a:cubicBezTo>
                      <a:pt x="167" y="242"/>
                      <a:pt x="167" y="240"/>
                      <a:pt x="167" y="239"/>
                    </a:cubicBezTo>
                    <a:close/>
                  </a:path>
                </a:pathLst>
              </a:custGeom>
              <a:solidFill>
                <a:srgbClr val="646EAC"/>
              </a:solidFill>
              <a:ln w="3175"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106277B-BAC0-496E-975E-8199E0F298C3}"/>
              </a:ext>
            </a:extLst>
          </p:cNvPr>
          <p:cNvGrpSpPr/>
          <p:nvPr/>
        </p:nvGrpSpPr>
        <p:grpSpPr>
          <a:xfrm>
            <a:off x="5790044" y="1076063"/>
            <a:ext cx="3096307" cy="3920300"/>
            <a:chOff x="5466668" y="1090763"/>
            <a:chExt cx="3796306" cy="4906280"/>
          </a:xfrm>
        </p:grpSpPr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FE14A2C8-A2D9-44D2-86B6-EDE60BEFF84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66668" y="1090763"/>
              <a:ext cx="1578040" cy="2801021"/>
            </a:xfrm>
            <a:prstGeom prst="rect">
              <a:avLst/>
            </a:prstGeom>
          </p:spPr>
        </p:pic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D1AA1EAE-7F16-4427-935F-F9F6DE40D8F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49478" y="1090763"/>
              <a:ext cx="2113496" cy="1408997"/>
            </a:xfrm>
            <a:prstGeom prst="rect">
              <a:avLst/>
            </a:prstGeom>
          </p:spPr>
        </p:pic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DB6B6EBB-3DA7-434C-8085-9DDA4E17A95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66668" y="3992899"/>
              <a:ext cx="3776131" cy="2004144"/>
            </a:xfrm>
            <a:prstGeom prst="rect">
              <a:avLst/>
            </a:prstGeom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90AA0ABE-2B19-4744-990A-6B0D17AFC36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49477" y="2600875"/>
              <a:ext cx="2093321" cy="1253675"/>
            </a:xfrm>
            <a:prstGeom prst="rect">
              <a:avLst/>
            </a:prstGeom>
          </p:spPr>
        </p:pic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5D6DDCF5-59E9-4682-AA74-4DCFB206423D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787653" y="63204"/>
            <a:ext cx="384440" cy="384440"/>
            <a:chOff x="700116" y="1398588"/>
            <a:chExt cx="1360292" cy="1360292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D0B038AA-44A6-40F1-9A93-218BF7D516C4}"/>
                </a:ext>
              </a:extLst>
            </p:cNvPr>
            <p:cNvSpPr/>
            <p:nvPr/>
          </p:nvSpPr>
          <p:spPr bwMode="gray">
            <a:xfrm>
              <a:off x="700116" y="1398588"/>
              <a:ext cx="1360292" cy="136029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63" name="Group 88">
              <a:extLst>
                <a:ext uri="{FF2B5EF4-FFF2-40B4-BE49-F238E27FC236}">
                  <a16:creationId xmlns:a16="http://schemas.microsoft.com/office/drawing/2014/main" id="{82BB04E8-66F4-4437-8DEA-8A42738EEC3A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004221" y="1527526"/>
              <a:ext cx="761825" cy="1097359"/>
              <a:chOff x="2748" y="1759"/>
              <a:chExt cx="554" cy="798"/>
            </a:xfrm>
            <a:solidFill>
              <a:schemeClr val="accent1"/>
            </a:solidFill>
          </p:grpSpPr>
          <p:sp>
            <p:nvSpPr>
              <p:cNvPr id="64" name="Freeform 89">
                <a:extLst>
                  <a:ext uri="{FF2B5EF4-FFF2-40B4-BE49-F238E27FC236}">
                    <a16:creationId xmlns:a16="http://schemas.microsoft.com/office/drawing/2014/main" id="{395EA96F-BC73-41CB-8325-97415355A2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13" y="2045"/>
                <a:ext cx="426" cy="171"/>
              </a:xfrm>
              <a:custGeom>
                <a:avLst/>
                <a:gdLst>
                  <a:gd name="T0" fmla="*/ 194 w 203"/>
                  <a:gd name="T1" fmla="*/ 56 h 82"/>
                  <a:gd name="T2" fmla="*/ 164 w 203"/>
                  <a:gd name="T3" fmla="*/ 35 h 82"/>
                  <a:gd name="T4" fmla="*/ 153 w 203"/>
                  <a:gd name="T5" fmla="*/ 35 h 82"/>
                  <a:gd name="T6" fmla="*/ 167 w 203"/>
                  <a:gd name="T7" fmla="*/ 15 h 82"/>
                  <a:gd name="T8" fmla="*/ 159 w 203"/>
                  <a:gd name="T9" fmla="*/ 0 h 82"/>
                  <a:gd name="T10" fmla="*/ 115 w 203"/>
                  <a:gd name="T11" fmla="*/ 3 h 82"/>
                  <a:gd name="T12" fmla="*/ 88 w 203"/>
                  <a:gd name="T13" fmla="*/ 3 h 82"/>
                  <a:gd name="T14" fmla="*/ 44 w 203"/>
                  <a:gd name="T15" fmla="*/ 0 h 82"/>
                  <a:gd name="T16" fmla="*/ 36 w 203"/>
                  <a:gd name="T17" fmla="*/ 15 h 82"/>
                  <a:gd name="T18" fmla="*/ 50 w 203"/>
                  <a:gd name="T19" fmla="*/ 35 h 82"/>
                  <a:gd name="T20" fmla="*/ 39 w 203"/>
                  <a:gd name="T21" fmla="*/ 35 h 82"/>
                  <a:gd name="T22" fmla="*/ 9 w 203"/>
                  <a:gd name="T23" fmla="*/ 56 h 82"/>
                  <a:gd name="T24" fmla="*/ 0 w 203"/>
                  <a:gd name="T25" fmla="*/ 82 h 82"/>
                  <a:gd name="T26" fmla="*/ 203 w 203"/>
                  <a:gd name="T27" fmla="*/ 82 h 82"/>
                  <a:gd name="T28" fmla="*/ 194 w 203"/>
                  <a:gd name="T29" fmla="*/ 5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3" h="82">
                    <a:moveTo>
                      <a:pt x="194" y="56"/>
                    </a:moveTo>
                    <a:cubicBezTo>
                      <a:pt x="189" y="43"/>
                      <a:pt x="177" y="35"/>
                      <a:pt x="164" y="35"/>
                    </a:cubicBezTo>
                    <a:cubicBezTo>
                      <a:pt x="153" y="35"/>
                      <a:pt x="153" y="35"/>
                      <a:pt x="153" y="35"/>
                    </a:cubicBezTo>
                    <a:cubicBezTo>
                      <a:pt x="167" y="15"/>
                      <a:pt x="167" y="15"/>
                      <a:pt x="167" y="15"/>
                    </a:cubicBezTo>
                    <a:cubicBezTo>
                      <a:pt x="172" y="9"/>
                      <a:pt x="167" y="0"/>
                      <a:pt x="159" y="0"/>
                    </a:cubicBezTo>
                    <a:cubicBezTo>
                      <a:pt x="115" y="3"/>
                      <a:pt x="115" y="3"/>
                      <a:pt x="115" y="3"/>
                    </a:cubicBezTo>
                    <a:cubicBezTo>
                      <a:pt x="106" y="3"/>
                      <a:pt x="97" y="3"/>
                      <a:pt x="88" y="3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36" y="0"/>
                      <a:pt x="31" y="9"/>
                      <a:pt x="36" y="15"/>
                    </a:cubicBezTo>
                    <a:cubicBezTo>
                      <a:pt x="50" y="35"/>
                      <a:pt x="50" y="35"/>
                      <a:pt x="50" y="35"/>
                    </a:cubicBezTo>
                    <a:cubicBezTo>
                      <a:pt x="39" y="35"/>
                      <a:pt x="39" y="35"/>
                      <a:pt x="39" y="35"/>
                    </a:cubicBezTo>
                    <a:cubicBezTo>
                      <a:pt x="25" y="35"/>
                      <a:pt x="13" y="43"/>
                      <a:pt x="9" y="56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203" y="82"/>
                      <a:pt x="203" y="82"/>
                      <a:pt x="203" y="82"/>
                    </a:cubicBezTo>
                    <a:lnTo>
                      <a:pt x="194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5" name="Freeform 90">
                <a:extLst>
                  <a:ext uri="{FF2B5EF4-FFF2-40B4-BE49-F238E27FC236}">
                    <a16:creationId xmlns:a16="http://schemas.microsoft.com/office/drawing/2014/main" id="{4F6826C7-98A0-48A4-BF82-3B006E4164E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886" y="1924"/>
                <a:ext cx="275" cy="106"/>
              </a:xfrm>
              <a:custGeom>
                <a:avLst/>
                <a:gdLst>
                  <a:gd name="T0" fmla="*/ 6 w 131"/>
                  <a:gd name="T1" fmla="*/ 0 h 51"/>
                  <a:gd name="T2" fmla="*/ 1 w 131"/>
                  <a:gd name="T3" fmla="*/ 37 h 51"/>
                  <a:gd name="T4" fmla="*/ 9 w 131"/>
                  <a:gd name="T5" fmla="*/ 47 h 51"/>
                  <a:gd name="T6" fmla="*/ 46 w 131"/>
                  <a:gd name="T7" fmla="*/ 50 h 51"/>
                  <a:gd name="T8" fmla="*/ 55 w 131"/>
                  <a:gd name="T9" fmla="*/ 47 h 51"/>
                  <a:gd name="T10" fmla="*/ 59 w 131"/>
                  <a:gd name="T11" fmla="*/ 43 h 51"/>
                  <a:gd name="T12" fmla="*/ 67 w 131"/>
                  <a:gd name="T13" fmla="*/ 40 h 51"/>
                  <a:gd name="T14" fmla="*/ 75 w 131"/>
                  <a:gd name="T15" fmla="*/ 43 h 51"/>
                  <a:gd name="T16" fmla="*/ 79 w 131"/>
                  <a:gd name="T17" fmla="*/ 47 h 51"/>
                  <a:gd name="T18" fmla="*/ 87 w 131"/>
                  <a:gd name="T19" fmla="*/ 50 h 51"/>
                  <a:gd name="T20" fmla="*/ 123 w 131"/>
                  <a:gd name="T21" fmla="*/ 47 h 51"/>
                  <a:gd name="T22" fmla="*/ 131 w 131"/>
                  <a:gd name="T23" fmla="*/ 37 h 51"/>
                  <a:gd name="T24" fmla="*/ 126 w 131"/>
                  <a:gd name="T25" fmla="*/ 0 h 51"/>
                  <a:gd name="T26" fmla="*/ 66 w 131"/>
                  <a:gd name="T27" fmla="*/ 6 h 51"/>
                  <a:gd name="T28" fmla="*/ 6 w 131"/>
                  <a:gd name="T29" fmla="*/ 0 h 51"/>
                  <a:gd name="T30" fmla="*/ 51 w 131"/>
                  <a:gd name="T31" fmla="*/ 29 h 51"/>
                  <a:gd name="T32" fmla="*/ 36 w 131"/>
                  <a:gd name="T33" fmla="*/ 34 h 51"/>
                  <a:gd name="T34" fmla="*/ 22 w 131"/>
                  <a:gd name="T35" fmla="*/ 29 h 51"/>
                  <a:gd name="T36" fmla="*/ 22 w 131"/>
                  <a:gd name="T37" fmla="*/ 23 h 51"/>
                  <a:gd name="T38" fmla="*/ 36 w 131"/>
                  <a:gd name="T39" fmla="*/ 18 h 51"/>
                  <a:gd name="T40" fmla="*/ 51 w 131"/>
                  <a:gd name="T41" fmla="*/ 23 h 51"/>
                  <a:gd name="T42" fmla="*/ 51 w 131"/>
                  <a:gd name="T43" fmla="*/ 29 h 51"/>
                  <a:gd name="T44" fmla="*/ 81 w 131"/>
                  <a:gd name="T45" fmla="*/ 23 h 51"/>
                  <a:gd name="T46" fmla="*/ 96 w 131"/>
                  <a:gd name="T47" fmla="*/ 18 h 51"/>
                  <a:gd name="T48" fmla="*/ 110 w 131"/>
                  <a:gd name="T49" fmla="*/ 23 h 51"/>
                  <a:gd name="T50" fmla="*/ 110 w 131"/>
                  <a:gd name="T51" fmla="*/ 29 h 51"/>
                  <a:gd name="T52" fmla="*/ 96 w 131"/>
                  <a:gd name="T53" fmla="*/ 34 h 51"/>
                  <a:gd name="T54" fmla="*/ 81 w 131"/>
                  <a:gd name="T55" fmla="*/ 29 h 51"/>
                  <a:gd name="T56" fmla="*/ 81 w 131"/>
                  <a:gd name="T57" fmla="*/ 2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31" h="51">
                    <a:moveTo>
                      <a:pt x="6" y="0"/>
                    </a:moveTo>
                    <a:cubicBezTo>
                      <a:pt x="1" y="37"/>
                      <a:pt x="1" y="37"/>
                      <a:pt x="1" y="37"/>
                    </a:cubicBezTo>
                    <a:cubicBezTo>
                      <a:pt x="0" y="42"/>
                      <a:pt x="4" y="47"/>
                      <a:pt x="9" y="47"/>
                    </a:cubicBezTo>
                    <a:cubicBezTo>
                      <a:pt x="19" y="49"/>
                      <a:pt x="34" y="50"/>
                      <a:pt x="46" y="50"/>
                    </a:cubicBezTo>
                    <a:cubicBezTo>
                      <a:pt x="50" y="50"/>
                      <a:pt x="53" y="49"/>
                      <a:pt x="55" y="47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61" y="41"/>
                      <a:pt x="64" y="40"/>
                      <a:pt x="67" y="40"/>
                    </a:cubicBezTo>
                    <a:cubicBezTo>
                      <a:pt x="70" y="40"/>
                      <a:pt x="73" y="41"/>
                      <a:pt x="75" y="43"/>
                    </a:cubicBezTo>
                    <a:cubicBezTo>
                      <a:pt x="79" y="47"/>
                      <a:pt x="79" y="47"/>
                      <a:pt x="79" y="47"/>
                    </a:cubicBezTo>
                    <a:cubicBezTo>
                      <a:pt x="81" y="49"/>
                      <a:pt x="84" y="51"/>
                      <a:pt x="87" y="50"/>
                    </a:cubicBezTo>
                    <a:cubicBezTo>
                      <a:pt x="99" y="50"/>
                      <a:pt x="114" y="49"/>
                      <a:pt x="123" y="47"/>
                    </a:cubicBezTo>
                    <a:cubicBezTo>
                      <a:pt x="128" y="47"/>
                      <a:pt x="131" y="42"/>
                      <a:pt x="131" y="37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10" y="4"/>
                      <a:pt x="88" y="6"/>
                      <a:pt x="66" y="6"/>
                    </a:cubicBezTo>
                    <a:cubicBezTo>
                      <a:pt x="44" y="6"/>
                      <a:pt x="22" y="4"/>
                      <a:pt x="6" y="0"/>
                    </a:cubicBezTo>
                    <a:close/>
                    <a:moveTo>
                      <a:pt x="51" y="29"/>
                    </a:moveTo>
                    <a:cubicBezTo>
                      <a:pt x="48" y="31"/>
                      <a:pt x="42" y="34"/>
                      <a:pt x="36" y="34"/>
                    </a:cubicBezTo>
                    <a:cubicBezTo>
                      <a:pt x="30" y="34"/>
                      <a:pt x="25" y="31"/>
                      <a:pt x="22" y="29"/>
                    </a:cubicBezTo>
                    <a:cubicBezTo>
                      <a:pt x="20" y="27"/>
                      <a:pt x="20" y="25"/>
                      <a:pt x="22" y="23"/>
                    </a:cubicBezTo>
                    <a:cubicBezTo>
                      <a:pt x="25" y="21"/>
                      <a:pt x="30" y="18"/>
                      <a:pt x="36" y="18"/>
                    </a:cubicBezTo>
                    <a:cubicBezTo>
                      <a:pt x="42" y="18"/>
                      <a:pt x="48" y="21"/>
                      <a:pt x="51" y="23"/>
                    </a:cubicBezTo>
                    <a:cubicBezTo>
                      <a:pt x="53" y="25"/>
                      <a:pt x="53" y="27"/>
                      <a:pt x="51" y="29"/>
                    </a:cubicBezTo>
                    <a:close/>
                    <a:moveTo>
                      <a:pt x="81" y="23"/>
                    </a:moveTo>
                    <a:cubicBezTo>
                      <a:pt x="84" y="21"/>
                      <a:pt x="90" y="18"/>
                      <a:pt x="96" y="18"/>
                    </a:cubicBezTo>
                    <a:cubicBezTo>
                      <a:pt x="102" y="18"/>
                      <a:pt x="107" y="21"/>
                      <a:pt x="110" y="23"/>
                    </a:cubicBezTo>
                    <a:cubicBezTo>
                      <a:pt x="112" y="25"/>
                      <a:pt x="112" y="27"/>
                      <a:pt x="110" y="29"/>
                    </a:cubicBezTo>
                    <a:cubicBezTo>
                      <a:pt x="107" y="31"/>
                      <a:pt x="102" y="34"/>
                      <a:pt x="96" y="34"/>
                    </a:cubicBezTo>
                    <a:cubicBezTo>
                      <a:pt x="90" y="34"/>
                      <a:pt x="84" y="31"/>
                      <a:pt x="81" y="29"/>
                    </a:cubicBezTo>
                    <a:cubicBezTo>
                      <a:pt x="79" y="27"/>
                      <a:pt x="79" y="25"/>
                      <a:pt x="81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6" name="Freeform 91">
                <a:extLst>
                  <a:ext uri="{FF2B5EF4-FFF2-40B4-BE49-F238E27FC236}">
                    <a16:creationId xmlns:a16="http://schemas.microsoft.com/office/drawing/2014/main" id="{6E4656AF-E58F-41A9-AFC9-436997DA010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49" y="1759"/>
                <a:ext cx="352" cy="152"/>
              </a:xfrm>
              <a:custGeom>
                <a:avLst/>
                <a:gdLst>
                  <a:gd name="T0" fmla="*/ 84 w 168"/>
                  <a:gd name="T1" fmla="*/ 73 h 73"/>
                  <a:gd name="T2" fmla="*/ 168 w 168"/>
                  <a:gd name="T3" fmla="*/ 53 h 73"/>
                  <a:gd name="T4" fmla="*/ 143 w 168"/>
                  <a:gd name="T5" fmla="*/ 39 h 73"/>
                  <a:gd name="T6" fmla="*/ 144 w 168"/>
                  <a:gd name="T7" fmla="*/ 46 h 73"/>
                  <a:gd name="T8" fmla="*/ 142 w 168"/>
                  <a:gd name="T9" fmla="*/ 51 h 73"/>
                  <a:gd name="T10" fmla="*/ 137 w 168"/>
                  <a:gd name="T11" fmla="*/ 48 h 73"/>
                  <a:gd name="T12" fmla="*/ 128 w 168"/>
                  <a:gd name="T13" fmla="*/ 13 h 73"/>
                  <a:gd name="T14" fmla="*/ 112 w 168"/>
                  <a:gd name="T15" fmla="*/ 2 h 73"/>
                  <a:gd name="T16" fmla="*/ 96 w 168"/>
                  <a:gd name="T17" fmla="*/ 6 h 73"/>
                  <a:gd name="T18" fmla="*/ 71 w 168"/>
                  <a:gd name="T19" fmla="*/ 6 h 73"/>
                  <a:gd name="T20" fmla="*/ 56 w 168"/>
                  <a:gd name="T21" fmla="*/ 2 h 73"/>
                  <a:gd name="T22" fmla="*/ 39 w 168"/>
                  <a:gd name="T23" fmla="*/ 13 h 73"/>
                  <a:gd name="T24" fmla="*/ 31 w 168"/>
                  <a:gd name="T25" fmla="*/ 48 h 73"/>
                  <a:gd name="T26" fmla="*/ 26 w 168"/>
                  <a:gd name="T27" fmla="*/ 51 h 73"/>
                  <a:gd name="T28" fmla="*/ 26 w 168"/>
                  <a:gd name="T29" fmla="*/ 51 h 73"/>
                  <a:gd name="T30" fmla="*/ 23 w 168"/>
                  <a:gd name="T31" fmla="*/ 46 h 73"/>
                  <a:gd name="T32" fmla="*/ 25 w 168"/>
                  <a:gd name="T33" fmla="*/ 39 h 73"/>
                  <a:gd name="T34" fmla="*/ 0 w 168"/>
                  <a:gd name="T35" fmla="*/ 53 h 73"/>
                  <a:gd name="T36" fmla="*/ 84 w 168"/>
                  <a:gd name="T37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8" h="73">
                    <a:moveTo>
                      <a:pt x="84" y="73"/>
                    </a:moveTo>
                    <a:cubicBezTo>
                      <a:pt x="130" y="73"/>
                      <a:pt x="168" y="64"/>
                      <a:pt x="168" y="53"/>
                    </a:cubicBezTo>
                    <a:cubicBezTo>
                      <a:pt x="168" y="48"/>
                      <a:pt x="158" y="43"/>
                      <a:pt x="143" y="39"/>
                    </a:cubicBezTo>
                    <a:cubicBezTo>
                      <a:pt x="144" y="46"/>
                      <a:pt x="144" y="46"/>
                      <a:pt x="144" y="46"/>
                    </a:cubicBezTo>
                    <a:cubicBezTo>
                      <a:pt x="145" y="48"/>
                      <a:pt x="144" y="51"/>
                      <a:pt x="142" y="51"/>
                    </a:cubicBezTo>
                    <a:cubicBezTo>
                      <a:pt x="140" y="52"/>
                      <a:pt x="137" y="50"/>
                      <a:pt x="137" y="48"/>
                    </a:cubicBezTo>
                    <a:cubicBezTo>
                      <a:pt x="128" y="13"/>
                      <a:pt x="128" y="13"/>
                      <a:pt x="128" y="13"/>
                    </a:cubicBezTo>
                    <a:cubicBezTo>
                      <a:pt x="127" y="5"/>
                      <a:pt x="119" y="0"/>
                      <a:pt x="112" y="2"/>
                    </a:cubicBezTo>
                    <a:cubicBezTo>
                      <a:pt x="96" y="6"/>
                      <a:pt x="96" y="6"/>
                      <a:pt x="96" y="6"/>
                    </a:cubicBezTo>
                    <a:cubicBezTo>
                      <a:pt x="88" y="8"/>
                      <a:pt x="79" y="8"/>
                      <a:pt x="71" y="6"/>
                    </a:cubicBezTo>
                    <a:cubicBezTo>
                      <a:pt x="56" y="2"/>
                      <a:pt x="56" y="2"/>
                      <a:pt x="56" y="2"/>
                    </a:cubicBezTo>
                    <a:cubicBezTo>
                      <a:pt x="48" y="1"/>
                      <a:pt x="41" y="5"/>
                      <a:pt x="39" y="13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30" y="50"/>
                      <a:pt x="28" y="52"/>
                      <a:pt x="26" y="51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4" y="51"/>
                      <a:pt x="22" y="48"/>
                      <a:pt x="23" y="46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9" y="43"/>
                      <a:pt x="0" y="48"/>
                      <a:pt x="0" y="53"/>
                    </a:cubicBezTo>
                    <a:cubicBezTo>
                      <a:pt x="0" y="64"/>
                      <a:pt x="38" y="73"/>
                      <a:pt x="84" y="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67" name="Freeform 92">
                <a:extLst>
                  <a:ext uri="{FF2B5EF4-FFF2-40B4-BE49-F238E27FC236}">
                    <a16:creationId xmlns:a16="http://schemas.microsoft.com/office/drawing/2014/main" id="{5479F28E-764F-4DE2-9F28-4EFBF7670AE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748" y="2248"/>
                <a:ext cx="554" cy="309"/>
              </a:xfrm>
              <a:custGeom>
                <a:avLst/>
                <a:gdLst>
                  <a:gd name="T0" fmla="*/ 247 w 264"/>
                  <a:gd name="T1" fmla="*/ 0 h 148"/>
                  <a:gd name="T2" fmla="*/ 17 w 264"/>
                  <a:gd name="T3" fmla="*/ 0 h 148"/>
                  <a:gd name="T4" fmla="*/ 1 w 264"/>
                  <a:gd name="T5" fmla="*/ 18 h 148"/>
                  <a:gd name="T6" fmla="*/ 16 w 264"/>
                  <a:gd name="T7" fmla="*/ 134 h 148"/>
                  <a:gd name="T8" fmla="*/ 32 w 264"/>
                  <a:gd name="T9" fmla="*/ 148 h 148"/>
                  <a:gd name="T10" fmla="*/ 232 w 264"/>
                  <a:gd name="T11" fmla="*/ 148 h 148"/>
                  <a:gd name="T12" fmla="*/ 248 w 264"/>
                  <a:gd name="T13" fmla="*/ 134 h 148"/>
                  <a:gd name="T14" fmla="*/ 263 w 264"/>
                  <a:gd name="T15" fmla="*/ 18 h 148"/>
                  <a:gd name="T16" fmla="*/ 247 w 264"/>
                  <a:gd name="T17" fmla="*/ 0 h 148"/>
                  <a:gd name="T18" fmla="*/ 132 w 264"/>
                  <a:gd name="T19" fmla="*/ 90 h 148"/>
                  <a:gd name="T20" fmla="*/ 115 w 264"/>
                  <a:gd name="T21" fmla="*/ 74 h 148"/>
                  <a:gd name="T22" fmla="*/ 132 w 264"/>
                  <a:gd name="T23" fmla="*/ 57 h 148"/>
                  <a:gd name="T24" fmla="*/ 149 w 264"/>
                  <a:gd name="T25" fmla="*/ 74 h 148"/>
                  <a:gd name="T26" fmla="*/ 132 w 264"/>
                  <a:gd name="T27" fmla="*/ 9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4" h="148">
                    <a:moveTo>
                      <a:pt x="24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8"/>
                      <a:pt x="1" y="18"/>
                    </a:cubicBezTo>
                    <a:cubicBezTo>
                      <a:pt x="16" y="134"/>
                      <a:pt x="16" y="134"/>
                      <a:pt x="16" y="134"/>
                    </a:cubicBezTo>
                    <a:cubicBezTo>
                      <a:pt x="18" y="142"/>
                      <a:pt x="24" y="148"/>
                      <a:pt x="32" y="148"/>
                    </a:cubicBezTo>
                    <a:cubicBezTo>
                      <a:pt x="232" y="148"/>
                      <a:pt x="232" y="148"/>
                      <a:pt x="232" y="148"/>
                    </a:cubicBezTo>
                    <a:cubicBezTo>
                      <a:pt x="240" y="148"/>
                      <a:pt x="246" y="142"/>
                      <a:pt x="248" y="134"/>
                    </a:cubicBezTo>
                    <a:cubicBezTo>
                      <a:pt x="263" y="18"/>
                      <a:pt x="263" y="18"/>
                      <a:pt x="263" y="18"/>
                    </a:cubicBezTo>
                    <a:cubicBezTo>
                      <a:pt x="264" y="8"/>
                      <a:pt x="257" y="0"/>
                      <a:pt x="247" y="0"/>
                    </a:cubicBezTo>
                    <a:close/>
                    <a:moveTo>
                      <a:pt x="132" y="90"/>
                    </a:moveTo>
                    <a:cubicBezTo>
                      <a:pt x="123" y="90"/>
                      <a:pt x="115" y="83"/>
                      <a:pt x="115" y="74"/>
                    </a:cubicBezTo>
                    <a:cubicBezTo>
                      <a:pt x="115" y="64"/>
                      <a:pt x="123" y="57"/>
                      <a:pt x="132" y="57"/>
                    </a:cubicBezTo>
                    <a:cubicBezTo>
                      <a:pt x="141" y="57"/>
                      <a:pt x="149" y="64"/>
                      <a:pt x="149" y="74"/>
                    </a:cubicBezTo>
                    <a:cubicBezTo>
                      <a:pt x="149" y="83"/>
                      <a:pt x="141" y="90"/>
                      <a:pt x="132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99336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954050-7FB3-4687-AAF9-0779C14F79D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0" name="think-cell Slide" r:id="rId5" imgW="353" imgH="354" progId="TCLayout.ActiveDocument.1">
                  <p:embed/>
                </p:oleObj>
              </mc:Choice>
              <mc:Fallback>
                <p:oleObj name="think-cell Slide" r:id="rId5" imgW="353" imgH="35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E954050-7FB3-4687-AAF9-0779C14F79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uadroTexto 6">
            <a:extLst>
              <a:ext uri="{FF2B5EF4-FFF2-40B4-BE49-F238E27FC236}">
                <a16:creationId xmlns:a16="http://schemas.microsoft.com/office/drawing/2014/main" id="{F412CF7A-0BA6-B447-8E99-BF8B882474FC}"/>
              </a:ext>
            </a:extLst>
          </p:cNvPr>
          <p:cNvSpPr txBox="1"/>
          <p:nvPr/>
        </p:nvSpPr>
        <p:spPr>
          <a:xfrm>
            <a:off x="619159" y="338006"/>
            <a:ext cx="86554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cap="all" dirty="0">
                <a:solidFill>
                  <a:srgbClr val="092566"/>
                </a:solidFill>
                <a:latin typeface="Helvetica" pitchFamily="2" charset="0"/>
              </a:rPr>
              <a:t>Cyber risk Impact of innovation</a:t>
            </a:r>
            <a:endParaRPr lang="es-ES_tradnl" sz="3600" b="1" cap="all" dirty="0">
              <a:solidFill>
                <a:srgbClr val="092566"/>
              </a:solidFill>
              <a:latin typeface="Helvetica" pitchFamily="2" charset="0"/>
            </a:endParaRPr>
          </a:p>
        </p:txBody>
      </p:sp>
      <p:graphicFrame>
        <p:nvGraphicFramePr>
          <p:cNvPr id="54" name="Content Placeholder 11">
            <a:extLst>
              <a:ext uri="{FF2B5EF4-FFF2-40B4-BE49-F238E27FC236}">
                <a16:creationId xmlns:a16="http://schemas.microsoft.com/office/drawing/2014/main" id="{26BE35F3-F324-4709-9CEB-2D5041118883}"/>
              </a:ext>
            </a:extLst>
          </p:cNvPr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1353033618"/>
              </p:ext>
            </p:extLst>
          </p:nvPr>
        </p:nvGraphicFramePr>
        <p:xfrm>
          <a:off x="615363" y="1235080"/>
          <a:ext cx="8447806" cy="3732606"/>
        </p:xfrm>
        <a:graphic>
          <a:graphicData uri="http://schemas.openxmlformats.org/drawingml/2006/table">
            <a:tbl>
              <a:tblPr firstRow="1" bandRow="1"/>
              <a:tblGrid>
                <a:gridCol w="3693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31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68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14734">
                <a:tc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tx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Digitization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200"/>
                        </a:spcBef>
                        <a:buFontTx/>
                        <a:buNone/>
                      </a:pPr>
                      <a:r>
                        <a:rPr lang="en-US" sz="1400" b="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Number of end points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4734">
                <a:tc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tx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Open APIs / M</a:t>
                      </a:r>
                      <a:r>
                        <a:rPr lang="en-US" sz="1400" b="1" baseline="0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icroservices</a:t>
                      </a:r>
                      <a:endParaRPr lang="en-US" sz="1400" b="1" dirty="0">
                        <a:solidFill>
                          <a:schemeClr val="accent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200"/>
                        </a:spcBef>
                        <a:buFontTx/>
                        <a:buNone/>
                      </a:pPr>
                      <a:r>
                        <a:rPr lang="en-US" sz="1400" b="0" i="0" kern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Interconnectedness and velocity of data</a:t>
                      </a:r>
                      <a:endParaRPr lang="en-US" sz="14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47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>
                        <a:solidFill>
                          <a:schemeClr val="tx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“Internet of things”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200"/>
                        </a:spcBef>
                        <a:buFontTx/>
                        <a:buNone/>
                      </a:pPr>
                      <a:r>
                        <a:rPr lang="en-US" sz="1400" kern="0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latin typeface="Helvetica" panose="020B0604020202020204" pitchFamily="34" charset="0"/>
                          <a:ea typeface="+mn-ea"/>
                          <a:cs typeface="Helvetica" panose="020B0604020202020204" pitchFamily="34" charset="0"/>
                        </a:rPr>
                        <a:t>Large amounts of data, increasing variety and concentration</a:t>
                      </a:r>
                      <a:endParaRPr lang="en-US" sz="140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4734">
                <a:tc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tx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Advanced </a:t>
                      </a:r>
                      <a:r>
                        <a:rPr lang="en-US" sz="1400" b="1" baseline="0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computing</a:t>
                      </a:r>
                      <a:endParaRPr lang="en-US" sz="1400" b="0" dirty="0">
                        <a:solidFill>
                          <a:schemeClr val="accent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Ineffectiveness of existing security approaches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4734">
                <a:tc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tx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Robotics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200"/>
                        </a:spcBef>
                        <a:buFontTx/>
                        <a:buNone/>
                      </a:pPr>
                      <a:r>
                        <a:rPr lang="en-US" sz="140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Backdoor for cyber criminals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4734">
                <a:tc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tx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Advanced analytics </a:t>
                      </a:r>
                      <a:r>
                        <a:rPr lang="en-US" sz="1400" b="1" baseline="0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/ AI</a:t>
                      </a:r>
                      <a:endParaRPr lang="en-US" sz="1400" b="1" dirty="0">
                        <a:solidFill>
                          <a:schemeClr val="accent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400" b="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Sophistication of cyber-attacks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4734">
                <a:tc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tx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Distributed ledger </a:t>
                      </a:r>
                      <a:r>
                        <a:rPr lang="en-US" sz="1400" b="0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(blockchain)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200"/>
                        </a:spcBef>
                        <a:buFontTx/>
                        <a:buNone/>
                      </a:pP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Better data integrity and security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4734">
                <a:tc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tx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Biometrics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200"/>
                        </a:spcBef>
                        <a:buFontTx/>
                        <a:buNone/>
                      </a:pPr>
                      <a:r>
                        <a:rPr lang="en-US" sz="140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New vector for fraud and identity theft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4734">
                <a:tc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tx1"/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accent1"/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Advanced encryption</a:t>
                      </a: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baseline="0" dirty="0">
                          <a:solidFill>
                            <a:schemeClr val="accent3">
                              <a:lumMod val="50000"/>
                            </a:schemeClr>
                          </a:solidFill>
                          <a:latin typeface="Helvetica" panose="020B0604020202020204" pitchFamily="34" charset="0"/>
                          <a:cs typeface="Helvetica" panose="020B0604020202020204" pitchFamily="34" charset="0"/>
                        </a:rPr>
                        <a:t>Disguising data in a more secure way</a:t>
                      </a:r>
                      <a:endParaRPr lang="en-US" sz="1400" b="0" dirty="0">
                        <a:solidFill>
                          <a:schemeClr val="accent3">
                            <a:lumMod val="50000"/>
                          </a:schemeClr>
                        </a:solidFill>
                        <a:latin typeface="Helvetica" panose="020B0604020202020204" pitchFamily="34" charset="0"/>
                        <a:cs typeface="Helvetica" panose="020B0604020202020204" pitchFamily="34" charset="0"/>
                      </a:endParaRPr>
                    </a:p>
                  </a:txBody>
                  <a:tcPr marL="45720" marR="4572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pSp>
        <p:nvGrpSpPr>
          <p:cNvPr id="55" name="Group 160">
            <a:extLst>
              <a:ext uri="{FF2B5EF4-FFF2-40B4-BE49-F238E27FC236}">
                <a16:creationId xmlns:a16="http://schemas.microsoft.com/office/drawing/2014/main" id="{26A9D592-56C7-4CB0-8887-50148D5A296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84117" y="1311770"/>
            <a:ext cx="210045" cy="274320"/>
            <a:chOff x="-261" y="1752"/>
            <a:chExt cx="549" cy="717"/>
          </a:xfrm>
          <a:solidFill>
            <a:schemeClr val="accent1"/>
          </a:solidFill>
        </p:grpSpPr>
        <p:sp>
          <p:nvSpPr>
            <p:cNvPr id="56" name="Freeform 161">
              <a:extLst>
                <a:ext uri="{FF2B5EF4-FFF2-40B4-BE49-F238E27FC236}">
                  <a16:creationId xmlns:a16="http://schemas.microsoft.com/office/drawing/2014/main" id="{AB34B071-197E-4D9F-A64D-7235A4F9611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261" y="1752"/>
              <a:ext cx="549" cy="717"/>
            </a:xfrm>
            <a:custGeom>
              <a:avLst/>
              <a:gdLst>
                <a:gd name="T0" fmla="*/ 266 w 266"/>
                <a:gd name="T1" fmla="*/ 133 h 348"/>
                <a:gd name="T2" fmla="*/ 153 w 266"/>
                <a:gd name="T3" fmla="*/ 127 h 348"/>
                <a:gd name="T4" fmla="*/ 248 w 266"/>
                <a:gd name="T5" fmla="*/ 67 h 348"/>
                <a:gd name="T6" fmla="*/ 147 w 266"/>
                <a:gd name="T7" fmla="*/ 118 h 348"/>
                <a:gd name="T8" fmla="*/ 139 w 266"/>
                <a:gd name="T9" fmla="*/ 113 h 348"/>
                <a:gd name="T10" fmla="*/ 133 w 266"/>
                <a:gd name="T11" fmla="*/ 0 h 348"/>
                <a:gd name="T12" fmla="*/ 127 w 266"/>
                <a:gd name="T13" fmla="*/ 113 h 348"/>
                <a:gd name="T14" fmla="*/ 67 w 266"/>
                <a:gd name="T15" fmla="*/ 18 h 348"/>
                <a:gd name="T16" fmla="*/ 77 w 266"/>
                <a:gd name="T17" fmla="*/ 56 h 348"/>
                <a:gd name="T18" fmla="*/ 55 w 266"/>
                <a:gd name="T19" fmla="*/ 82 h 348"/>
                <a:gd name="T20" fmla="*/ 36 w 266"/>
                <a:gd name="T21" fmla="*/ 97 h 348"/>
                <a:gd name="T22" fmla="*/ 40 w 266"/>
                <a:gd name="T23" fmla="*/ 128 h 348"/>
                <a:gd name="T24" fmla="*/ 40 w 266"/>
                <a:gd name="T25" fmla="*/ 138 h 348"/>
                <a:gd name="T26" fmla="*/ 26 w 266"/>
                <a:gd name="T27" fmla="*/ 172 h 348"/>
                <a:gd name="T28" fmla="*/ 46 w 266"/>
                <a:gd name="T29" fmla="*/ 207 h 348"/>
                <a:gd name="T30" fmla="*/ 115 w 266"/>
                <a:gd name="T31" fmla="*/ 154 h 348"/>
                <a:gd name="T32" fmla="*/ 57 w 266"/>
                <a:gd name="T33" fmla="*/ 235 h 348"/>
                <a:gd name="T34" fmla="*/ 94 w 266"/>
                <a:gd name="T35" fmla="*/ 240 h 348"/>
                <a:gd name="T36" fmla="*/ 139 w 266"/>
                <a:gd name="T37" fmla="*/ 342 h 348"/>
                <a:gd name="T38" fmla="*/ 205 w 266"/>
                <a:gd name="T39" fmla="*/ 346 h 348"/>
                <a:gd name="T40" fmla="*/ 225 w 266"/>
                <a:gd name="T41" fmla="*/ 266 h 348"/>
                <a:gd name="T42" fmla="*/ 196 w 266"/>
                <a:gd name="T43" fmla="*/ 337 h 348"/>
                <a:gd name="T44" fmla="*/ 128 w 266"/>
                <a:gd name="T45" fmla="*/ 272 h 348"/>
                <a:gd name="T46" fmla="*/ 111 w 266"/>
                <a:gd name="T47" fmla="*/ 216 h 348"/>
                <a:gd name="T48" fmla="*/ 125 w 266"/>
                <a:gd name="T49" fmla="*/ 152 h 348"/>
                <a:gd name="T50" fmla="*/ 141 w 266"/>
                <a:gd name="T51" fmla="*/ 196 h 348"/>
                <a:gd name="T52" fmla="*/ 151 w 266"/>
                <a:gd name="T53" fmla="*/ 196 h 348"/>
                <a:gd name="T54" fmla="*/ 168 w 266"/>
                <a:gd name="T55" fmla="*/ 217 h 348"/>
                <a:gd name="T56" fmla="*/ 178 w 266"/>
                <a:gd name="T57" fmla="*/ 196 h 348"/>
                <a:gd name="T58" fmla="*/ 199 w 266"/>
                <a:gd name="T59" fmla="*/ 222 h 348"/>
                <a:gd name="T60" fmla="*/ 213 w 266"/>
                <a:gd name="T61" fmla="*/ 197 h 348"/>
                <a:gd name="T62" fmla="*/ 231 w 266"/>
                <a:gd name="T63" fmla="*/ 236 h 348"/>
                <a:gd name="T64" fmla="*/ 240 w 266"/>
                <a:gd name="T65" fmla="*/ 172 h 348"/>
                <a:gd name="T66" fmla="*/ 226 w 266"/>
                <a:gd name="T67" fmla="*/ 138 h 348"/>
                <a:gd name="T68" fmla="*/ 235 w 266"/>
                <a:gd name="T69" fmla="*/ 133 h 348"/>
                <a:gd name="T70" fmla="*/ 233 w 266"/>
                <a:gd name="T71" fmla="*/ 67 h 348"/>
                <a:gd name="T72" fmla="*/ 222 w 266"/>
                <a:gd name="T73" fmla="*/ 82 h 348"/>
                <a:gd name="T74" fmla="*/ 68 w 266"/>
                <a:gd name="T75" fmla="*/ 41 h 348"/>
                <a:gd name="T76" fmla="*/ 79 w 266"/>
                <a:gd name="T77" fmla="*/ 26 h 348"/>
                <a:gd name="T78" fmla="*/ 38 w 266"/>
                <a:gd name="T79" fmla="*/ 86 h 348"/>
                <a:gd name="T80" fmla="*/ 36 w 266"/>
                <a:gd name="T81" fmla="*/ 67 h 348"/>
                <a:gd name="T82" fmla="*/ 11 w 266"/>
                <a:gd name="T83" fmla="*/ 133 h 348"/>
                <a:gd name="T84" fmla="*/ 41 w 266"/>
                <a:gd name="T85" fmla="*/ 198 h 348"/>
                <a:gd name="T86" fmla="*/ 44 w 266"/>
                <a:gd name="T87" fmla="*/ 184 h 348"/>
                <a:gd name="T88" fmla="*/ 72 w 266"/>
                <a:gd name="T89" fmla="*/ 239 h 348"/>
                <a:gd name="T90" fmla="*/ 82 w 266"/>
                <a:gd name="T91" fmla="*/ 221 h 348"/>
                <a:gd name="T92" fmla="*/ 91 w 266"/>
                <a:gd name="T93" fmla="*/ 216 h 348"/>
                <a:gd name="T94" fmla="*/ 95 w 266"/>
                <a:gd name="T95" fmla="*/ 210 h 348"/>
                <a:gd name="T96" fmla="*/ 123 w 266"/>
                <a:gd name="T97" fmla="*/ 21 h 348"/>
                <a:gd name="T98" fmla="*/ 123 w 266"/>
                <a:gd name="T99" fmla="*/ 21 h 348"/>
                <a:gd name="T100" fmla="*/ 123 w 266"/>
                <a:gd name="T101" fmla="*/ 132 h 348"/>
                <a:gd name="T102" fmla="*/ 222 w 266"/>
                <a:gd name="T103" fmla="*/ 184 h 348"/>
                <a:gd name="T104" fmla="*/ 230 w 266"/>
                <a:gd name="T105" fmla="*/ 199 h 348"/>
                <a:gd name="T106" fmla="*/ 151 w 266"/>
                <a:gd name="T107" fmla="*/ 175 h 348"/>
                <a:gd name="T108" fmla="*/ 210 w 266"/>
                <a:gd name="T109" fmla="*/ 187 h 348"/>
                <a:gd name="T110" fmla="*/ 166 w 266"/>
                <a:gd name="T111" fmla="*/ 179 h 348"/>
                <a:gd name="T112" fmla="*/ 211 w 266"/>
                <a:gd name="T113" fmla="*/ 18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6" h="348">
                  <a:moveTo>
                    <a:pt x="226" y="138"/>
                  </a:moveTo>
                  <a:cubicBezTo>
                    <a:pt x="226" y="138"/>
                    <a:pt x="226" y="138"/>
                    <a:pt x="226" y="138"/>
                  </a:cubicBezTo>
                  <a:cubicBezTo>
                    <a:pt x="228" y="147"/>
                    <a:pt x="236" y="153"/>
                    <a:pt x="245" y="153"/>
                  </a:cubicBezTo>
                  <a:cubicBezTo>
                    <a:pt x="257" y="153"/>
                    <a:pt x="266" y="144"/>
                    <a:pt x="266" y="133"/>
                  </a:cubicBezTo>
                  <a:cubicBezTo>
                    <a:pt x="266" y="122"/>
                    <a:pt x="257" y="113"/>
                    <a:pt x="245" y="113"/>
                  </a:cubicBezTo>
                  <a:cubicBezTo>
                    <a:pt x="236" y="113"/>
                    <a:pt x="228" y="119"/>
                    <a:pt x="226" y="128"/>
                  </a:cubicBezTo>
                  <a:cubicBezTo>
                    <a:pt x="153" y="128"/>
                    <a:pt x="153" y="128"/>
                    <a:pt x="153" y="128"/>
                  </a:cubicBezTo>
                  <a:cubicBezTo>
                    <a:pt x="153" y="128"/>
                    <a:pt x="153" y="128"/>
                    <a:pt x="153" y="127"/>
                  </a:cubicBezTo>
                  <a:cubicBezTo>
                    <a:pt x="216" y="91"/>
                    <a:pt x="216" y="91"/>
                    <a:pt x="216" y="91"/>
                  </a:cubicBezTo>
                  <a:cubicBezTo>
                    <a:pt x="220" y="95"/>
                    <a:pt x="225" y="97"/>
                    <a:pt x="230" y="97"/>
                  </a:cubicBezTo>
                  <a:cubicBezTo>
                    <a:pt x="234" y="97"/>
                    <a:pt x="237" y="96"/>
                    <a:pt x="240" y="94"/>
                  </a:cubicBezTo>
                  <a:cubicBezTo>
                    <a:pt x="250" y="89"/>
                    <a:pt x="253" y="76"/>
                    <a:pt x="248" y="67"/>
                  </a:cubicBezTo>
                  <a:cubicBezTo>
                    <a:pt x="242" y="57"/>
                    <a:pt x="230" y="54"/>
                    <a:pt x="220" y="59"/>
                  </a:cubicBezTo>
                  <a:cubicBezTo>
                    <a:pt x="212" y="64"/>
                    <a:pt x="208" y="73"/>
                    <a:pt x="211" y="82"/>
                  </a:cubicBezTo>
                  <a:cubicBezTo>
                    <a:pt x="148" y="118"/>
                    <a:pt x="148" y="118"/>
                    <a:pt x="148" y="118"/>
                  </a:cubicBezTo>
                  <a:cubicBezTo>
                    <a:pt x="148" y="118"/>
                    <a:pt x="148" y="118"/>
                    <a:pt x="147" y="118"/>
                  </a:cubicBezTo>
                  <a:cubicBezTo>
                    <a:pt x="159" y="99"/>
                    <a:pt x="159" y="99"/>
                    <a:pt x="159" y="99"/>
                  </a:cubicBezTo>
                  <a:cubicBezTo>
                    <a:pt x="160" y="96"/>
                    <a:pt x="159" y="93"/>
                    <a:pt x="157" y="92"/>
                  </a:cubicBezTo>
                  <a:cubicBezTo>
                    <a:pt x="154" y="90"/>
                    <a:pt x="151" y="91"/>
                    <a:pt x="150" y="9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8" y="113"/>
                    <a:pt x="138" y="113"/>
                    <a:pt x="138" y="113"/>
                  </a:cubicBezTo>
                  <a:cubicBezTo>
                    <a:pt x="138" y="40"/>
                    <a:pt x="138" y="40"/>
                    <a:pt x="138" y="40"/>
                  </a:cubicBezTo>
                  <a:cubicBezTo>
                    <a:pt x="147" y="38"/>
                    <a:pt x="153" y="30"/>
                    <a:pt x="153" y="21"/>
                  </a:cubicBezTo>
                  <a:cubicBezTo>
                    <a:pt x="153" y="9"/>
                    <a:pt x="144" y="0"/>
                    <a:pt x="133" y="0"/>
                  </a:cubicBezTo>
                  <a:cubicBezTo>
                    <a:pt x="122" y="0"/>
                    <a:pt x="113" y="9"/>
                    <a:pt x="113" y="21"/>
                  </a:cubicBezTo>
                  <a:cubicBezTo>
                    <a:pt x="113" y="30"/>
                    <a:pt x="119" y="38"/>
                    <a:pt x="128" y="40"/>
                  </a:cubicBezTo>
                  <a:cubicBezTo>
                    <a:pt x="128" y="113"/>
                    <a:pt x="128" y="113"/>
                    <a:pt x="128" y="113"/>
                  </a:cubicBezTo>
                  <a:cubicBezTo>
                    <a:pt x="128" y="113"/>
                    <a:pt x="127" y="113"/>
                    <a:pt x="127" y="113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7" y="44"/>
                    <a:pt x="99" y="34"/>
                    <a:pt x="94" y="25"/>
                  </a:cubicBezTo>
                  <a:cubicBezTo>
                    <a:pt x="92" y="21"/>
                    <a:pt x="87" y="17"/>
                    <a:pt x="82" y="16"/>
                  </a:cubicBezTo>
                  <a:cubicBezTo>
                    <a:pt x="77" y="15"/>
                    <a:pt x="71" y="15"/>
                    <a:pt x="67" y="18"/>
                  </a:cubicBezTo>
                  <a:cubicBezTo>
                    <a:pt x="62" y="21"/>
                    <a:pt x="59" y="25"/>
                    <a:pt x="57" y="30"/>
                  </a:cubicBezTo>
                  <a:cubicBezTo>
                    <a:pt x="56" y="36"/>
                    <a:pt x="57" y="41"/>
                    <a:pt x="59" y="46"/>
                  </a:cubicBezTo>
                  <a:cubicBezTo>
                    <a:pt x="62" y="50"/>
                    <a:pt x="66" y="54"/>
                    <a:pt x="72" y="55"/>
                  </a:cubicBezTo>
                  <a:cubicBezTo>
                    <a:pt x="73" y="56"/>
                    <a:pt x="75" y="56"/>
                    <a:pt x="77" y="56"/>
                  </a:cubicBezTo>
                  <a:cubicBezTo>
                    <a:pt x="79" y="56"/>
                    <a:pt x="80" y="56"/>
                    <a:pt x="82" y="55"/>
                  </a:cubicBezTo>
                  <a:cubicBezTo>
                    <a:pt x="119" y="118"/>
                    <a:pt x="119" y="118"/>
                    <a:pt x="119" y="118"/>
                  </a:cubicBezTo>
                  <a:cubicBezTo>
                    <a:pt x="118" y="118"/>
                    <a:pt x="118" y="118"/>
                    <a:pt x="118" y="118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8" y="73"/>
                    <a:pt x="54" y="64"/>
                    <a:pt x="46" y="59"/>
                  </a:cubicBezTo>
                  <a:cubicBezTo>
                    <a:pt x="36" y="54"/>
                    <a:pt x="24" y="57"/>
                    <a:pt x="18" y="67"/>
                  </a:cubicBezTo>
                  <a:cubicBezTo>
                    <a:pt x="13" y="76"/>
                    <a:pt x="16" y="89"/>
                    <a:pt x="26" y="94"/>
                  </a:cubicBezTo>
                  <a:cubicBezTo>
                    <a:pt x="29" y="96"/>
                    <a:pt x="32" y="97"/>
                    <a:pt x="36" y="97"/>
                  </a:cubicBezTo>
                  <a:cubicBezTo>
                    <a:pt x="41" y="97"/>
                    <a:pt x="46" y="95"/>
                    <a:pt x="50" y="91"/>
                  </a:cubicBezTo>
                  <a:cubicBezTo>
                    <a:pt x="113" y="127"/>
                    <a:pt x="113" y="127"/>
                    <a:pt x="113" y="127"/>
                  </a:cubicBezTo>
                  <a:cubicBezTo>
                    <a:pt x="113" y="128"/>
                    <a:pt x="113" y="128"/>
                    <a:pt x="113" y="128"/>
                  </a:cubicBezTo>
                  <a:cubicBezTo>
                    <a:pt x="40" y="128"/>
                    <a:pt x="40" y="128"/>
                    <a:pt x="40" y="128"/>
                  </a:cubicBezTo>
                  <a:cubicBezTo>
                    <a:pt x="38" y="119"/>
                    <a:pt x="30" y="113"/>
                    <a:pt x="21" y="113"/>
                  </a:cubicBezTo>
                  <a:cubicBezTo>
                    <a:pt x="9" y="113"/>
                    <a:pt x="0" y="122"/>
                    <a:pt x="0" y="133"/>
                  </a:cubicBezTo>
                  <a:cubicBezTo>
                    <a:pt x="0" y="144"/>
                    <a:pt x="9" y="153"/>
                    <a:pt x="21" y="153"/>
                  </a:cubicBezTo>
                  <a:cubicBezTo>
                    <a:pt x="30" y="153"/>
                    <a:pt x="38" y="147"/>
                    <a:pt x="40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114" y="138"/>
                    <a:pt x="114" y="138"/>
                    <a:pt x="114" y="138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44" y="168"/>
                    <a:pt x="34" y="167"/>
                    <a:pt x="26" y="172"/>
                  </a:cubicBezTo>
                  <a:cubicBezTo>
                    <a:pt x="16" y="177"/>
                    <a:pt x="13" y="190"/>
                    <a:pt x="18" y="199"/>
                  </a:cubicBezTo>
                  <a:cubicBezTo>
                    <a:pt x="21" y="204"/>
                    <a:pt x="25" y="207"/>
                    <a:pt x="30" y="209"/>
                  </a:cubicBezTo>
                  <a:cubicBezTo>
                    <a:pt x="32" y="209"/>
                    <a:pt x="34" y="209"/>
                    <a:pt x="36" y="209"/>
                  </a:cubicBezTo>
                  <a:cubicBezTo>
                    <a:pt x="39" y="209"/>
                    <a:pt x="43" y="208"/>
                    <a:pt x="46" y="207"/>
                  </a:cubicBezTo>
                  <a:cubicBezTo>
                    <a:pt x="54" y="202"/>
                    <a:pt x="58" y="192"/>
                    <a:pt x="55" y="184"/>
                  </a:cubicBezTo>
                  <a:cubicBezTo>
                    <a:pt x="115" y="149"/>
                    <a:pt x="115" y="149"/>
                    <a:pt x="115" y="149"/>
                  </a:cubicBezTo>
                  <a:cubicBezTo>
                    <a:pt x="115" y="150"/>
                    <a:pt x="115" y="151"/>
                    <a:pt x="115" y="152"/>
                  </a:cubicBezTo>
                  <a:cubicBezTo>
                    <a:pt x="115" y="154"/>
                    <a:pt x="115" y="154"/>
                    <a:pt x="115" y="154"/>
                  </a:cubicBezTo>
                  <a:cubicBezTo>
                    <a:pt x="82" y="211"/>
                    <a:pt x="82" y="211"/>
                    <a:pt x="82" y="211"/>
                  </a:cubicBezTo>
                  <a:cubicBezTo>
                    <a:pt x="79" y="210"/>
                    <a:pt x="75" y="210"/>
                    <a:pt x="72" y="211"/>
                  </a:cubicBezTo>
                  <a:cubicBezTo>
                    <a:pt x="66" y="212"/>
                    <a:pt x="62" y="215"/>
                    <a:pt x="59" y="220"/>
                  </a:cubicBezTo>
                  <a:cubicBezTo>
                    <a:pt x="57" y="225"/>
                    <a:pt x="56" y="230"/>
                    <a:pt x="57" y="235"/>
                  </a:cubicBezTo>
                  <a:cubicBezTo>
                    <a:pt x="59" y="241"/>
                    <a:pt x="62" y="245"/>
                    <a:pt x="67" y="248"/>
                  </a:cubicBezTo>
                  <a:cubicBezTo>
                    <a:pt x="70" y="250"/>
                    <a:pt x="73" y="250"/>
                    <a:pt x="77" y="250"/>
                  </a:cubicBezTo>
                  <a:cubicBezTo>
                    <a:pt x="79" y="250"/>
                    <a:pt x="80" y="250"/>
                    <a:pt x="82" y="250"/>
                  </a:cubicBezTo>
                  <a:cubicBezTo>
                    <a:pt x="87" y="248"/>
                    <a:pt x="92" y="245"/>
                    <a:pt x="94" y="240"/>
                  </a:cubicBezTo>
                  <a:cubicBezTo>
                    <a:pt x="95" y="239"/>
                    <a:pt x="96" y="237"/>
                    <a:pt x="96" y="236"/>
                  </a:cubicBezTo>
                  <a:cubicBezTo>
                    <a:pt x="105" y="247"/>
                    <a:pt x="113" y="261"/>
                    <a:pt x="118" y="276"/>
                  </a:cubicBezTo>
                  <a:cubicBezTo>
                    <a:pt x="123" y="288"/>
                    <a:pt x="131" y="297"/>
                    <a:pt x="142" y="304"/>
                  </a:cubicBezTo>
                  <a:cubicBezTo>
                    <a:pt x="139" y="342"/>
                    <a:pt x="139" y="342"/>
                    <a:pt x="139" y="342"/>
                  </a:cubicBezTo>
                  <a:cubicBezTo>
                    <a:pt x="139" y="344"/>
                    <a:pt x="140" y="345"/>
                    <a:pt x="141" y="346"/>
                  </a:cubicBezTo>
                  <a:cubicBezTo>
                    <a:pt x="142" y="347"/>
                    <a:pt x="143" y="348"/>
                    <a:pt x="144" y="348"/>
                  </a:cubicBezTo>
                  <a:cubicBezTo>
                    <a:pt x="201" y="348"/>
                    <a:pt x="201" y="348"/>
                    <a:pt x="201" y="348"/>
                  </a:cubicBezTo>
                  <a:cubicBezTo>
                    <a:pt x="203" y="348"/>
                    <a:pt x="204" y="347"/>
                    <a:pt x="205" y="346"/>
                  </a:cubicBezTo>
                  <a:cubicBezTo>
                    <a:pt x="206" y="345"/>
                    <a:pt x="206" y="344"/>
                    <a:pt x="206" y="342"/>
                  </a:cubicBezTo>
                  <a:cubicBezTo>
                    <a:pt x="203" y="304"/>
                    <a:pt x="203" y="304"/>
                    <a:pt x="203" y="304"/>
                  </a:cubicBezTo>
                  <a:cubicBezTo>
                    <a:pt x="215" y="297"/>
                    <a:pt x="224" y="286"/>
                    <a:pt x="228" y="273"/>
                  </a:cubicBezTo>
                  <a:cubicBezTo>
                    <a:pt x="229" y="270"/>
                    <a:pt x="228" y="267"/>
                    <a:pt x="225" y="266"/>
                  </a:cubicBezTo>
                  <a:cubicBezTo>
                    <a:pt x="222" y="265"/>
                    <a:pt x="219" y="267"/>
                    <a:pt x="219" y="270"/>
                  </a:cubicBezTo>
                  <a:cubicBezTo>
                    <a:pt x="215" y="281"/>
                    <a:pt x="207" y="291"/>
                    <a:pt x="196" y="297"/>
                  </a:cubicBezTo>
                  <a:cubicBezTo>
                    <a:pt x="194" y="298"/>
                    <a:pt x="193" y="300"/>
                    <a:pt x="193" y="302"/>
                  </a:cubicBezTo>
                  <a:cubicBezTo>
                    <a:pt x="196" y="337"/>
                    <a:pt x="196" y="337"/>
                    <a:pt x="196" y="337"/>
                  </a:cubicBezTo>
                  <a:cubicBezTo>
                    <a:pt x="150" y="337"/>
                    <a:pt x="150" y="337"/>
                    <a:pt x="150" y="337"/>
                  </a:cubicBezTo>
                  <a:cubicBezTo>
                    <a:pt x="153" y="302"/>
                    <a:pt x="153" y="302"/>
                    <a:pt x="153" y="302"/>
                  </a:cubicBezTo>
                  <a:cubicBezTo>
                    <a:pt x="153" y="300"/>
                    <a:pt x="152" y="298"/>
                    <a:pt x="150" y="297"/>
                  </a:cubicBezTo>
                  <a:cubicBezTo>
                    <a:pt x="140" y="291"/>
                    <a:pt x="132" y="283"/>
                    <a:pt x="128" y="272"/>
                  </a:cubicBezTo>
                  <a:cubicBezTo>
                    <a:pt x="122" y="256"/>
                    <a:pt x="113" y="241"/>
                    <a:pt x="103" y="228"/>
                  </a:cubicBezTo>
                  <a:cubicBezTo>
                    <a:pt x="101" y="226"/>
                    <a:pt x="101" y="226"/>
                    <a:pt x="101" y="226"/>
                  </a:cubicBezTo>
                  <a:cubicBezTo>
                    <a:pt x="99" y="222"/>
                    <a:pt x="100" y="219"/>
                    <a:pt x="102" y="217"/>
                  </a:cubicBezTo>
                  <a:cubicBezTo>
                    <a:pt x="104" y="215"/>
                    <a:pt x="108" y="214"/>
                    <a:pt x="111" y="216"/>
                  </a:cubicBezTo>
                  <a:cubicBezTo>
                    <a:pt x="113" y="217"/>
                    <a:pt x="114" y="218"/>
                    <a:pt x="116" y="220"/>
                  </a:cubicBezTo>
                  <a:cubicBezTo>
                    <a:pt x="117" y="222"/>
                    <a:pt x="119" y="223"/>
                    <a:pt x="121" y="223"/>
                  </a:cubicBezTo>
                  <a:cubicBezTo>
                    <a:pt x="124" y="222"/>
                    <a:pt x="125" y="220"/>
                    <a:pt x="125" y="218"/>
                  </a:cubicBezTo>
                  <a:cubicBezTo>
                    <a:pt x="125" y="152"/>
                    <a:pt x="125" y="152"/>
                    <a:pt x="125" y="152"/>
                  </a:cubicBezTo>
                  <a:cubicBezTo>
                    <a:pt x="125" y="149"/>
                    <a:pt x="126" y="147"/>
                    <a:pt x="128" y="146"/>
                  </a:cubicBezTo>
                  <a:cubicBezTo>
                    <a:pt x="130" y="144"/>
                    <a:pt x="132" y="144"/>
                    <a:pt x="134" y="144"/>
                  </a:cubicBezTo>
                  <a:cubicBezTo>
                    <a:pt x="138" y="144"/>
                    <a:pt x="141" y="148"/>
                    <a:pt x="141" y="152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1" y="217"/>
                    <a:pt x="141" y="217"/>
                    <a:pt x="141" y="217"/>
                  </a:cubicBezTo>
                  <a:cubicBezTo>
                    <a:pt x="141" y="220"/>
                    <a:pt x="143" y="222"/>
                    <a:pt x="146" y="222"/>
                  </a:cubicBezTo>
                  <a:cubicBezTo>
                    <a:pt x="149" y="222"/>
                    <a:pt x="151" y="220"/>
                    <a:pt x="151" y="217"/>
                  </a:cubicBezTo>
                  <a:cubicBezTo>
                    <a:pt x="151" y="196"/>
                    <a:pt x="151" y="196"/>
                    <a:pt x="151" y="196"/>
                  </a:cubicBezTo>
                  <a:cubicBezTo>
                    <a:pt x="151" y="192"/>
                    <a:pt x="155" y="188"/>
                    <a:pt x="160" y="188"/>
                  </a:cubicBezTo>
                  <a:cubicBezTo>
                    <a:pt x="164" y="188"/>
                    <a:pt x="168" y="192"/>
                    <a:pt x="168" y="196"/>
                  </a:cubicBezTo>
                  <a:cubicBezTo>
                    <a:pt x="168" y="196"/>
                    <a:pt x="168" y="196"/>
                    <a:pt x="168" y="196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68" y="220"/>
                    <a:pt x="170" y="222"/>
                    <a:pt x="173" y="222"/>
                  </a:cubicBezTo>
                  <a:cubicBezTo>
                    <a:pt x="176" y="222"/>
                    <a:pt x="178" y="220"/>
                    <a:pt x="178" y="217"/>
                  </a:cubicBezTo>
                  <a:cubicBezTo>
                    <a:pt x="178" y="197"/>
                    <a:pt x="178" y="197"/>
                    <a:pt x="178" y="197"/>
                  </a:cubicBezTo>
                  <a:cubicBezTo>
                    <a:pt x="178" y="197"/>
                    <a:pt x="178" y="196"/>
                    <a:pt x="178" y="196"/>
                  </a:cubicBezTo>
                  <a:cubicBezTo>
                    <a:pt x="178" y="192"/>
                    <a:pt x="182" y="188"/>
                    <a:pt x="186" y="188"/>
                  </a:cubicBezTo>
                  <a:cubicBezTo>
                    <a:pt x="190" y="188"/>
                    <a:pt x="193" y="191"/>
                    <a:pt x="194" y="195"/>
                  </a:cubicBezTo>
                  <a:cubicBezTo>
                    <a:pt x="194" y="217"/>
                    <a:pt x="194" y="217"/>
                    <a:pt x="194" y="217"/>
                  </a:cubicBezTo>
                  <a:cubicBezTo>
                    <a:pt x="194" y="220"/>
                    <a:pt x="196" y="222"/>
                    <a:pt x="199" y="222"/>
                  </a:cubicBezTo>
                  <a:cubicBezTo>
                    <a:pt x="202" y="222"/>
                    <a:pt x="204" y="220"/>
                    <a:pt x="204" y="217"/>
                  </a:cubicBezTo>
                  <a:cubicBezTo>
                    <a:pt x="204" y="204"/>
                    <a:pt x="204" y="204"/>
                    <a:pt x="204" y="204"/>
                  </a:cubicBezTo>
                  <a:cubicBezTo>
                    <a:pt x="204" y="200"/>
                    <a:pt x="208" y="197"/>
                    <a:pt x="212" y="197"/>
                  </a:cubicBezTo>
                  <a:cubicBezTo>
                    <a:pt x="213" y="197"/>
                    <a:pt x="213" y="197"/>
                    <a:pt x="213" y="197"/>
                  </a:cubicBezTo>
                  <a:cubicBezTo>
                    <a:pt x="217" y="197"/>
                    <a:pt x="220" y="201"/>
                    <a:pt x="220" y="205"/>
                  </a:cubicBezTo>
                  <a:cubicBezTo>
                    <a:pt x="220" y="236"/>
                    <a:pt x="220" y="236"/>
                    <a:pt x="220" y="236"/>
                  </a:cubicBezTo>
                  <a:cubicBezTo>
                    <a:pt x="220" y="239"/>
                    <a:pt x="223" y="241"/>
                    <a:pt x="226" y="241"/>
                  </a:cubicBezTo>
                  <a:cubicBezTo>
                    <a:pt x="228" y="241"/>
                    <a:pt x="231" y="239"/>
                    <a:pt x="231" y="236"/>
                  </a:cubicBezTo>
                  <a:cubicBezTo>
                    <a:pt x="231" y="209"/>
                    <a:pt x="231" y="209"/>
                    <a:pt x="231" y="209"/>
                  </a:cubicBezTo>
                  <a:cubicBezTo>
                    <a:pt x="232" y="209"/>
                    <a:pt x="234" y="209"/>
                    <a:pt x="236" y="209"/>
                  </a:cubicBezTo>
                  <a:cubicBezTo>
                    <a:pt x="241" y="207"/>
                    <a:pt x="245" y="204"/>
                    <a:pt x="248" y="199"/>
                  </a:cubicBezTo>
                  <a:cubicBezTo>
                    <a:pt x="253" y="190"/>
                    <a:pt x="250" y="177"/>
                    <a:pt x="240" y="172"/>
                  </a:cubicBezTo>
                  <a:cubicBezTo>
                    <a:pt x="232" y="167"/>
                    <a:pt x="222" y="168"/>
                    <a:pt x="216" y="175"/>
                  </a:cubicBezTo>
                  <a:cubicBezTo>
                    <a:pt x="152" y="138"/>
                    <a:pt x="152" y="138"/>
                    <a:pt x="152" y="138"/>
                  </a:cubicBezTo>
                  <a:cubicBezTo>
                    <a:pt x="152" y="138"/>
                    <a:pt x="152" y="138"/>
                    <a:pt x="152" y="138"/>
                  </a:cubicBezTo>
                  <a:cubicBezTo>
                    <a:pt x="226" y="138"/>
                    <a:pt x="226" y="138"/>
                    <a:pt x="226" y="138"/>
                  </a:cubicBezTo>
                  <a:close/>
                  <a:moveTo>
                    <a:pt x="245" y="123"/>
                  </a:moveTo>
                  <a:cubicBezTo>
                    <a:pt x="251" y="123"/>
                    <a:pt x="255" y="127"/>
                    <a:pt x="255" y="133"/>
                  </a:cubicBezTo>
                  <a:cubicBezTo>
                    <a:pt x="255" y="138"/>
                    <a:pt x="251" y="143"/>
                    <a:pt x="245" y="143"/>
                  </a:cubicBezTo>
                  <a:cubicBezTo>
                    <a:pt x="240" y="143"/>
                    <a:pt x="235" y="138"/>
                    <a:pt x="235" y="133"/>
                  </a:cubicBezTo>
                  <a:cubicBezTo>
                    <a:pt x="235" y="127"/>
                    <a:pt x="240" y="123"/>
                    <a:pt x="245" y="123"/>
                  </a:cubicBezTo>
                  <a:close/>
                  <a:moveTo>
                    <a:pt x="225" y="68"/>
                  </a:moveTo>
                  <a:cubicBezTo>
                    <a:pt x="227" y="67"/>
                    <a:pt x="229" y="67"/>
                    <a:pt x="230" y="67"/>
                  </a:cubicBezTo>
                  <a:cubicBezTo>
                    <a:pt x="231" y="67"/>
                    <a:pt x="232" y="67"/>
                    <a:pt x="233" y="67"/>
                  </a:cubicBezTo>
                  <a:cubicBezTo>
                    <a:pt x="235" y="68"/>
                    <a:pt x="238" y="69"/>
                    <a:pt x="239" y="72"/>
                  </a:cubicBezTo>
                  <a:cubicBezTo>
                    <a:pt x="242" y="76"/>
                    <a:pt x="240" y="83"/>
                    <a:pt x="235" y="85"/>
                  </a:cubicBezTo>
                  <a:cubicBezTo>
                    <a:pt x="233" y="87"/>
                    <a:pt x="230" y="87"/>
                    <a:pt x="228" y="86"/>
                  </a:cubicBezTo>
                  <a:cubicBezTo>
                    <a:pt x="225" y="86"/>
                    <a:pt x="223" y="84"/>
                    <a:pt x="222" y="82"/>
                  </a:cubicBezTo>
                  <a:cubicBezTo>
                    <a:pt x="219" y="77"/>
                    <a:pt x="220" y="71"/>
                    <a:pt x="225" y="68"/>
                  </a:cubicBezTo>
                  <a:close/>
                  <a:moveTo>
                    <a:pt x="82" y="44"/>
                  </a:moveTo>
                  <a:cubicBezTo>
                    <a:pt x="79" y="46"/>
                    <a:pt x="77" y="46"/>
                    <a:pt x="74" y="45"/>
                  </a:cubicBezTo>
                  <a:cubicBezTo>
                    <a:pt x="72" y="45"/>
                    <a:pt x="69" y="43"/>
                    <a:pt x="68" y="41"/>
                  </a:cubicBezTo>
                  <a:cubicBezTo>
                    <a:pt x="67" y="38"/>
                    <a:pt x="66" y="36"/>
                    <a:pt x="67" y="33"/>
                  </a:cubicBezTo>
                  <a:cubicBezTo>
                    <a:pt x="68" y="30"/>
                    <a:pt x="69" y="28"/>
                    <a:pt x="72" y="27"/>
                  </a:cubicBezTo>
                  <a:cubicBezTo>
                    <a:pt x="73" y="26"/>
                    <a:pt x="75" y="26"/>
                    <a:pt x="77" y="26"/>
                  </a:cubicBezTo>
                  <a:cubicBezTo>
                    <a:pt x="78" y="26"/>
                    <a:pt x="79" y="26"/>
                    <a:pt x="79" y="26"/>
                  </a:cubicBezTo>
                  <a:cubicBezTo>
                    <a:pt x="82" y="27"/>
                    <a:pt x="84" y="28"/>
                    <a:pt x="85" y="31"/>
                  </a:cubicBezTo>
                  <a:cubicBezTo>
                    <a:pt x="88" y="35"/>
                    <a:pt x="87" y="41"/>
                    <a:pt x="82" y="44"/>
                  </a:cubicBezTo>
                  <a:close/>
                  <a:moveTo>
                    <a:pt x="44" y="82"/>
                  </a:moveTo>
                  <a:cubicBezTo>
                    <a:pt x="43" y="84"/>
                    <a:pt x="41" y="86"/>
                    <a:pt x="38" y="86"/>
                  </a:cubicBezTo>
                  <a:cubicBezTo>
                    <a:pt x="36" y="87"/>
                    <a:pt x="33" y="87"/>
                    <a:pt x="31" y="85"/>
                  </a:cubicBezTo>
                  <a:cubicBezTo>
                    <a:pt x="26" y="83"/>
                    <a:pt x="24" y="76"/>
                    <a:pt x="27" y="72"/>
                  </a:cubicBezTo>
                  <a:cubicBezTo>
                    <a:pt x="28" y="69"/>
                    <a:pt x="30" y="68"/>
                    <a:pt x="33" y="67"/>
                  </a:cubicBezTo>
                  <a:cubicBezTo>
                    <a:pt x="34" y="67"/>
                    <a:pt x="35" y="67"/>
                    <a:pt x="36" y="67"/>
                  </a:cubicBezTo>
                  <a:cubicBezTo>
                    <a:pt x="37" y="67"/>
                    <a:pt x="39" y="67"/>
                    <a:pt x="41" y="68"/>
                  </a:cubicBezTo>
                  <a:cubicBezTo>
                    <a:pt x="45" y="71"/>
                    <a:pt x="47" y="77"/>
                    <a:pt x="44" y="82"/>
                  </a:cubicBezTo>
                  <a:close/>
                  <a:moveTo>
                    <a:pt x="21" y="143"/>
                  </a:moveTo>
                  <a:cubicBezTo>
                    <a:pt x="15" y="143"/>
                    <a:pt x="11" y="138"/>
                    <a:pt x="11" y="133"/>
                  </a:cubicBezTo>
                  <a:cubicBezTo>
                    <a:pt x="11" y="127"/>
                    <a:pt x="15" y="123"/>
                    <a:pt x="21" y="123"/>
                  </a:cubicBezTo>
                  <a:cubicBezTo>
                    <a:pt x="26" y="123"/>
                    <a:pt x="31" y="127"/>
                    <a:pt x="31" y="133"/>
                  </a:cubicBezTo>
                  <a:cubicBezTo>
                    <a:pt x="31" y="138"/>
                    <a:pt x="26" y="143"/>
                    <a:pt x="21" y="143"/>
                  </a:cubicBezTo>
                  <a:close/>
                  <a:moveTo>
                    <a:pt x="41" y="198"/>
                  </a:moveTo>
                  <a:cubicBezTo>
                    <a:pt x="38" y="199"/>
                    <a:pt x="36" y="199"/>
                    <a:pt x="33" y="199"/>
                  </a:cubicBezTo>
                  <a:cubicBezTo>
                    <a:pt x="30" y="198"/>
                    <a:pt x="28" y="196"/>
                    <a:pt x="27" y="194"/>
                  </a:cubicBezTo>
                  <a:cubicBezTo>
                    <a:pt x="24" y="189"/>
                    <a:pt x="26" y="183"/>
                    <a:pt x="31" y="180"/>
                  </a:cubicBezTo>
                  <a:cubicBezTo>
                    <a:pt x="35" y="178"/>
                    <a:pt x="42" y="179"/>
                    <a:pt x="44" y="184"/>
                  </a:cubicBezTo>
                  <a:cubicBezTo>
                    <a:pt x="47" y="189"/>
                    <a:pt x="45" y="195"/>
                    <a:pt x="41" y="198"/>
                  </a:cubicBezTo>
                  <a:close/>
                  <a:moveTo>
                    <a:pt x="85" y="235"/>
                  </a:moveTo>
                  <a:cubicBezTo>
                    <a:pt x="84" y="238"/>
                    <a:pt x="82" y="239"/>
                    <a:pt x="79" y="240"/>
                  </a:cubicBezTo>
                  <a:cubicBezTo>
                    <a:pt x="77" y="241"/>
                    <a:pt x="74" y="240"/>
                    <a:pt x="72" y="239"/>
                  </a:cubicBezTo>
                  <a:cubicBezTo>
                    <a:pt x="69" y="238"/>
                    <a:pt x="68" y="235"/>
                    <a:pt x="67" y="233"/>
                  </a:cubicBezTo>
                  <a:cubicBezTo>
                    <a:pt x="66" y="230"/>
                    <a:pt x="67" y="227"/>
                    <a:pt x="68" y="225"/>
                  </a:cubicBezTo>
                  <a:cubicBezTo>
                    <a:pt x="69" y="223"/>
                    <a:pt x="72" y="221"/>
                    <a:pt x="74" y="220"/>
                  </a:cubicBezTo>
                  <a:cubicBezTo>
                    <a:pt x="77" y="220"/>
                    <a:pt x="79" y="220"/>
                    <a:pt x="82" y="221"/>
                  </a:cubicBezTo>
                  <a:cubicBezTo>
                    <a:pt x="84" y="223"/>
                    <a:pt x="86" y="225"/>
                    <a:pt x="86" y="228"/>
                  </a:cubicBezTo>
                  <a:cubicBezTo>
                    <a:pt x="87" y="230"/>
                    <a:pt x="87" y="233"/>
                    <a:pt x="85" y="235"/>
                  </a:cubicBezTo>
                  <a:close/>
                  <a:moveTo>
                    <a:pt x="91" y="216"/>
                  </a:moveTo>
                  <a:cubicBezTo>
                    <a:pt x="91" y="216"/>
                    <a:pt x="91" y="216"/>
                    <a:pt x="91" y="216"/>
                  </a:cubicBezTo>
                  <a:cubicBezTo>
                    <a:pt x="92" y="214"/>
                    <a:pt x="92" y="214"/>
                    <a:pt x="92" y="214"/>
                  </a:cubicBezTo>
                  <a:cubicBezTo>
                    <a:pt x="92" y="215"/>
                    <a:pt x="91" y="215"/>
                    <a:pt x="91" y="216"/>
                  </a:cubicBezTo>
                  <a:close/>
                  <a:moveTo>
                    <a:pt x="115" y="206"/>
                  </a:moveTo>
                  <a:cubicBezTo>
                    <a:pt x="108" y="203"/>
                    <a:pt x="101" y="204"/>
                    <a:pt x="95" y="210"/>
                  </a:cubicBezTo>
                  <a:cubicBezTo>
                    <a:pt x="94" y="211"/>
                    <a:pt x="94" y="212"/>
                    <a:pt x="93" y="213"/>
                  </a:cubicBezTo>
                  <a:cubicBezTo>
                    <a:pt x="115" y="174"/>
                    <a:pt x="115" y="174"/>
                    <a:pt x="115" y="174"/>
                  </a:cubicBezTo>
                  <a:lnTo>
                    <a:pt x="115" y="206"/>
                  </a:lnTo>
                  <a:close/>
                  <a:moveTo>
                    <a:pt x="123" y="21"/>
                  </a:moveTo>
                  <a:cubicBezTo>
                    <a:pt x="123" y="15"/>
                    <a:pt x="127" y="10"/>
                    <a:pt x="133" y="10"/>
                  </a:cubicBezTo>
                  <a:cubicBezTo>
                    <a:pt x="139" y="10"/>
                    <a:pt x="143" y="15"/>
                    <a:pt x="143" y="21"/>
                  </a:cubicBezTo>
                  <a:cubicBezTo>
                    <a:pt x="143" y="26"/>
                    <a:pt x="139" y="31"/>
                    <a:pt x="133" y="31"/>
                  </a:cubicBezTo>
                  <a:cubicBezTo>
                    <a:pt x="127" y="31"/>
                    <a:pt x="123" y="26"/>
                    <a:pt x="123" y="21"/>
                  </a:cubicBezTo>
                  <a:close/>
                  <a:moveTo>
                    <a:pt x="142" y="136"/>
                  </a:moveTo>
                  <a:cubicBezTo>
                    <a:pt x="140" y="135"/>
                    <a:pt x="138" y="134"/>
                    <a:pt x="135" y="134"/>
                  </a:cubicBezTo>
                  <a:cubicBezTo>
                    <a:pt x="131" y="133"/>
                    <a:pt x="127" y="134"/>
                    <a:pt x="124" y="136"/>
                  </a:cubicBezTo>
                  <a:cubicBezTo>
                    <a:pt x="123" y="135"/>
                    <a:pt x="123" y="134"/>
                    <a:pt x="123" y="132"/>
                  </a:cubicBezTo>
                  <a:cubicBezTo>
                    <a:pt x="123" y="127"/>
                    <a:pt x="127" y="122"/>
                    <a:pt x="133" y="122"/>
                  </a:cubicBezTo>
                  <a:cubicBezTo>
                    <a:pt x="139" y="122"/>
                    <a:pt x="143" y="127"/>
                    <a:pt x="143" y="132"/>
                  </a:cubicBezTo>
                  <a:cubicBezTo>
                    <a:pt x="143" y="134"/>
                    <a:pt x="143" y="135"/>
                    <a:pt x="142" y="136"/>
                  </a:cubicBezTo>
                  <a:close/>
                  <a:moveTo>
                    <a:pt x="222" y="184"/>
                  </a:moveTo>
                  <a:cubicBezTo>
                    <a:pt x="224" y="179"/>
                    <a:pt x="231" y="178"/>
                    <a:pt x="235" y="180"/>
                  </a:cubicBezTo>
                  <a:cubicBezTo>
                    <a:pt x="240" y="183"/>
                    <a:pt x="242" y="189"/>
                    <a:pt x="239" y="194"/>
                  </a:cubicBezTo>
                  <a:cubicBezTo>
                    <a:pt x="238" y="196"/>
                    <a:pt x="235" y="198"/>
                    <a:pt x="233" y="199"/>
                  </a:cubicBezTo>
                  <a:cubicBezTo>
                    <a:pt x="232" y="199"/>
                    <a:pt x="231" y="199"/>
                    <a:pt x="230" y="199"/>
                  </a:cubicBezTo>
                  <a:cubicBezTo>
                    <a:pt x="228" y="194"/>
                    <a:pt x="225" y="191"/>
                    <a:pt x="220" y="189"/>
                  </a:cubicBezTo>
                  <a:cubicBezTo>
                    <a:pt x="220" y="187"/>
                    <a:pt x="221" y="186"/>
                    <a:pt x="222" y="184"/>
                  </a:cubicBezTo>
                  <a:close/>
                  <a:moveTo>
                    <a:pt x="151" y="180"/>
                  </a:moveTo>
                  <a:cubicBezTo>
                    <a:pt x="151" y="175"/>
                    <a:pt x="151" y="175"/>
                    <a:pt x="151" y="175"/>
                  </a:cubicBezTo>
                  <a:cubicBezTo>
                    <a:pt x="154" y="179"/>
                    <a:pt x="154" y="179"/>
                    <a:pt x="154" y="179"/>
                  </a:cubicBezTo>
                  <a:cubicBezTo>
                    <a:pt x="153" y="179"/>
                    <a:pt x="152" y="180"/>
                    <a:pt x="151" y="180"/>
                  </a:cubicBezTo>
                  <a:close/>
                  <a:moveTo>
                    <a:pt x="211" y="184"/>
                  </a:moveTo>
                  <a:cubicBezTo>
                    <a:pt x="210" y="185"/>
                    <a:pt x="210" y="186"/>
                    <a:pt x="210" y="187"/>
                  </a:cubicBezTo>
                  <a:cubicBezTo>
                    <a:pt x="207" y="187"/>
                    <a:pt x="205" y="188"/>
                    <a:pt x="203" y="189"/>
                  </a:cubicBezTo>
                  <a:cubicBezTo>
                    <a:pt x="200" y="183"/>
                    <a:pt x="193" y="178"/>
                    <a:pt x="186" y="178"/>
                  </a:cubicBezTo>
                  <a:cubicBezTo>
                    <a:pt x="181" y="178"/>
                    <a:pt x="176" y="180"/>
                    <a:pt x="173" y="184"/>
                  </a:cubicBezTo>
                  <a:cubicBezTo>
                    <a:pt x="171" y="182"/>
                    <a:pt x="168" y="180"/>
                    <a:pt x="166" y="179"/>
                  </a:cubicBezTo>
                  <a:cubicBezTo>
                    <a:pt x="151" y="155"/>
                    <a:pt x="151" y="155"/>
                    <a:pt x="151" y="155"/>
                  </a:cubicBezTo>
                  <a:cubicBezTo>
                    <a:pt x="151" y="152"/>
                    <a:pt x="151" y="152"/>
                    <a:pt x="151" y="152"/>
                  </a:cubicBezTo>
                  <a:cubicBezTo>
                    <a:pt x="151" y="151"/>
                    <a:pt x="151" y="150"/>
                    <a:pt x="151" y="149"/>
                  </a:cubicBezTo>
                  <a:lnTo>
                    <a:pt x="211" y="1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57" name="Freeform 162">
              <a:extLst>
                <a:ext uri="{FF2B5EF4-FFF2-40B4-BE49-F238E27FC236}">
                  <a16:creationId xmlns:a16="http://schemas.microsoft.com/office/drawing/2014/main" id="{2D582B37-5447-4B28-BED0-57C79422BC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" y="1783"/>
              <a:ext cx="90" cy="113"/>
            </a:xfrm>
            <a:custGeom>
              <a:avLst/>
              <a:gdLst>
                <a:gd name="T0" fmla="*/ 43 w 44"/>
                <a:gd name="T1" fmla="*/ 15 h 55"/>
                <a:gd name="T2" fmla="*/ 33 w 44"/>
                <a:gd name="T3" fmla="*/ 3 h 55"/>
                <a:gd name="T4" fmla="*/ 18 w 44"/>
                <a:gd name="T5" fmla="*/ 1 h 55"/>
                <a:gd name="T6" fmla="*/ 6 w 44"/>
                <a:gd name="T7" fmla="*/ 10 h 55"/>
                <a:gd name="T8" fmla="*/ 9 w 44"/>
                <a:gd name="T9" fmla="*/ 35 h 55"/>
                <a:gd name="T10" fmla="*/ 2 w 44"/>
                <a:gd name="T11" fmla="*/ 47 h 55"/>
                <a:gd name="T12" fmla="*/ 4 w 44"/>
                <a:gd name="T13" fmla="*/ 54 h 55"/>
                <a:gd name="T14" fmla="*/ 6 w 44"/>
                <a:gd name="T15" fmla="*/ 55 h 55"/>
                <a:gd name="T16" fmla="*/ 11 w 44"/>
                <a:gd name="T17" fmla="*/ 53 h 55"/>
                <a:gd name="T18" fmla="*/ 18 w 44"/>
                <a:gd name="T19" fmla="*/ 40 h 55"/>
                <a:gd name="T20" fmla="*/ 23 w 44"/>
                <a:gd name="T21" fmla="*/ 41 h 55"/>
                <a:gd name="T22" fmla="*/ 28 w 44"/>
                <a:gd name="T23" fmla="*/ 40 h 55"/>
                <a:gd name="T24" fmla="*/ 41 w 44"/>
                <a:gd name="T25" fmla="*/ 31 h 55"/>
                <a:gd name="T26" fmla="*/ 43 w 44"/>
                <a:gd name="T27" fmla="*/ 15 h 55"/>
                <a:gd name="T28" fmla="*/ 32 w 44"/>
                <a:gd name="T29" fmla="*/ 26 h 55"/>
                <a:gd name="T30" fmla="*/ 26 w 44"/>
                <a:gd name="T31" fmla="*/ 30 h 55"/>
                <a:gd name="T32" fmla="*/ 18 w 44"/>
                <a:gd name="T33" fmla="*/ 29 h 55"/>
                <a:gd name="T34" fmla="*/ 14 w 44"/>
                <a:gd name="T35" fmla="*/ 16 h 55"/>
                <a:gd name="T36" fmla="*/ 21 w 44"/>
                <a:gd name="T37" fmla="*/ 11 h 55"/>
                <a:gd name="T38" fmla="*/ 23 w 44"/>
                <a:gd name="T39" fmla="*/ 11 h 55"/>
                <a:gd name="T40" fmla="*/ 28 w 44"/>
                <a:gd name="T41" fmla="*/ 12 h 55"/>
                <a:gd name="T42" fmla="*/ 33 w 44"/>
                <a:gd name="T43" fmla="*/ 18 h 55"/>
                <a:gd name="T44" fmla="*/ 32 w 44"/>
                <a:gd name="T45" fmla="*/ 26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4" h="55">
                  <a:moveTo>
                    <a:pt x="43" y="15"/>
                  </a:moveTo>
                  <a:cubicBezTo>
                    <a:pt x="41" y="10"/>
                    <a:pt x="38" y="6"/>
                    <a:pt x="33" y="3"/>
                  </a:cubicBezTo>
                  <a:cubicBezTo>
                    <a:pt x="29" y="0"/>
                    <a:pt x="23" y="0"/>
                    <a:pt x="18" y="1"/>
                  </a:cubicBezTo>
                  <a:cubicBezTo>
                    <a:pt x="13" y="2"/>
                    <a:pt x="8" y="6"/>
                    <a:pt x="6" y="10"/>
                  </a:cubicBezTo>
                  <a:cubicBezTo>
                    <a:pt x="1" y="19"/>
                    <a:pt x="3" y="29"/>
                    <a:pt x="9" y="35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0" y="50"/>
                    <a:pt x="1" y="53"/>
                    <a:pt x="4" y="54"/>
                  </a:cubicBezTo>
                  <a:cubicBezTo>
                    <a:pt x="4" y="55"/>
                    <a:pt x="5" y="55"/>
                    <a:pt x="6" y="55"/>
                  </a:cubicBezTo>
                  <a:cubicBezTo>
                    <a:pt x="8" y="55"/>
                    <a:pt x="10" y="54"/>
                    <a:pt x="11" y="53"/>
                  </a:cubicBezTo>
                  <a:cubicBezTo>
                    <a:pt x="18" y="40"/>
                    <a:pt x="18" y="40"/>
                    <a:pt x="18" y="40"/>
                  </a:cubicBezTo>
                  <a:cubicBezTo>
                    <a:pt x="20" y="41"/>
                    <a:pt x="21" y="41"/>
                    <a:pt x="23" y="41"/>
                  </a:cubicBezTo>
                  <a:cubicBezTo>
                    <a:pt x="25" y="41"/>
                    <a:pt x="27" y="41"/>
                    <a:pt x="28" y="40"/>
                  </a:cubicBezTo>
                  <a:cubicBezTo>
                    <a:pt x="34" y="39"/>
                    <a:pt x="38" y="35"/>
                    <a:pt x="41" y="31"/>
                  </a:cubicBezTo>
                  <a:cubicBezTo>
                    <a:pt x="43" y="26"/>
                    <a:pt x="44" y="21"/>
                    <a:pt x="43" y="15"/>
                  </a:cubicBezTo>
                  <a:close/>
                  <a:moveTo>
                    <a:pt x="32" y="26"/>
                  </a:moveTo>
                  <a:cubicBezTo>
                    <a:pt x="31" y="28"/>
                    <a:pt x="28" y="30"/>
                    <a:pt x="26" y="30"/>
                  </a:cubicBezTo>
                  <a:cubicBezTo>
                    <a:pt x="23" y="31"/>
                    <a:pt x="20" y="31"/>
                    <a:pt x="18" y="29"/>
                  </a:cubicBezTo>
                  <a:cubicBezTo>
                    <a:pt x="13" y="26"/>
                    <a:pt x="12" y="20"/>
                    <a:pt x="14" y="16"/>
                  </a:cubicBezTo>
                  <a:cubicBezTo>
                    <a:pt x="16" y="13"/>
                    <a:pt x="18" y="12"/>
                    <a:pt x="21" y="11"/>
                  </a:cubicBezTo>
                  <a:cubicBezTo>
                    <a:pt x="21" y="11"/>
                    <a:pt x="22" y="11"/>
                    <a:pt x="23" y="11"/>
                  </a:cubicBezTo>
                  <a:cubicBezTo>
                    <a:pt x="25" y="11"/>
                    <a:pt x="27" y="11"/>
                    <a:pt x="28" y="12"/>
                  </a:cubicBezTo>
                  <a:cubicBezTo>
                    <a:pt x="31" y="13"/>
                    <a:pt x="32" y="15"/>
                    <a:pt x="33" y="18"/>
                  </a:cubicBezTo>
                  <a:cubicBezTo>
                    <a:pt x="34" y="21"/>
                    <a:pt x="33" y="23"/>
                    <a:pt x="32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58" name="Group 165">
            <a:extLst>
              <a:ext uri="{FF2B5EF4-FFF2-40B4-BE49-F238E27FC236}">
                <a16:creationId xmlns:a16="http://schemas.microsoft.com/office/drawing/2014/main" id="{C35C2368-7703-4536-80AD-028ABB8C7DC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45544" y="1724178"/>
            <a:ext cx="287190" cy="274320"/>
            <a:chOff x="198" y="1686"/>
            <a:chExt cx="714" cy="682"/>
          </a:xfrm>
          <a:solidFill>
            <a:schemeClr val="accent1"/>
          </a:solidFill>
        </p:grpSpPr>
        <p:sp>
          <p:nvSpPr>
            <p:cNvPr id="59" name="Freeform 166">
              <a:extLst>
                <a:ext uri="{FF2B5EF4-FFF2-40B4-BE49-F238E27FC236}">
                  <a16:creationId xmlns:a16="http://schemas.microsoft.com/office/drawing/2014/main" id="{36575A1C-C626-4D9C-8CE4-8C05BB8B60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3" y="1898"/>
              <a:ext cx="245" cy="246"/>
            </a:xfrm>
            <a:custGeom>
              <a:avLst/>
              <a:gdLst>
                <a:gd name="T0" fmla="*/ 60 w 119"/>
                <a:gd name="T1" fmla="*/ 0 h 119"/>
                <a:gd name="T2" fmla="*/ 0 w 119"/>
                <a:gd name="T3" fmla="*/ 60 h 119"/>
                <a:gd name="T4" fmla="*/ 60 w 119"/>
                <a:gd name="T5" fmla="*/ 119 h 119"/>
                <a:gd name="T6" fmla="*/ 119 w 119"/>
                <a:gd name="T7" fmla="*/ 60 h 119"/>
                <a:gd name="T8" fmla="*/ 60 w 119"/>
                <a:gd name="T9" fmla="*/ 0 h 119"/>
                <a:gd name="T10" fmla="*/ 60 w 119"/>
                <a:gd name="T11" fmla="*/ 109 h 119"/>
                <a:gd name="T12" fmla="*/ 11 w 119"/>
                <a:gd name="T13" fmla="*/ 60 h 119"/>
                <a:gd name="T14" fmla="*/ 60 w 119"/>
                <a:gd name="T15" fmla="*/ 11 h 119"/>
                <a:gd name="T16" fmla="*/ 108 w 119"/>
                <a:gd name="T17" fmla="*/ 60 h 119"/>
                <a:gd name="T18" fmla="*/ 60 w 119"/>
                <a:gd name="T19" fmla="*/ 10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119">
                  <a:moveTo>
                    <a:pt x="60" y="0"/>
                  </a:moveTo>
                  <a:cubicBezTo>
                    <a:pt x="27" y="0"/>
                    <a:pt x="0" y="27"/>
                    <a:pt x="0" y="60"/>
                  </a:cubicBezTo>
                  <a:cubicBezTo>
                    <a:pt x="0" y="93"/>
                    <a:pt x="27" y="119"/>
                    <a:pt x="60" y="119"/>
                  </a:cubicBezTo>
                  <a:cubicBezTo>
                    <a:pt x="92" y="119"/>
                    <a:pt x="119" y="93"/>
                    <a:pt x="119" y="60"/>
                  </a:cubicBezTo>
                  <a:cubicBezTo>
                    <a:pt x="119" y="27"/>
                    <a:pt x="92" y="0"/>
                    <a:pt x="60" y="0"/>
                  </a:cubicBezTo>
                  <a:close/>
                  <a:moveTo>
                    <a:pt x="60" y="109"/>
                  </a:moveTo>
                  <a:cubicBezTo>
                    <a:pt x="33" y="109"/>
                    <a:pt x="11" y="87"/>
                    <a:pt x="11" y="60"/>
                  </a:cubicBezTo>
                  <a:cubicBezTo>
                    <a:pt x="11" y="33"/>
                    <a:pt x="33" y="11"/>
                    <a:pt x="60" y="11"/>
                  </a:cubicBezTo>
                  <a:cubicBezTo>
                    <a:pt x="86" y="11"/>
                    <a:pt x="108" y="33"/>
                    <a:pt x="108" y="60"/>
                  </a:cubicBezTo>
                  <a:cubicBezTo>
                    <a:pt x="108" y="87"/>
                    <a:pt x="86" y="109"/>
                    <a:pt x="60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0" name="Freeform 167">
              <a:extLst>
                <a:ext uri="{FF2B5EF4-FFF2-40B4-BE49-F238E27FC236}">
                  <a16:creationId xmlns:a16="http://schemas.microsoft.com/office/drawing/2014/main" id="{F924FC7F-0FAE-4AA3-AC39-E281DAEA2F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1" y="1977"/>
              <a:ext cx="88" cy="88"/>
            </a:xfrm>
            <a:custGeom>
              <a:avLst/>
              <a:gdLst>
                <a:gd name="T0" fmla="*/ 22 w 43"/>
                <a:gd name="T1" fmla="*/ 0 h 43"/>
                <a:gd name="T2" fmla="*/ 0 w 43"/>
                <a:gd name="T3" fmla="*/ 22 h 43"/>
                <a:gd name="T4" fmla="*/ 22 w 43"/>
                <a:gd name="T5" fmla="*/ 43 h 43"/>
                <a:gd name="T6" fmla="*/ 43 w 43"/>
                <a:gd name="T7" fmla="*/ 22 h 43"/>
                <a:gd name="T8" fmla="*/ 22 w 43"/>
                <a:gd name="T9" fmla="*/ 0 h 43"/>
                <a:gd name="T10" fmla="*/ 22 w 43"/>
                <a:gd name="T11" fmla="*/ 33 h 43"/>
                <a:gd name="T12" fmla="*/ 11 w 43"/>
                <a:gd name="T13" fmla="*/ 22 h 43"/>
                <a:gd name="T14" fmla="*/ 22 w 43"/>
                <a:gd name="T15" fmla="*/ 11 h 43"/>
                <a:gd name="T16" fmla="*/ 32 w 43"/>
                <a:gd name="T17" fmla="*/ 22 h 43"/>
                <a:gd name="T18" fmla="*/ 22 w 43"/>
                <a:gd name="T19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3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3"/>
                    <a:pt x="22" y="43"/>
                  </a:cubicBezTo>
                  <a:cubicBezTo>
                    <a:pt x="34" y="43"/>
                    <a:pt x="43" y="34"/>
                    <a:pt x="43" y="22"/>
                  </a:cubicBezTo>
                  <a:cubicBezTo>
                    <a:pt x="43" y="10"/>
                    <a:pt x="34" y="0"/>
                    <a:pt x="22" y="0"/>
                  </a:cubicBezTo>
                  <a:close/>
                  <a:moveTo>
                    <a:pt x="22" y="33"/>
                  </a:moveTo>
                  <a:cubicBezTo>
                    <a:pt x="16" y="33"/>
                    <a:pt x="11" y="28"/>
                    <a:pt x="11" y="22"/>
                  </a:cubicBezTo>
                  <a:cubicBezTo>
                    <a:pt x="11" y="16"/>
                    <a:pt x="16" y="11"/>
                    <a:pt x="22" y="11"/>
                  </a:cubicBezTo>
                  <a:cubicBezTo>
                    <a:pt x="28" y="11"/>
                    <a:pt x="32" y="16"/>
                    <a:pt x="32" y="22"/>
                  </a:cubicBezTo>
                  <a:cubicBezTo>
                    <a:pt x="32" y="28"/>
                    <a:pt x="28" y="33"/>
                    <a:pt x="22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1" name="Freeform 168">
              <a:extLst>
                <a:ext uri="{FF2B5EF4-FFF2-40B4-BE49-F238E27FC236}">
                  <a16:creationId xmlns:a16="http://schemas.microsoft.com/office/drawing/2014/main" id="{36970A3A-D989-4077-A841-2FB69C843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" y="1820"/>
              <a:ext cx="179" cy="23"/>
            </a:xfrm>
            <a:custGeom>
              <a:avLst/>
              <a:gdLst>
                <a:gd name="T0" fmla="*/ 82 w 87"/>
                <a:gd name="T1" fmla="*/ 0 h 11"/>
                <a:gd name="T2" fmla="*/ 6 w 87"/>
                <a:gd name="T3" fmla="*/ 0 h 11"/>
                <a:gd name="T4" fmla="*/ 0 w 87"/>
                <a:gd name="T5" fmla="*/ 5 h 11"/>
                <a:gd name="T6" fmla="*/ 6 w 87"/>
                <a:gd name="T7" fmla="*/ 11 h 11"/>
                <a:gd name="T8" fmla="*/ 82 w 87"/>
                <a:gd name="T9" fmla="*/ 11 h 11"/>
                <a:gd name="T10" fmla="*/ 87 w 87"/>
                <a:gd name="T11" fmla="*/ 5 h 11"/>
                <a:gd name="T12" fmla="*/ 82 w 87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1">
                  <a:moveTo>
                    <a:pt x="82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1"/>
                    <a:pt x="6" y="11"/>
                  </a:cubicBezTo>
                  <a:cubicBezTo>
                    <a:pt x="82" y="11"/>
                    <a:pt x="82" y="11"/>
                    <a:pt x="82" y="11"/>
                  </a:cubicBezTo>
                  <a:cubicBezTo>
                    <a:pt x="85" y="11"/>
                    <a:pt x="87" y="8"/>
                    <a:pt x="87" y="5"/>
                  </a:cubicBezTo>
                  <a:cubicBezTo>
                    <a:pt x="87" y="2"/>
                    <a:pt x="85" y="0"/>
                    <a:pt x="8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2" name="Freeform 169">
              <a:extLst>
                <a:ext uri="{FF2B5EF4-FFF2-40B4-BE49-F238E27FC236}">
                  <a16:creationId xmlns:a16="http://schemas.microsoft.com/office/drawing/2014/main" id="{3D5A82E1-E027-49DA-8EDC-1926D94B4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" y="1775"/>
              <a:ext cx="68" cy="22"/>
            </a:xfrm>
            <a:custGeom>
              <a:avLst/>
              <a:gdLst>
                <a:gd name="T0" fmla="*/ 28 w 33"/>
                <a:gd name="T1" fmla="*/ 0 h 11"/>
                <a:gd name="T2" fmla="*/ 6 w 33"/>
                <a:gd name="T3" fmla="*/ 0 h 11"/>
                <a:gd name="T4" fmla="*/ 0 w 33"/>
                <a:gd name="T5" fmla="*/ 6 h 11"/>
                <a:gd name="T6" fmla="*/ 6 w 33"/>
                <a:gd name="T7" fmla="*/ 11 h 11"/>
                <a:gd name="T8" fmla="*/ 28 w 33"/>
                <a:gd name="T9" fmla="*/ 11 h 11"/>
                <a:gd name="T10" fmla="*/ 33 w 33"/>
                <a:gd name="T11" fmla="*/ 6 h 11"/>
                <a:gd name="T12" fmla="*/ 28 w 33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11">
                  <a:moveTo>
                    <a:pt x="2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1"/>
                    <a:pt x="6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31" y="11"/>
                    <a:pt x="33" y="9"/>
                    <a:pt x="33" y="6"/>
                  </a:cubicBezTo>
                  <a:cubicBezTo>
                    <a:pt x="33" y="3"/>
                    <a:pt x="31" y="0"/>
                    <a:pt x="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3" name="Freeform 170">
              <a:extLst>
                <a:ext uri="{FF2B5EF4-FFF2-40B4-BE49-F238E27FC236}">
                  <a16:creationId xmlns:a16="http://schemas.microsoft.com/office/drawing/2014/main" id="{47FDFF71-AB7F-4FBD-A8D9-369038E4849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" y="1729"/>
              <a:ext cx="55" cy="23"/>
            </a:xfrm>
            <a:custGeom>
              <a:avLst/>
              <a:gdLst>
                <a:gd name="T0" fmla="*/ 22 w 27"/>
                <a:gd name="T1" fmla="*/ 0 h 11"/>
                <a:gd name="T2" fmla="*/ 6 w 27"/>
                <a:gd name="T3" fmla="*/ 0 h 11"/>
                <a:gd name="T4" fmla="*/ 0 w 27"/>
                <a:gd name="T5" fmla="*/ 6 h 11"/>
                <a:gd name="T6" fmla="*/ 6 w 27"/>
                <a:gd name="T7" fmla="*/ 11 h 11"/>
                <a:gd name="T8" fmla="*/ 22 w 27"/>
                <a:gd name="T9" fmla="*/ 11 h 11"/>
                <a:gd name="T10" fmla="*/ 27 w 27"/>
                <a:gd name="T11" fmla="*/ 6 h 11"/>
                <a:gd name="T12" fmla="*/ 22 w 27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1">
                  <a:moveTo>
                    <a:pt x="22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1"/>
                    <a:pt x="6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25" y="11"/>
                    <a:pt x="27" y="9"/>
                    <a:pt x="27" y="6"/>
                  </a:cubicBezTo>
                  <a:cubicBezTo>
                    <a:pt x="27" y="3"/>
                    <a:pt x="25" y="0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4" name="Freeform 171">
              <a:extLst>
                <a:ext uri="{FF2B5EF4-FFF2-40B4-BE49-F238E27FC236}">
                  <a16:creationId xmlns:a16="http://schemas.microsoft.com/office/drawing/2014/main" id="{A8F8533B-26FC-4186-8404-91925B4C8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" y="1775"/>
              <a:ext cx="88" cy="22"/>
            </a:xfrm>
            <a:custGeom>
              <a:avLst/>
              <a:gdLst>
                <a:gd name="T0" fmla="*/ 38 w 43"/>
                <a:gd name="T1" fmla="*/ 0 h 11"/>
                <a:gd name="T2" fmla="*/ 5 w 43"/>
                <a:gd name="T3" fmla="*/ 0 h 11"/>
                <a:gd name="T4" fmla="*/ 0 w 43"/>
                <a:gd name="T5" fmla="*/ 6 h 11"/>
                <a:gd name="T6" fmla="*/ 5 w 43"/>
                <a:gd name="T7" fmla="*/ 11 h 11"/>
                <a:gd name="T8" fmla="*/ 38 w 43"/>
                <a:gd name="T9" fmla="*/ 11 h 11"/>
                <a:gd name="T10" fmla="*/ 43 w 43"/>
                <a:gd name="T11" fmla="*/ 6 h 11"/>
                <a:gd name="T12" fmla="*/ 38 w 43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1">
                  <a:moveTo>
                    <a:pt x="38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"/>
                    <a:pt x="2" y="11"/>
                    <a:pt x="5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41" y="11"/>
                    <a:pt x="43" y="9"/>
                    <a:pt x="43" y="6"/>
                  </a:cubicBezTo>
                  <a:cubicBezTo>
                    <a:pt x="43" y="3"/>
                    <a:pt x="41" y="0"/>
                    <a:pt x="3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5" name="Freeform 172">
              <a:extLst>
                <a:ext uri="{FF2B5EF4-FFF2-40B4-BE49-F238E27FC236}">
                  <a16:creationId xmlns:a16="http://schemas.microsoft.com/office/drawing/2014/main" id="{7051E096-5EC3-476F-A17F-73B5909E8860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" y="1686"/>
              <a:ext cx="68" cy="23"/>
            </a:xfrm>
            <a:custGeom>
              <a:avLst/>
              <a:gdLst>
                <a:gd name="T0" fmla="*/ 28 w 33"/>
                <a:gd name="T1" fmla="*/ 0 h 11"/>
                <a:gd name="T2" fmla="*/ 6 w 33"/>
                <a:gd name="T3" fmla="*/ 0 h 11"/>
                <a:gd name="T4" fmla="*/ 0 w 33"/>
                <a:gd name="T5" fmla="*/ 5 h 11"/>
                <a:gd name="T6" fmla="*/ 6 w 33"/>
                <a:gd name="T7" fmla="*/ 11 h 11"/>
                <a:gd name="T8" fmla="*/ 28 w 33"/>
                <a:gd name="T9" fmla="*/ 11 h 11"/>
                <a:gd name="T10" fmla="*/ 33 w 33"/>
                <a:gd name="T11" fmla="*/ 5 h 11"/>
                <a:gd name="T12" fmla="*/ 28 w 33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11">
                  <a:moveTo>
                    <a:pt x="28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1"/>
                    <a:pt x="6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31" y="11"/>
                    <a:pt x="33" y="8"/>
                    <a:pt x="33" y="5"/>
                  </a:cubicBezTo>
                  <a:cubicBezTo>
                    <a:pt x="33" y="2"/>
                    <a:pt x="31" y="0"/>
                    <a:pt x="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6" name="Freeform 173">
              <a:extLst>
                <a:ext uri="{FF2B5EF4-FFF2-40B4-BE49-F238E27FC236}">
                  <a16:creationId xmlns:a16="http://schemas.microsoft.com/office/drawing/2014/main" id="{58B0CE0B-A9E3-4D49-A737-B2242A925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" y="1686"/>
              <a:ext cx="88" cy="23"/>
            </a:xfrm>
            <a:custGeom>
              <a:avLst/>
              <a:gdLst>
                <a:gd name="T0" fmla="*/ 38 w 43"/>
                <a:gd name="T1" fmla="*/ 0 h 11"/>
                <a:gd name="T2" fmla="*/ 5 w 43"/>
                <a:gd name="T3" fmla="*/ 0 h 11"/>
                <a:gd name="T4" fmla="*/ 0 w 43"/>
                <a:gd name="T5" fmla="*/ 5 h 11"/>
                <a:gd name="T6" fmla="*/ 5 w 43"/>
                <a:gd name="T7" fmla="*/ 11 h 11"/>
                <a:gd name="T8" fmla="*/ 38 w 43"/>
                <a:gd name="T9" fmla="*/ 11 h 11"/>
                <a:gd name="T10" fmla="*/ 43 w 43"/>
                <a:gd name="T11" fmla="*/ 5 h 11"/>
                <a:gd name="T12" fmla="*/ 38 w 43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1">
                  <a:moveTo>
                    <a:pt x="38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1"/>
                    <a:pt x="5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41" y="11"/>
                    <a:pt x="43" y="8"/>
                    <a:pt x="43" y="5"/>
                  </a:cubicBezTo>
                  <a:cubicBezTo>
                    <a:pt x="43" y="2"/>
                    <a:pt x="41" y="0"/>
                    <a:pt x="3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7" name="Freeform 174">
              <a:extLst>
                <a:ext uri="{FF2B5EF4-FFF2-40B4-BE49-F238E27FC236}">
                  <a16:creationId xmlns:a16="http://schemas.microsoft.com/office/drawing/2014/main" id="{EB15A033-3C20-4F5A-84B4-EED245B52DD4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" y="1729"/>
              <a:ext cx="101" cy="23"/>
            </a:xfrm>
            <a:custGeom>
              <a:avLst/>
              <a:gdLst>
                <a:gd name="T0" fmla="*/ 44 w 49"/>
                <a:gd name="T1" fmla="*/ 0 h 11"/>
                <a:gd name="T2" fmla="*/ 6 w 49"/>
                <a:gd name="T3" fmla="*/ 0 h 11"/>
                <a:gd name="T4" fmla="*/ 0 w 49"/>
                <a:gd name="T5" fmla="*/ 6 h 11"/>
                <a:gd name="T6" fmla="*/ 6 w 49"/>
                <a:gd name="T7" fmla="*/ 11 h 11"/>
                <a:gd name="T8" fmla="*/ 44 w 49"/>
                <a:gd name="T9" fmla="*/ 11 h 11"/>
                <a:gd name="T10" fmla="*/ 49 w 49"/>
                <a:gd name="T11" fmla="*/ 6 h 11"/>
                <a:gd name="T12" fmla="*/ 44 w 49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11">
                  <a:moveTo>
                    <a:pt x="4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1"/>
                    <a:pt x="6" y="11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7" y="11"/>
                    <a:pt x="49" y="9"/>
                    <a:pt x="49" y="6"/>
                  </a:cubicBezTo>
                  <a:cubicBezTo>
                    <a:pt x="49" y="3"/>
                    <a:pt x="47" y="0"/>
                    <a:pt x="4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8" name="Freeform 175">
              <a:extLst>
                <a:ext uri="{FF2B5EF4-FFF2-40B4-BE49-F238E27FC236}">
                  <a16:creationId xmlns:a16="http://schemas.microsoft.com/office/drawing/2014/main" id="{2FEBE1AC-4884-4720-973E-71678259C3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" y="2010"/>
              <a:ext cx="101" cy="22"/>
            </a:xfrm>
            <a:custGeom>
              <a:avLst/>
              <a:gdLst>
                <a:gd name="T0" fmla="*/ 44 w 49"/>
                <a:gd name="T1" fmla="*/ 0 h 11"/>
                <a:gd name="T2" fmla="*/ 6 w 49"/>
                <a:gd name="T3" fmla="*/ 0 h 11"/>
                <a:gd name="T4" fmla="*/ 0 w 49"/>
                <a:gd name="T5" fmla="*/ 6 h 11"/>
                <a:gd name="T6" fmla="*/ 6 w 49"/>
                <a:gd name="T7" fmla="*/ 11 h 11"/>
                <a:gd name="T8" fmla="*/ 44 w 49"/>
                <a:gd name="T9" fmla="*/ 11 h 11"/>
                <a:gd name="T10" fmla="*/ 49 w 49"/>
                <a:gd name="T11" fmla="*/ 6 h 11"/>
                <a:gd name="T12" fmla="*/ 44 w 49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11">
                  <a:moveTo>
                    <a:pt x="4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1"/>
                    <a:pt x="6" y="11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7" y="11"/>
                    <a:pt x="49" y="9"/>
                    <a:pt x="49" y="6"/>
                  </a:cubicBezTo>
                  <a:cubicBezTo>
                    <a:pt x="49" y="3"/>
                    <a:pt x="47" y="0"/>
                    <a:pt x="4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69" name="Freeform 176">
              <a:extLst>
                <a:ext uri="{FF2B5EF4-FFF2-40B4-BE49-F238E27FC236}">
                  <a16:creationId xmlns:a16="http://schemas.microsoft.com/office/drawing/2014/main" id="{4D8F725C-BF70-415F-AD6C-C07A67572C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" y="2100"/>
              <a:ext cx="22" cy="44"/>
            </a:xfrm>
            <a:custGeom>
              <a:avLst/>
              <a:gdLst>
                <a:gd name="T0" fmla="*/ 6 w 11"/>
                <a:gd name="T1" fmla="*/ 0 h 21"/>
                <a:gd name="T2" fmla="*/ 0 w 11"/>
                <a:gd name="T3" fmla="*/ 5 h 21"/>
                <a:gd name="T4" fmla="*/ 0 w 11"/>
                <a:gd name="T5" fmla="*/ 16 h 21"/>
                <a:gd name="T6" fmla="*/ 6 w 11"/>
                <a:gd name="T7" fmla="*/ 21 h 21"/>
                <a:gd name="T8" fmla="*/ 11 w 11"/>
                <a:gd name="T9" fmla="*/ 16 h 21"/>
                <a:gd name="T10" fmla="*/ 11 w 11"/>
                <a:gd name="T11" fmla="*/ 5 h 21"/>
                <a:gd name="T12" fmla="*/ 6 w 11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1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9"/>
                    <a:pt x="3" y="21"/>
                    <a:pt x="6" y="21"/>
                  </a:cubicBezTo>
                  <a:cubicBezTo>
                    <a:pt x="9" y="21"/>
                    <a:pt x="11" y="19"/>
                    <a:pt x="11" y="1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2"/>
                    <a:pt x="9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0" name="Freeform 177">
              <a:extLst>
                <a:ext uri="{FF2B5EF4-FFF2-40B4-BE49-F238E27FC236}">
                  <a16:creationId xmlns:a16="http://schemas.microsoft.com/office/drawing/2014/main" id="{769A0C28-0A7E-4AEC-A401-D6AA9DD44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4" y="1898"/>
              <a:ext cx="22" cy="46"/>
            </a:xfrm>
            <a:custGeom>
              <a:avLst/>
              <a:gdLst>
                <a:gd name="T0" fmla="*/ 6 w 11"/>
                <a:gd name="T1" fmla="*/ 0 h 22"/>
                <a:gd name="T2" fmla="*/ 0 w 11"/>
                <a:gd name="T3" fmla="*/ 5 h 22"/>
                <a:gd name="T4" fmla="*/ 0 w 11"/>
                <a:gd name="T5" fmla="*/ 16 h 22"/>
                <a:gd name="T6" fmla="*/ 6 w 11"/>
                <a:gd name="T7" fmla="*/ 22 h 22"/>
                <a:gd name="T8" fmla="*/ 11 w 11"/>
                <a:gd name="T9" fmla="*/ 16 h 22"/>
                <a:gd name="T10" fmla="*/ 11 w 11"/>
                <a:gd name="T11" fmla="*/ 5 h 22"/>
                <a:gd name="T12" fmla="*/ 6 w 11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2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9"/>
                    <a:pt x="3" y="22"/>
                    <a:pt x="6" y="22"/>
                  </a:cubicBezTo>
                  <a:cubicBezTo>
                    <a:pt x="9" y="22"/>
                    <a:pt x="11" y="19"/>
                    <a:pt x="11" y="1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2"/>
                    <a:pt x="9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1" name="Freeform 178">
              <a:extLst>
                <a:ext uri="{FF2B5EF4-FFF2-40B4-BE49-F238E27FC236}">
                  <a16:creationId xmlns:a16="http://schemas.microsoft.com/office/drawing/2014/main" id="{39A69685-3EEF-4C3E-A243-9D29643CA3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" y="2071"/>
              <a:ext cx="42" cy="40"/>
            </a:xfrm>
            <a:custGeom>
              <a:avLst/>
              <a:gdLst>
                <a:gd name="T0" fmla="*/ 18 w 20"/>
                <a:gd name="T1" fmla="*/ 10 h 19"/>
                <a:gd name="T2" fmla="*/ 10 w 20"/>
                <a:gd name="T3" fmla="*/ 3 h 19"/>
                <a:gd name="T4" fmla="*/ 2 w 20"/>
                <a:gd name="T5" fmla="*/ 3 h 19"/>
                <a:gd name="T6" fmla="*/ 2 w 20"/>
                <a:gd name="T7" fmla="*/ 10 h 19"/>
                <a:gd name="T8" fmla="*/ 10 w 20"/>
                <a:gd name="T9" fmla="*/ 18 h 19"/>
                <a:gd name="T10" fmla="*/ 14 w 20"/>
                <a:gd name="T11" fmla="*/ 19 h 19"/>
                <a:gd name="T12" fmla="*/ 18 w 20"/>
                <a:gd name="T13" fmla="*/ 18 h 19"/>
                <a:gd name="T14" fmla="*/ 18 w 20"/>
                <a:gd name="T15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9">
                  <a:moveTo>
                    <a:pt x="18" y="10"/>
                  </a:moveTo>
                  <a:cubicBezTo>
                    <a:pt x="10" y="3"/>
                    <a:pt x="10" y="3"/>
                    <a:pt x="10" y="3"/>
                  </a:cubicBezTo>
                  <a:cubicBezTo>
                    <a:pt x="8" y="0"/>
                    <a:pt x="5" y="0"/>
                    <a:pt x="2" y="3"/>
                  </a:cubicBezTo>
                  <a:cubicBezTo>
                    <a:pt x="0" y="5"/>
                    <a:pt x="0" y="8"/>
                    <a:pt x="2" y="10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9"/>
                    <a:pt x="13" y="19"/>
                    <a:pt x="14" y="19"/>
                  </a:cubicBezTo>
                  <a:cubicBezTo>
                    <a:pt x="15" y="19"/>
                    <a:pt x="17" y="19"/>
                    <a:pt x="18" y="18"/>
                  </a:cubicBezTo>
                  <a:cubicBezTo>
                    <a:pt x="20" y="16"/>
                    <a:pt x="20" y="12"/>
                    <a:pt x="1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2" name="Freeform 179">
              <a:extLst>
                <a:ext uri="{FF2B5EF4-FFF2-40B4-BE49-F238E27FC236}">
                  <a16:creationId xmlns:a16="http://schemas.microsoft.com/office/drawing/2014/main" id="{F7AB1616-0495-4CBE-9DD7-2B1C4F6952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" y="1929"/>
              <a:ext cx="41" cy="39"/>
            </a:xfrm>
            <a:custGeom>
              <a:avLst/>
              <a:gdLst>
                <a:gd name="T0" fmla="*/ 18 w 20"/>
                <a:gd name="T1" fmla="*/ 10 h 19"/>
                <a:gd name="T2" fmla="*/ 10 w 20"/>
                <a:gd name="T3" fmla="*/ 2 h 19"/>
                <a:gd name="T4" fmla="*/ 2 w 20"/>
                <a:gd name="T5" fmla="*/ 2 h 19"/>
                <a:gd name="T6" fmla="*/ 2 w 20"/>
                <a:gd name="T7" fmla="*/ 10 h 19"/>
                <a:gd name="T8" fmla="*/ 10 w 20"/>
                <a:gd name="T9" fmla="*/ 18 h 19"/>
                <a:gd name="T10" fmla="*/ 14 w 20"/>
                <a:gd name="T11" fmla="*/ 19 h 19"/>
                <a:gd name="T12" fmla="*/ 18 w 20"/>
                <a:gd name="T13" fmla="*/ 18 h 19"/>
                <a:gd name="T14" fmla="*/ 18 w 20"/>
                <a:gd name="T15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19">
                  <a:moveTo>
                    <a:pt x="18" y="10"/>
                  </a:moveTo>
                  <a:cubicBezTo>
                    <a:pt x="10" y="2"/>
                    <a:pt x="10" y="2"/>
                    <a:pt x="10" y="2"/>
                  </a:cubicBezTo>
                  <a:cubicBezTo>
                    <a:pt x="8" y="0"/>
                    <a:pt x="4" y="0"/>
                    <a:pt x="2" y="2"/>
                  </a:cubicBezTo>
                  <a:cubicBezTo>
                    <a:pt x="0" y="5"/>
                    <a:pt x="0" y="8"/>
                    <a:pt x="2" y="10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9"/>
                    <a:pt x="12" y="19"/>
                    <a:pt x="14" y="19"/>
                  </a:cubicBezTo>
                  <a:cubicBezTo>
                    <a:pt x="15" y="19"/>
                    <a:pt x="17" y="19"/>
                    <a:pt x="18" y="18"/>
                  </a:cubicBezTo>
                  <a:cubicBezTo>
                    <a:pt x="20" y="16"/>
                    <a:pt x="20" y="12"/>
                    <a:pt x="18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3" name="Freeform 180">
              <a:extLst>
                <a:ext uri="{FF2B5EF4-FFF2-40B4-BE49-F238E27FC236}">
                  <a16:creationId xmlns:a16="http://schemas.microsoft.com/office/drawing/2014/main" id="{86A33088-0D3B-4971-900A-61AF735B4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" y="2010"/>
              <a:ext cx="100" cy="22"/>
            </a:xfrm>
            <a:custGeom>
              <a:avLst/>
              <a:gdLst>
                <a:gd name="T0" fmla="*/ 43 w 49"/>
                <a:gd name="T1" fmla="*/ 0 h 11"/>
                <a:gd name="T2" fmla="*/ 5 w 49"/>
                <a:gd name="T3" fmla="*/ 0 h 11"/>
                <a:gd name="T4" fmla="*/ 0 w 49"/>
                <a:gd name="T5" fmla="*/ 6 h 11"/>
                <a:gd name="T6" fmla="*/ 5 w 49"/>
                <a:gd name="T7" fmla="*/ 11 h 11"/>
                <a:gd name="T8" fmla="*/ 43 w 49"/>
                <a:gd name="T9" fmla="*/ 11 h 11"/>
                <a:gd name="T10" fmla="*/ 49 w 49"/>
                <a:gd name="T11" fmla="*/ 6 h 11"/>
                <a:gd name="T12" fmla="*/ 43 w 49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11">
                  <a:moveTo>
                    <a:pt x="4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"/>
                    <a:pt x="2" y="11"/>
                    <a:pt x="5" y="11"/>
                  </a:cubicBezTo>
                  <a:cubicBezTo>
                    <a:pt x="43" y="11"/>
                    <a:pt x="43" y="11"/>
                    <a:pt x="43" y="11"/>
                  </a:cubicBezTo>
                  <a:cubicBezTo>
                    <a:pt x="46" y="11"/>
                    <a:pt x="49" y="9"/>
                    <a:pt x="49" y="6"/>
                  </a:cubicBezTo>
                  <a:cubicBezTo>
                    <a:pt x="49" y="3"/>
                    <a:pt x="46" y="0"/>
                    <a:pt x="4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4" name="Freeform 181">
              <a:extLst>
                <a:ext uri="{FF2B5EF4-FFF2-40B4-BE49-F238E27FC236}">
                  <a16:creationId xmlns:a16="http://schemas.microsoft.com/office/drawing/2014/main" id="{5D7EDC69-14E1-45C9-939B-13B0B2C893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" y="1818"/>
              <a:ext cx="153" cy="150"/>
            </a:xfrm>
            <a:custGeom>
              <a:avLst/>
              <a:gdLst>
                <a:gd name="T0" fmla="*/ 72 w 74"/>
                <a:gd name="T1" fmla="*/ 3 h 73"/>
                <a:gd name="T2" fmla="*/ 64 w 74"/>
                <a:gd name="T3" fmla="*/ 3 h 73"/>
                <a:gd name="T4" fmla="*/ 2 w 74"/>
                <a:gd name="T5" fmla="*/ 64 h 73"/>
                <a:gd name="T6" fmla="*/ 2 w 74"/>
                <a:gd name="T7" fmla="*/ 72 h 73"/>
                <a:gd name="T8" fmla="*/ 6 w 74"/>
                <a:gd name="T9" fmla="*/ 73 h 73"/>
                <a:gd name="T10" fmla="*/ 10 w 74"/>
                <a:gd name="T11" fmla="*/ 72 h 73"/>
                <a:gd name="T12" fmla="*/ 72 w 74"/>
                <a:gd name="T13" fmla="*/ 10 h 73"/>
                <a:gd name="T14" fmla="*/ 72 w 74"/>
                <a:gd name="T15" fmla="*/ 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73">
                  <a:moveTo>
                    <a:pt x="72" y="3"/>
                  </a:moveTo>
                  <a:cubicBezTo>
                    <a:pt x="70" y="0"/>
                    <a:pt x="66" y="0"/>
                    <a:pt x="64" y="3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0" y="66"/>
                    <a:pt x="0" y="70"/>
                    <a:pt x="2" y="72"/>
                  </a:cubicBezTo>
                  <a:cubicBezTo>
                    <a:pt x="3" y="73"/>
                    <a:pt x="5" y="73"/>
                    <a:pt x="6" y="73"/>
                  </a:cubicBezTo>
                  <a:cubicBezTo>
                    <a:pt x="8" y="73"/>
                    <a:pt x="9" y="73"/>
                    <a:pt x="10" y="72"/>
                  </a:cubicBezTo>
                  <a:cubicBezTo>
                    <a:pt x="72" y="10"/>
                    <a:pt x="72" y="10"/>
                    <a:pt x="72" y="10"/>
                  </a:cubicBezTo>
                  <a:cubicBezTo>
                    <a:pt x="74" y="8"/>
                    <a:pt x="74" y="5"/>
                    <a:pt x="7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5" name="Freeform 182">
              <a:extLst>
                <a:ext uri="{FF2B5EF4-FFF2-40B4-BE49-F238E27FC236}">
                  <a16:creationId xmlns:a16="http://schemas.microsoft.com/office/drawing/2014/main" id="{CEF582D3-3C30-4E2E-BA26-BE57B4B139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" y="2071"/>
              <a:ext cx="153" cy="151"/>
            </a:xfrm>
            <a:custGeom>
              <a:avLst/>
              <a:gdLst>
                <a:gd name="T0" fmla="*/ 72 w 74"/>
                <a:gd name="T1" fmla="*/ 3 h 73"/>
                <a:gd name="T2" fmla="*/ 64 w 74"/>
                <a:gd name="T3" fmla="*/ 3 h 73"/>
                <a:gd name="T4" fmla="*/ 2 w 74"/>
                <a:gd name="T5" fmla="*/ 64 h 73"/>
                <a:gd name="T6" fmla="*/ 2 w 74"/>
                <a:gd name="T7" fmla="*/ 72 h 73"/>
                <a:gd name="T8" fmla="*/ 6 w 74"/>
                <a:gd name="T9" fmla="*/ 73 h 73"/>
                <a:gd name="T10" fmla="*/ 10 w 74"/>
                <a:gd name="T11" fmla="*/ 72 h 73"/>
                <a:gd name="T12" fmla="*/ 72 w 74"/>
                <a:gd name="T13" fmla="*/ 10 h 73"/>
                <a:gd name="T14" fmla="*/ 72 w 74"/>
                <a:gd name="T15" fmla="*/ 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4" h="73">
                  <a:moveTo>
                    <a:pt x="72" y="3"/>
                  </a:moveTo>
                  <a:cubicBezTo>
                    <a:pt x="70" y="0"/>
                    <a:pt x="66" y="0"/>
                    <a:pt x="64" y="3"/>
                  </a:cubicBezTo>
                  <a:cubicBezTo>
                    <a:pt x="2" y="64"/>
                    <a:pt x="2" y="64"/>
                    <a:pt x="2" y="64"/>
                  </a:cubicBezTo>
                  <a:cubicBezTo>
                    <a:pt x="0" y="66"/>
                    <a:pt x="0" y="70"/>
                    <a:pt x="2" y="72"/>
                  </a:cubicBezTo>
                  <a:cubicBezTo>
                    <a:pt x="3" y="73"/>
                    <a:pt x="5" y="73"/>
                    <a:pt x="6" y="73"/>
                  </a:cubicBezTo>
                  <a:cubicBezTo>
                    <a:pt x="8" y="73"/>
                    <a:pt x="9" y="73"/>
                    <a:pt x="10" y="72"/>
                  </a:cubicBezTo>
                  <a:cubicBezTo>
                    <a:pt x="72" y="10"/>
                    <a:pt x="72" y="10"/>
                    <a:pt x="72" y="10"/>
                  </a:cubicBezTo>
                  <a:cubicBezTo>
                    <a:pt x="74" y="8"/>
                    <a:pt x="74" y="5"/>
                    <a:pt x="7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6" name="Freeform 183">
              <a:extLst>
                <a:ext uri="{FF2B5EF4-FFF2-40B4-BE49-F238E27FC236}">
                  <a16:creationId xmlns:a16="http://schemas.microsoft.com/office/drawing/2014/main" id="{7EEB91D8-9114-4722-BBF1-7C63276D0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" y="2201"/>
              <a:ext cx="179" cy="21"/>
            </a:xfrm>
            <a:custGeom>
              <a:avLst/>
              <a:gdLst>
                <a:gd name="T0" fmla="*/ 81 w 87"/>
                <a:gd name="T1" fmla="*/ 0 h 10"/>
                <a:gd name="T2" fmla="*/ 5 w 87"/>
                <a:gd name="T3" fmla="*/ 0 h 10"/>
                <a:gd name="T4" fmla="*/ 0 w 87"/>
                <a:gd name="T5" fmla="*/ 5 h 10"/>
                <a:gd name="T6" fmla="*/ 5 w 87"/>
                <a:gd name="T7" fmla="*/ 10 h 10"/>
                <a:gd name="T8" fmla="*/ 81 w 87"/>
                <a:gd name="T9" fmla="*/ 10 h 10"/>
                <a:gd name="T10" fmla="*/ 87 w 87"/>
                <a:gd name="T11" fmla="*/ 5 h 10"/>
                <a:gd name="T12" fmla="*/ 81 w 87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7" h="10">
                  <a:moveTo>
                    <a:pt x="81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8"/>
                    <a:pt x="2" y="10"/>
                    <a:pt x="5" y="10"/>
                  </a:cubicBezTo>
                  <a:cubicBezTo>
                    <a:pt x="81" y="10"/>
                    <a:pt x="81" y="10"/>
                    <a:pt x="81" y="10"/>
                  </a:cubicBezTo>
                  <a:cubicBezTo>
                    <a:pt x="84" y="10"/>
                    <a:pt x="87" y="8"/>
                    <a:pt x="87" y="5"/>
                  </a:cubicBezTo>
                  <a:cubicBezTo>
                    <a:pt x="87" y="2"/>
                    <a:pt x="84" y="0"/>
                    <a:pt x="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7" name="Freeform 184">
              <a:extLst>
                <a:ext uri="{FF2B5EF4-FFF2-40B4-BE49-F238E27FC236}">
                  <a16:creationId xmlns:a16="http://schemas.microsoft.com/office/drawing/2014/main" id="{F9748040-300E-4B9D-A077-EC27C0D98C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8" y="2245"/>
              <a:ext cx="179" cy="123"/>
            </a:xfrm>
            <a:custGeom>
              <a:avLst/>
              <a:gdLst>
                <a:gd name="T0" fmla="*/ 81 w 87"/>
                <a:gd name="T1" fmla="*/ 0 h 60"/>
                <a:gd name="T2" fmla="*/ 5 w 87"/>
                <a:gd name="T3" fmla="*/ 0 h 60"/>
                <a:gd name="T4" fmla="*/ 0 w 87"/>
                <a:gd name="T5" fmla="*/ 6 h 60"/>
                <a:gd name="T6" fmla="*/ 0 w 87"/>
                <a:gd name="T7" fmla="*/ 55 h 60"/>
                <a:gd name="T8" fmla="*/ 5 w 87"/>
                <a:gd name="T9" fmla="*/ 60 h 60"/>
                <a:gd name="T10" fmla="*/ 81 w 87"/>
                <a:gd name="T11" fmla="*/ 60 h 60"/>
                <a:gd name="T12" fmla="*/ 87 w 87"/>
                <a:gd name="T13" fmla="*/ 55 h 60"/>
                <a:gd name="T14" fmla="*/ 87 w 87"/>
                <a:gd name="T15" fmla="*/ 6 h 60"/>
                <a:gd name="T16" fmla="*/ 81 w 87"/>
                <a:gd name="T17" fmla="*/ 0 h 60"/>
                <a:gd name="T18" fmla="*/ 76 w 87"/>
                <a:gd name="T19" fmla="*/ 49 h 60"/>
                <a:gd name="T20" fmla="*/ 11 w 87"/>
                <a:gd name="T21" fmla="*/ 49 h 60"/>
                <a:gd name="T22" fmla="*/ 11 w 87"/>
                <a:gd name="T23" fmla="*/ 11 h 60"/>
                <a:gd name="T24" fmla="*/ 76 w 87"/>
                <a:gd name="T25" fmla="*/ 11 h 60"/>
                <a:gd name="T26" fmla="*/ 76 w 87"/>
                <a:gd name="T27" fmla="*/ 4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60">
                  <a:moveTo>
                    <a:pt x="81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8"/>
                    <a:pt x="2" y="60"/>
                    <a:pt x="5" y="60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4" y="60"/>
                    <a:pt x="87" y="58"/>
                    <a:pt x="87" y="55"/>
                  </a:cubicBezTo>
                  <a:cubicBezTo>
                    <a:pt x="87" y="6"/>
                    <a:pt x="87" y="6"/>
                    <a:pt x="87" y="6"/>
                  </a:cubicBezTo>
                  <a:cubicBezTo>
                    <a:pt x="87" y="3"/>
                    <a:pt x="84" y="0"/>
                    <a:pt x="81" y="0"/>
                  </a:cubicBezTo>
                  <a:close/>
                  <a:moveTo>
                    <a:pt x="76" y="49"/>
                  </a:moveTo>
                  <a:cubicBezTo>
                    <a:pt x="11" y="49"/>
                    <a:pt x="11" y="49"/>
                    <a:pt x="11" y="49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76" y="11"/>
                    <a:pt x="76" y="11"/>
                    <a:pt x="76" y="11"/>
                  </a:cubicBezTo>
                  <a:lnTo>
                    <a:pt x="76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8" name="Freeform 185">
              <a:extLst>
                <a:ext uri="{FF2B5EF4-FFF2-40B4-BE49-F238E27FC236}">
                  <a16:creationId xmlns:a16="http://schemas.microsoft.com/office/drawing/2014/main" id="{192251DC-2747-49BD-92F9-74DCF225F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" y="2313"/>
              <a:ext cx="111" cy="22"/>
            </a:xfrm>
            <a:custGeom>
              <a:avLst/>
              <a:gdLst>
                <a:gd name="T0" fmla="*/ 49 w 54"/>
                <a:gd name="T1" fmla="*/ 0 h 11"/>
                <a:gd name="T2" fmla="*/ 6 w 54"/>
                <a:gd name="T3" fmla="*/ 0 h 11"/>
                <a:gd name="T4" fmla="*/ 0 w 54"/>
                <a:gd name="T5" fmla="*/ 5 h 11"/>
                <a:gd name="T6" fmla="*/ 6 w 54"/>
                <a:gd name="T7" fmla="*/ 11 h 11"/>
                <a:gd name="T8" fmla="*/ 49 w 54"/>
                <a:gd name="T9" fmla="*/ 11 h 11"/>
                <a:gd name="T10" fmla="*/ 54 w 54"/>
                <a:gd name="T11" fmla="*/ 5 h 11"/>
                <a:gd name="T12" fmla="*/ 49 w 54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1">
                  <a:moveTo>
                    <a:pt x="49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1"/>
                    <a:pt x="6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52" y="11"/>
                    <a:pt x="54" y="8"/>
                    <a:pt x="54" y="5"/>
                  </a:cubicBezTo>
                  <a:cubicBezTo>
                    <a:pt x="54" y="2"/>
                    <a:pt x="52" y="0"/>
                    <a:pt x="4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9" name="Freeform 186">
              <a:extLst>
                <a:ext uri="{FF2B5EF4-FFF2-40B4-BE49-F238E27FC236}">
                  <a16:creationId xmlns:a16="http://schemas.microsoft.com/office/drawing/2014/main" id="{CE0C2D58-C2A1-48AA-A208-4693FAD491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" y="2313"/>
              <a:ext cx="23" cy="55"/>
            </a:xfrm>
            <a:custGeom>
              <a:avLst/>
              <a:gdLst>
                <a:gd name="T0" fmla="*/ 6 w 11"/>
                <a:gd name="T1" fmla="*/ 0 h 27"/>
                <a:gd name="T2" fmla="*/ 0 w 11"/>
                <a:gd name="T3" fmla="*/ 5 h 27"/>
                <a:gd name="T4" fmla="*/ 0 w 11"/>
                <a:gd name="T5" fmla="*/ 22 h 27"/>
                <a:gd name="T6" fmla="*/ 6 w 11"/>
                <a:gd name="T7" fmla="*/ 27 h 27"/>
                <a:gd name="T8" fmla="*/ 11 w 11"/>
                <a:gd name="T9" fmla="*/ 22 h 27"/>
                <a:gd name="T10" fmla="*/ 11 w 11"/>
                <a:gd name="T11" fmla="*/ 5 h 27"/>
                <a:gd name="T12" fmla="*/ 6 w 11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7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3" y="27"/>
                    <a:pt x="6" y="27"/>
                  </a:cubicBezTo>
                  <a:cubicBezTo>
                    <a:pt x="9" y="27"/>
                    <a:pt x="11" y="25"/>
                    <a:pt x="11" y="22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2"/>
                    <a:pt x="9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0" name="Freeform 187">
              <a:extLst>
                <a:ext uri="{FF2B5EF4-FFF2-40B4-BE49-F238E27FC236}">
                  <a16:creationId xmlns:a16="http://schemas.microsoft.com/office/drawing/2014/main" id="{499325BD-9239-49B5-A8A7-1C2D9BA823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" y="2313"/>
              <a:ext cx="20" cy="55"/>
            </a:xfrm>
            <a:custGeom>
              <a:avLst/>
              <a:gdLst>
                <a:gd name="T0" fmla="*/ 5 w 10"/>
                <a:gd name="T1" fmla="*/ 0 h 27"/>
                <a:gd name="T2" fmla="*/ 0 w 10"/>
                <a:gd name="T3" fmla="*/ 5 h 27"/>
                <a:gd name="T4" fmla="*/ 0 w 10"/>
                <a:gd name="T5" fmla="*/ 22 h 27"/>
                <a:gd name="T6" fmla="*/ 5 w 10"/>
                <a:gd name="T7" fmla="*/ 27 h 27"/>
                <a:gd name="T8" fmla="*/ 10 w 10"/>
                <a:gd name="T9" fmla="*/ 22 h 27"/>
                <a:gd name="T10" fmla="*/ 10 w 10"/>
                <a:gd name="T11" fmla="*/ 5 h 27"/>
                <a:gd name="T12" fmla="*/ 5 w 10"/>
                <a:gd name="T1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" h="27">
                  <a:moveTo>
                    <a:pt x="5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2" y="27"/>
                    <a:pt x="5" y="27"/>
                  </a:cubicBezTo>
                  <a:cubicBezTo>
                    <a:pt x="8" y="27"/>
                    <a:pt x="10" y="25"/>
                    <a:pt x="10" y="22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2"/>
                    <a:pt x="8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1" name="Freeform 188">
              <a:extLst>
                <a:ext uri="{FF2B5EF4-FFF2-40B4-BE49-F238E27FC236}">
                  <a16:creationId xmlns:a16="http://schemas.microsoft.com/office/drawing/2014/main" id="{8612C325-0E27-4564-9AC9-F574B76717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2" y="1696"/>
              <a:ext cx="121" cy="124"/>
            </a:xfrm>
            <a:custGeom>
              <a:avLst/>
              <a:gdLst>
                <a:gd name="T0" fmla="*/ 54 w 59"/>
                <a:gd name="T1" fmla="*/ 0 h 60"/>
                <a:gd name="T2" fmla="*/ 5 w 59"/>
                <a:gd name="T3" fmla="*/ 0 h 60"/>
                <a:gd name="T4" fmla="*/ 0 w 59"/>
                <a:gd name="T5" fmla="*/ 6 h 60"/>
                <a:gd name="T6" fmla="*/ 0 w 59"/>
                <a:gd name="T7" fmla="*/ 54 h 60"/>
                <a:gd name="T8" fmla="*/ 5 w 59"/>
                <a:gd name="T9" fmla="*/ 60 h 60"/>
                <a:gd name="T10" fmla="*/ 54 w 59"/>
                <a:gd name="T11" fmla="*/ 60 h 60"/>
                <a:gd name="T12" fmla="*/ 59 w 59"/>
                <a:gd name="T13" fmla="*/ 54 h 60"/>
                <a:gd name="T14" fmla="*/ 59 w 59"/>
                <a:gd name="T15" fmla="*/ 6 h 60"/>
                <a:gd name="T16" fmla="*/ 54 w 59"/>
                <a:gd name="T17" fmla="*/ 0 h 60"/>
                <a:gd name="T18" fmla="*/ 48 w 59"/>
                <a:gd name="T19" fmla="*/ 49 h 60"/>
                <a:gd name="T20" fmla="*/ 10 w 59"/>
                <a:gd name="T21" fmla="*/ 49 h 60"/>
                <a:gd name="T22" fmla="*/ 10 w 59"/>
                <a:gd name="T23" fmla="*/ 11 h 60"/>
                <a:gd name="T24" fmla="*/ 48 w 59"/>
                <a:gd name="T25" fmla="*/ 11 h 60"/>
                <a:gd name="T26" fmla="*/ 48 w 59"/>
                <a:gd name="T27" fmla="*/ 4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9" h="60">
                  <a:moveTo>
                    <a:pt x="5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8"/>
                    <a:pt x="2" y="60"/>
                    <a:pt x="5" y="60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7" y="60"/>
                    <a:pt x="59" y="58"/>
                    <a:pt x="59" y="54"/>
                  </a:cubicBezTo>
                  <a:cubicBezTo>
                    <a:pt x="59" y="6"/>
                    <a:pt x="59" y="6"/>
                    <a:pt x="59" y="6"/>
                  </a:cubicBezTo>
                  <a:cubicBezTo>
                    <a:pt x="59" y="3"/>
                    <a:pt x="57" y="0"/>
                    <a:pt x="54" y="0"/>
                  </a:cubicBezTo>
                  <a:close/>
                  <a:moveTo>
                    <a:pt x="48" y="49"/>
                  </a:moveTo>
                  <a:cubicBezTo>
                    <a:pt x="10" y="49"/>
                    <a:pt x="10" y="49"/>
                    <a:pt x="10" y="49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48" y="11"/>
                    <a:pt x="48" y="11"/>
                    <a:pt x="48" y="11"/>
                  </a:cubicBezTo>
                  <a:lnTo>
                    <a:pt x="4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2" name="Freeform 189">
              <a:extLst>
                <a:ext uri="{FF2B5EF4-FFF2-40B4-BE49-F238E27FC236}">
                  <a16:creationId xmlns:a16="http://schemas.microsoft.com/office/drawing/2014/main" id="{B4F81CA4-9B69-4574-8D59-1FB991C69D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3" y="1843"/>
              <a:ext cx="66" cy="66"/>
            </a:xfrm>
            <a:custGeom>
              <a:avLst/>
              <a:gdLst>
                <a:gd name="T0" fmla="*/ 27 w 32"/>
                <a:gd name="T1" fmla="*/ 0 h 32"/>
                <a:gd name="T2" fmla="*/ 5 w 32"/>
                <a:gd name="T3" fmla="*/ 0 h 32"/>
                <a:gd name="T4" fmla="*/ 0 w 32"/>
                <a:gd name="T5" fmla="*/ 5 h 32"/>
                <a:gd name="T6" fmla="*/ 0 w 32"/>
                <a:gd name="T7" fmla="*/ 27 h 32"/>
                <a:gd name="T8" fmla="*/ 5 w 32"/>
                <a:gd name="T9" fmla="*/ 32 h 32"/>
                <a:gd name="T10" fmla="*/ 27 w 32"/>
                <a:gd name="T11" fmla="*/ 32 h 32"/>
                <a:gd name="T12" fmla="*/ 32 w 32"/>
                <a:gd name="T13" fmla="*/ 27 h 32"/>
                <a:gd name="T14" fmla="*/ 32 w 32"/>
                <a:gd name="T15" fmla="*/ 5 h 32"/>
                <a:gd name="T16" fmla="*/ 27 w 32"/>
                <a:gd name="T17" fmla="*/ 0 h 32"/>
                <a:gd name="T18" fmla="*/ 21 w 32"/>
                <a:gd name="T19" fmla="*/ 21 h 32"/>
                <a:gd name="T20" fmla="*/ 10 w 32"/>
                <a:gd name="T21" fmla="*/ 21 h 32"/>
                <a:gd name="T22" fmla="*/ 10 w 32"/>
                <a:gd name="T23" fmla="*/ 11 h 32"/>
                <a:gd name="T24" fmla="*/ 21 w 32"/>
                <a:gd name="T25" fmla="*/ 11 h 32"/>
                <a:gd name="T26" fmla="*/ 21 w 32"/>
                <a:gd name="T27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2" h="32">
                  <a:moveTo>
                    <a:pt x="2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30" y="32"/>
                    <a:pt x="32" y="30"/>
                    <a:pt x="32" y="27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2"/>
                    <a:pt x="30" y="0"/>
                    <a:pt x="27" y="0"/>
                  </a:cubicBezTo>
                  <a:close/>
                  <a:moveTo>
                    <a:pt x="21" y="21"/>
                  </a:moveTo>
                  <a:cubicBezTo>
                    <a:pt x="10" y="21"/>
                    <a:pt x="10" y="21"/>
                    <a:pt x="10" y="2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21" y="11"/>
                    <a:pt x="21" y="11"/>
                    <a:pt x="21" y="11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3" name="Freeform 190">
              <a:extLst>
                <a:ext uri="{FF2B5EF4-FFF2-40B4-BE49-F238E27FC236}">
                  <a16:creationId xmlns:a16="http://schemas.microsoft.com/office/drawing/2014/main" id="{4C3DA3C1-8418-4D7E-B011-6BA54918B1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9" y="1742"/>
              <a:ext cx="57" cy="55"/>
            </a:xfrm>
            <a:custGeom>
              <a:avLst/>
              <a:gdLst>
                <a:gd name="T0" fmla="*/ 22 w 28"/>
                <a:gd name="T1" fmla="*/ 0 h 27"/>
                <a:gd name="T2" fmla="*/ 6 w 28"/>
                <a:gd name="T3" fmla="*/ 0 h 27"/>
                <a:gd name="T4" fmla="*/ 0 w 28"/>
                <a:gd name="T5" fmla="*/ 5 h 27"/>
                <a:gd name="T6" fmla="*/ 0 w 28"/>
                <a:gd name="T7" fmla="*/ 22 h 27"/>
                <a:gd name="T8" fmla="*/ 6 w 28"/>
                <a:gd name="T9" fmla="*/ 27 h 27"/>
                <a:gd name="T10" fmla="*/ 22 w 28"/>
                <a:gd name="T11" fmla="*/ 27 h 27"/>
                <a:gd name="T12" fmla="*/ 28 w 28"/>
                <a:gd name="T13" fmla="*/ 22 h 27"/>
                <a:gd name="T14" fmla="*/ 28 w 28"/>
                <a:gd name="T15" fmla="*/ 5 h 27"/>
                <a:gd name="T16" fmla="*/ 22 w 28"/>
                <a:gd name="T17" fmla="*/ 0 h 27"/>
                <a:gd name="T18" fmla="*/ 17 w 28"/>
                <a:gd name="T19" fmla="*/ 16 h 27"/>
                <a:gd name="T20" fmla="*/ 11 w 28"/>
                <a:gd name="T21" fmla="*/ 16 h 27"/>
                <a:gd name="T22" fmla="*/ 11 w 28"/>
                <a:gd name="T23" fmla="*/ 11 h 27"/>
                <a:gd name="T24" fmla="*/ 17 w 28"/>
                <a:gd name="T25" fmla="*/ 11 h 27"/>
                <a:gd name="T26" fmla="*/ 17 w 28"/>
                <a:gd name="T27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27">
                  <a:moveTo>
                    <a:pt x="22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3" y="27"/>
                    <a:pt x="6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5" y="27"/>
                    <a:pt x="28" y="25"/>
                    <a:pt x="28" y="22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2"/>
                    <a:pt x="25" y="0"/>
                    <a:pt x="22" y="0"/>
                  </a:cubicBezTo>
                  <a:close/>
                  <a:moveTo>
                    <a:pt x="17" y="16"/>
                  </a:moveTo>
                  <a:cubicBezTo>
                    <a:pt x="11" y="16"/>
                    <a:pt x="11" y="16"/>
                    <a:pt x="11" y="16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7" y="11"/>
                    <a:pt x="17" y="11"/>
                    <a:pt x="17" y="11"/>
                  </a:cubicBezTo>
                  <a:lnTo>
                    <a:pt x="17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4" name="Freeform 191">
              <a:extLst>
                <a:ext uri="{FF2B5EF4-FFF2-40B4-BE49-F238E27FC236}">
                  <a16:creationId xmlns:a16="http://schemas.microsoft.com/office/drawing/2014/main" id="{0403016C-FB1A-43F1-8CF8-2F718BE1CF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7" y="2222"/>
              <a:ext cx="124" cy="123"/>
            </a:xfrm>
            <a:custGeom>
              <a:avLst/>
              <a:gdLst>
                <a:gd name="T0" fmla="*/ 54 w 60"/>
                <a:gd name="T1" fmla="*/ 0 h 60"/>
                <a:gd name="T2" fmla="*/ 5 w 60"/>
                <a:gd name="T3" fmla="*/ 0 h 60"/>
                <a:gd name="T4" fmla="*/ 0 w 60"/>
                <a:gd name="T5" fmla="*/ 6 h 60"/>
                <a:gd name="T6" fmla="*/ 0 w 60"/>
                <a:gd name="T7" fmla="*/ 55 h 60"/>
                <a:gd name="T8" fmla="*/ 5 w 60"/>
                <a:gd name="T9" fmla="*/ 60 h 60"/>
                <a:gd name="T10" fmla="*/ 54 w 60"/>
                <a:gd name="T11" fmla="*/ 60 h 60"/>
                <a:gd name="T12" fmla="*/ 60 w 60"/>
                <a:gd name="T13" fmla="*/ 55 h 60"/>
                <a:gd name="T14" fmla="*/ 60 w 60"/>
                <a:gd name="T15" fmla="*/ 6 h 60"/>
                <a:gd name="T16" fmla="*/ 54 w 60"/>
                <a:gd name="T17" fmla="*/ 0 h 60"/>
                <a:gd name="T18" fmla="*/ 49 w 60"/>
                <a:gd name="T19" fmla="*/ 49 h 60"/>
                <a:gd name="T20" fmla="*/ 11 w 60"/>
                <a:gd name="T21" fmla="*/ 49 h 60"/>
                <a:gd name="T22" fmla="*/ 11 w 60"/>
                <a:gd name="T23" fmla="*/ 11 h 60"/>
                <a:gd name="T24" fmla="*/ 49 w 60"/>
                <a:gd name="T25" fmla="*/ 11 h 60"/>
                <a:gd name="T26" fmla="*/ 49 w 60"/>
                <a:gd name="T27" fmla="*/ 4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60">
                  <a:moveTo>
                    <a:pt x="54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8"/>
                    <a:pt x="2" y="60"/>
                    <a:pt x="5" y="60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7" y="60"/>
                    <a:pt x="60" y="58"/>
                    <a:pt x="60" y="55"/>
                  </a:cubicBezTo>
                  <a:cubicBezTo>
                    <a:pt x="60" y="6"/>
                    <a:pt x="60" y="6"/>
                    <a:pt x="60" y="6"/>
                  </a:cubicBezTo>
                  <a:cubicBezTo>
                    <a:pt x="60" y="3"/>
                    <a:pt x="57" y="0"/>
                    <a:pt x="54" y="0"/>
                  </a:cubicBezTo>
                  <a:close/>
                  <a:moveTo>
                    <a:pt x="49" y="49"/>
                  </a:moveTo>
                  <a:cubicBezTo>
                    <a:pt x="11" y="49"/>
                    <a:pt x="11" y="49"/>
                    <a:pt x="11" y="49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49" y="11"/>
                    <a:pt x="49" y="11"/>
                    <a:pt x="49" y="11"/>
                  </a:cubicBezTo>
                  <a:lnTo>
                    <a:pt x="49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5" name="Freeform 192">
              <a:extLst>
                <a:ext uri="{FF2B5EF4-FFF2-40B4-BE49-F238E27FC236}">
                  <a16:creationId xmlns:a16="http://schemas.microsoft.com/office/drawing/2014/main" id="{487C74A8-849B-4DA6-8F04-7AEF19F605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1" y="2133"/>
              <a:ext cx="68" cy="68"/>
            </a:xfrm>
            <a:custGeom>
              <a:avLst/>
              <a:gdLst>
                <a:gd name="T0" fmla="*/ 27 w 33"/>
                <a:gd name="T1" fmla="*/ 0 h 33"/>
                <a:gd name="T2" fmla="*/ 5 w 33"/>
                <a:gd name="T3" fmla="*/ 0 h 33"/>
                <a:gd name="T4" fmla="*/ 0 w 33"/>
                <a:gd name="T5" fmla="*/ 5 h 33"/>
                <a:gd name="T6" fmla="*/ 0 w 33"/>
                <a:gd name="T7" fmla="*/ 27 h 33"/>
                <a:gd name="T8" fmla="*/ 5 w 33"/>
                <a:gd name="T9" fmla="*/ 33 h 33"/>
                <a:gd name="T10" fmla="*/ 27 w 33"/>
                <a:gd name="T11" fmla="*/ 33 h 33"/>
                <a:gd name="T12" fmla="*/ 33 w 33"/>
                <a:gd name="T13" fmla="*/ 27 h 33"/>
                <a:gd name="T14" fmla="*/ 33 w 33"/>
                <a:gd name="T15" fmla="*/ 5 h 33"/>
                <a:gd name="T16" fmla="*/ 27 w 33"/>
                <a:gd name="T17" fmla="*/ 0 h 33"/>
                <a:gd name="T18" fmla="*/ 22 w 33"/>
                <a:gd name="T19" fmla="*/ 22 h 33"/>
                <a:gd name="T20" fmla="*/ 11 w 33"/>
                <a:gd name="T21" fmla="*/ 22 h 33"/>
                <a:gd name="T22" fmla="*/ 11 w 33"/>
                <a:gd name="T23" fmla="*/ 11 h 33"/>
                <a:gd name="T24" fmla="*/ 22 w 33"/>
                <a:gd name="T25" fmla="*/ 11 h 33"/>
                <a:gd name="T26" fmla="*/ 22 w 33"/>
                <a:gd name="T27" fmla="*/ 2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33">
                  <a:moveTo>
                    <a:pt x="2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3"/>
                    <a:pt x="5" y="33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30" y="33"/>
                    <a:pt x="33" y="30"/>
                    <a:pt x="33" y="27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3" y="2"/>
                    <a:pt x="30" y="0"/>
                    <a:pt x="27" y="0"/>
                  </a:cubicBezTo>
                  <a:close/>
                  <a:moveTo>
                    <a:pt x="22" y="22"/>
                  </a:moveTo>
                  <a:cubicBezTo>
                    <a:pt x="11" y="22"/>
                    <a:pt x="11" y="22"/>
                    <a:pt x="11" y="22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22" y="11"/>
                    <a:pt x="22" y="11"/>
                    <a:pt x="22" y="11"/>
                  </a:cubicBezTo>
                  <a:lnTo>
                    <a:pt x="2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6" name="Freeform 193">
              <a:extLst>
                <a:ext uri="{FF2B5EF4-FFF2-40B4-BE49-F238E27FC236}">
                  <a16:creationId xmlns:a16="http://schemas.microsoft.com/office/drawing/2014/main" id="{B901C9C6-639C-4AB7-8D77-9C9F618333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6" y="2245"/>
              <a:ext cx="56" cy="55"/>
            </a:xfrm>
            <a:custGeom>
              <a:avLst/>
              <a:gdLst>
                <a:gd name="T0" fmla="*/ 21 w 27"/>
                <a:gd name="T1" fmla="*/ 0 h 27"/>
                <a:gd name="T2" fmla="*/ 5 w 27"/>
                <a:gd name="T3" fmla="*/ 0 h 27"/>
                <a:gd name="T4" fmla="*/ 0 w 27"/>
                <a:gd name="T5" fmla="*/ 6 h 27"/>
                <a:gd name="T6" fmla="*/ 0 w 27"/>
                <a:gd name="T7" fmla="*/ 22 h 27"/>
                <a:gd name="T8" fmla="*/ 5 w 27"/>
                <a:gd name="T9" fmla="*/ 27 h 27"/>
                <a:gd name="T10" fmla="*/ 21 w 27"/>
                <a:gd name="T11" fmla="*/ 27 h 27"/>
                <a:gd name="T12" fmla="*/ 27 w 27"/>
                <a:gd name="T13" fmla="*/ 22 h 27"/>
                <a:gd name="T14" fmla="*/ 27 w 27"/>
                <a:gd name="T15" fmla="*/ 6 h 27"/>
                <a:gd name="T16" fmla="*/ 21 w 27"/>
                <a:gd name="T17" fmla="*/ 0 h 27"/>
                <a:gd name="T18" fmla="*/ 16 w 27"/>
                <a:gd name="T19" fmla="*/ 17 h 27"/>
                <a:gd name="T20" fmla="*/ 10 w 27"/>
                <a:gd name="T21" fmla="*/ 17 h 27"/>
                <a:gd name="T22" fmla="*/ 10 w 27"/>
                <a:gd name="T23" fmla="*/ 11 h 27"/>
                <a:gd name="T24" fmla="*/ 16 w 27"/>
                <a:gd name="T25" fmla="*/ 11 h 27"/>
                <a:gd name="T26" fmla="*/ 16 w 27"/>
                <a:gd name="T27" fmla="*/ 1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" h="27">
                  <a:moveTo>
                    <a:pt x="21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25"/>
                    <a:pt x="2" y="27"/>
                    <a:pt x="5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4" y="27"/>
                    <a:pt x="27" y="25"/>
                    <a:pt x="27" y="22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7" y="3"/>
                    <a:pt x="24" y="0"/>
                    <a:pt x="21" y="0"/>
                  </a:cubicBezTo>
                  <a:close/>
                  <a:moveTo>
                    <a:pt x="16" y="17"/>
                  </a:moveTo>
                  <a:cubicBezTo>
                    <a:pt x="10" y="17"/>
                    <a:pt x="10" y="17"/>
                    <a:pt x="10" y="17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6" y="11"/>
                    <a:pt x="16" y="11"/>
                    <a:pt x="16" y="11"/>
                  </a:cubicBezTo>
                  <a:lnTo>
                    <a:pt x="16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87" name="Group 196">
            <a:extLst>
              <a:ext uri="{FF2B5EF4-FFF2-40B4-BE49-F238E27FC236}">
                <a16:creationId xmlns:a16="http://schemas.microsoft.com/office/drawing/2014/main" id="{C11576CF-D4E5-4730-9A3E-E2A33CD63ED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2573" y="2136586"/>
            <a:ext cx="273132" cy="274320"/>
            <a:chOff x="311" y="1753"/>
            <a:chExt cx="691" cy="694"/>
          </a:xfrm>
          <a:solidFill>
            <a:schemeClr val="accent1"/>
          </a:solidFill>
        </p:grpSpPr>
        <p:sp>
          <p:nvSpPr>
            <p:cNvPr id="88" name="Rectangle 197">
              <a:extLst>
                <a:ext uri="{FF2B5EF4-FFF2-40B4-BE49-F238E27FC236}">
                  <a16:creationId xmlns:a16="http://schemas.microsoft.com/office/drawing/2014/main" id="{87D135CA-0C4F-4F72-8D44-C2F9DCBA16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" y="1978"/>
              <a:ext cx="45" cy="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9" name="Freeform 198">
              <a:extLst>
                <a:ext uri="{FF2B5EF4-FFF2-40B4-BE49-F238E27FC236}">
                  <a16:creationId xmlns:a16="http://schemas.microsoft.com/office/drawing/2014/main" id="{F1027FA1-AB65-4522-8215-E2D60B6F67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1" y="1753"/>
              <a:ext cx="691" cy="694"/>
            </a:xfrm>
            <a:custGeom>
              <a:avLst/>
              <a:gdLst>
                <a:gd name="T0" fmla="*/ 336 w 336"/>
                <a:gd name="T1" fmla="*/ 16 h 337"/>
                <a:gd name="T2" fmla="*/ 228 w 336"/>
                <a:gd name="T3" fmla="*/ 16 h 337"/>
                <a:gd name="T4" fmla="*/ 260 w 336"/>
                <a:gd name="T5" fmla="*/ 87 h 337"/>
                <a:gd name="T6" fmla="*/ 249 w 336"/>
                <a:gd name="T7" fmla="*/ 109 h 337"/>
                <a:gd name="T8" fmla="*/ 254 w 336"/>
                <a:gd name="T9" fmla="*/ 163 h 337"/>
                <a:gd name="T10" fmla="*/ 195 w 336"/>
                <a:gd name="T11" fmla="*/ 109 h 337"/>
                <a:gd name="T12" fmla="*/ 100 w 336"/>
                <a:gd name="T13" fmla="*/ 153 h 337"/>
                <a:gd name="T14" fmla="*/ 49 w 336"/>
                <a:gd name="T15" fmla="*/ 141 h 337"/>
                <a:gd name="T16" fmla="*/ 87 w 336"/>
                <a:gd name="T17" fmla="*/ 16 h 337"/>
                <a:gd name="T18" fmla="*/ 0 w 336"/>
                <a:gd name="T19" fmla="*/ 16 h 337"/>
                <a:gd name="T20" fmla="*/ 38 w 336"/>
                <a:gd name="T21" fmla="*/ 141 h 337"/>
                <a:gd name="T22" fmla="*/ 72 w 336"/>
                <a:gd name="T23" fmla="*/ 179 h 337"/>
                <a:gd name="T24" fmla="*/ 27 w 336"/>
                <a:gd name="T25" fmla="*/ 239 h 337"/>
                <a:gd name="T26" fmla="*/ 0 w 336"/>
                <a:gd name="T27" fmla="*/ 304 h 337"/>
                <a:gd name="T28" fmla="*/ 103 w 336"/>
                <a:gd name="T29" fmla="*/ 337 h 337"/>
                <a:gd name="T30" fmla="*/ 108 w 336"/>
                <a:gd name="T31" fmla="*/ 304 h 337"/>
                <a:gd name="T32" fmla="*/ 59 w 336"/>
                <a:gd name="T33" fmla="*/ 239 h 337"/>
                <a:gd name="T34" fmla="*/ 108 w 336"/>
                <a:gd name="T35" fmla="*/ 228 h 337"/>
                <a:gd name="T36" fmla="*/ 287 w 336"/>
                <a:gd name="T37" fmla="*/ 195 h 337"/>
                <a:gd name="T38" fmla="*/ 249 w 336"/>
                <a:gd name="T39" fmla="*/ 337 h 337"/>
                <a:gd name="T40" fmla="*/ 298 w 336"/>
                <a:gd name="T41" fmla="*/ 239 h 337"/>
                <a:gd name="T42" fmla="*/ 262 w 336"/>
                <a:gd name="T43" fmla="*/ 174 h 337"/>
                <a:gd name="T44" fmla="*/ 315 w 336"/>
                <a:gd name="T45" fmla="*/ 109 h 337"/>
                <a:gd name="T46" fmla="*/ 304 w 336"/>
                <a:gd name="T47" fmla="*/ 87 h 337"/>
                <a:gd name="T48" fmla="*/ 11 w 336"/>
                <a:gd name="T49" fmla="*/ 87 h 337"/>
                <a:gd name="T50" fmla="*/ 76 w 336"/>
                <a:gd name="T51" fmla="*/ 87 h 337"/>
                <a:gd name="T52" fmla="*/ 76 w 336"/>
                <a:gd name="T53" fmla="*/ 16 h 337"/>
                <a:gd name="T54" fmla="*/ 11 w 336"/>
                <a:gd name="T55" fmla="*/ 16 h 337"/>
                <a:gd name="T56" fmla="*/ 11 w 336"/>
                <a:gd name="T57" fmla="*/ 98 h 337"/>
                <a:gd name="T58" fmla="*/ 70 w 336"/>
                <a:gd name="T59" fmla="*/ 130 h 337"/>
                <a:gd name="T60" fmla="*/ 108 w 336"/>
                <a:gd name="T61" fmla="*/ 320 h 337"/>
                <a:gd name="T62" fmla="*/ 11 w 336"/>
                <a:gd name="T63" fmla="*/ 320 h 337"/>
                <a:gd name="T64" fmla="*/ 108 w 336"/>
                <a:gd name="T65" fmla="*/ 320 h 337"/>
                <a:gd name="T66" fmla="*/ 21 w 336"/>
                <a:gd name="T67" fmla="*/ 304 h 337"/>
                <a:gd name="T68" fmla="*/ 92 w 336"/>
                <a:gd name="T69" fmla="*/ 250 h 337"/>
                <a:gd name="T70" fmla="*/ 260 w 336"/>
                <a:gd name="T71" fmla="*/ 293 h 337"/>
                <a:gd name="T72" fmla="*/ 260 w 336"/>
                <a:gd name="T73" fmla="*/ 326 h 337"/>
                <a:gd name="T74" fmla="*/ 260 w 336"/>
                <a:gd name="T75" fmla="*/ 250 h 337"/>
                <a:gd name="T76" fmla="*/ 228 w 336"/>
                <a:gd name="T77" fmla="*/ 217 h 337"/>
                <a:gd name="T78" fmla="*/ 105 w 336"/>
                <a:gd name="T79" fmla="*/ 163 h 337"/>
                <a:gd name="T80" fmla="*/ 141 w 336"/>
                <a:gd name="T81" fmla="*/ 136 h 337"/>
                <a:gd name="T82" fmla="*/ 166 w 336"/>
                <a:gd name="T83" fmla="*/ 138 h 337"/>
                <a:gd name="T84" fmla="*/ 227 w 336"/>
                <a:gd name="T85" fmla="*/ 157 h 337"/>
                <a:gd name="T86" fmla="*/ 255 w 336"/>
                <a:gd name="T87" fmla="*/ 190 h 337"/>
                <a:gd name="T88" fmla="*/ 320 w 336"/>
                <a:gd name="T89" fmla="*/ 11 h 337"/>
                <a:gd name="T90" fmla="*/ 239 w 336"/>
                <a:gd name="T91" fmla="*/ 54 h 337"/>
                <a:gd name="T92" fmla="*/ 239 w 336"/>
                <a:gd name="T93" fmla="*/ 71 h 337"/>
                <a:gd name="T94" fmla="*/ 325 w 336"/>
                <a:gd name="T95" fmla="*/ 71 h 337"/>
                <a:gd name="T96" fmla="*/ 239 w 336"/>
                <a:gd name="T97" fmla="*/ 71 h 337"/>
                <a:gd name="T98" fmla="*/ 271 w 336"/>
                <a:gd name="T99" fmla="*/ 87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36" h="337">
                  <a:moveTo>
                    <a:pt x="320" y="87"/>
                  </a:moveTo>
                  <a:cubicBezTo>
                    <a:pt x="329" y="87"/>
                    <a:pt x="336" y="80"/>
                    <a:pt x="336" y="71"/>
                  </a:cubicBezTo>
                  <a:cubicBezTo>
                    <a:pt x="336" y="16"/>
                    <a:pt x="336" y="16"/>
                    <a:pt x="336" y="16"/>
                  </a:cubicBezTo>
                  <a:cubicBezTo>
                    <a:pt x="336" y="7"/>
                    <a:pt x="329" y="0"/>
                    <a:pt x="320" y="0"/>
                  </a:cubicBezTo>
                  <a:cubicBezTo>
                    <a:pt x="244" y="0"/>
                    <a:pt x="244" y="0"/>
                    <a:pt x="244" y="0"/>
                  </a:cubicBezTo>
                  <a:cubicBezTo>
                    <a:pt x="235" y="0"/>
                    <a:pt x="228" y="7"/>
                    <a:pt x="228" y="16"/>
                  </a:cubicBezTo>
                  <a:cubicBezTo>
                    <a:pt x="228" y="71"/>
                    <a:pt x="228" y="71"/>
                    <a:pt x="228" y="71"/>
                  </a:cubicBezTo>
                  <a:cubicBezTo>
                    <a:pt x="228" y="80"/>
                    <a:pt x="235" y="87"/>
                    <a:pt x="244" y="87"/>
                  </a:cubicBezTo>
                  <a:cubicBezTo>
                    <a:pt x="260" y="87"/>
                    <a:pt x="260" y="87"/>
                    <a:pt x="260" y="87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49" y="98"/>
                    <a:pt x="249" y="98"/>
                    <a:pt x="249" y="98"/>
                  </a:cubicBezTo>
                  <a:cubicBezTo>
                    <a:pt x="249" y="109"/>
                    <a:pt x="249" y="109"/>
                    <a:pt x="249" y="109"/>
                  </a:cubicBezTo>
                  <a:cubicBezTo>
                    <a:pt x="277" y="109"/>
                    <a:pt x="277" y="109"/>
                    <a:pt x="277" y="109"/>
                  </a:cubicBezTo>
                  <a:cubicBezTo>
                    <a:pt x="277" y="163"/>
                    <a:pt x="277" y="163"/>
                    <a:pt x="277" y="163"/>
                  </a:cubicBezTo>
                  <a:cubicBezTo>
                    <a:pt x="254" y="163"/>
                    <a:pt x="254" y="163"/>
                    <a:pt x="254" y="163"/>
                  </a:cubicBezTo>
                  <a:cubicBezTo>
                    <a:pt x="250" y="159"/>
                    <a:pt x="245" y="155"/>
                    <a:pt x="239" y="154"/>
                  </a:cubicBezTo>
                  <a:cubicBezTo>
                    <a:pt x="239" y="153"/>
                    <a:pt x="239" y="153"/>
                    <a:pt x="239" y="152"/>
                  </a:cubicBezTo>
                  <a:cubicBezTo>
                    <a:pt x="239" y="128"/>
                    <a:pt x="219" y="109"/>
                    <a:pt x="195" y="109"/>
                  </a:cubicBezTo>
                  <a:cubicBezTo>
                    <a:pt x="180" y="109"/>
                    <a:pt x="166" y="116"/>
                    <a:pt x="159" y="129"/>
                  </a:cubicBezTo>
                  <a:cubicBezTo>
                    <a:pt x="153" y="126"/>
                    <a:pt x="147" y="125"/>
                    <a:pt x="141" y="125"/>
                  </a:cubicBezTo>
                  <a:cubicBezTo>
                    <a:pt x="123" y="125"/>
                    <a:pt x="107" y="136"/>
                    <a:pt x="100" y="153"/>
                  </a:cubicBezTo>
                  <a:cubicBezTo>
                    <a:pt x="96" y="154"/>
                    <a:pt x="92" y="155"/>
                    <a:pt x="89" y="157"/>
                  </a:cubicBezTo>
                  <a:cubicBezTo>
                    <a:pt x="49" y="157"/>
                    <a:pt x="49" y="157"/>
                    <a:pt x="49" y="157"/>
                  </a:cubicBezTo>
                  <a:cubicBezTo>
                    <a:pt x="49" y="141"/>
                    <a:pt x="49" y="141"/>
                    <a:pt x="49" y="141"/>
                  </a:cubicBezTo>
                  <a:cubicBezTo>
                    <a:pt x="70" y="141"/>
                    <a:pt x="70" y="141"/>
                    <a:pt x="70" y="141"/>
                  </a:cubicBezTo>
                  <a:cubicBezTo>
                    <a:pt x="79" y="141"/>
                    <a:pt x="87" y="134"/>
                    <a:pt x="87" y="125"/>
                  </a:cubicBezTo>
                  <a:cubicBezTo>
                    <a:pt x="87" y="16"/>
                    <a:pt x="87" y="16"/>
                    <a:pt x="87" y="16"/>
                  </a:cubicBezTo>
                  <a:cubicBezTo>
                    <a:pt x="87" y="7"/>
                    <a:pt x="79" y="0"/>
                    <a:pt x="70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34"/>
                    <a:pt x="7" y="141"/>
                    <a:pt x="16" y="141"/>
                  </a:cubicBezTo>
                  <a:cubicBezTo>
                    <a:pt x="38" y="141"/>
                    <a:pt x="38" y="141"/>
                    <a:pt x="38" y="141"/>
                  </a:cubicBezTo>
                  <a:cubicBezTo>
                    <a:pt x="38" y="168"/>
                    <a:pt x="38" y="168"/>
                    <a:pt x="38" y="168"/>
                  </a:cubicBezTo>
                  <a:cubicBezTo>
                    <a:pt x="77" y="168"/>
                    <a:pt x="77" y="168"/>
                    <a:pt x="77" y="168"/>
                  </a:cubicBezTo>
                  <a:cubicBezTo>
                    <a:pt x="75" y="172"/>
                    <a:pt x="73" y="175"/>
                    <a:pt x="72" y="179"/>
                  </a:cubicBezTo>
                  <a:cubicBezTo>
                    <a:pt x="49" y="179"/>
                    <a:pt x="49" y="179"/>
                    <a:pt x="49" y="179"/>
                  </a:cubicBezTo>
                  <a:cubicBezTo>
                    <a:pt x="49" y="239"/>
                    <a:pt x="49" y="239"/>
                    <a:pt x="49" y="239"/>
                  </a:cubicBezTo>
                  <a:cubicBezTo>
                    <a:pt x="27" y="239"/>
                    <a:pt x="27" y="239"/>
                    <a:pt x="27" y="239"/>
                  </a:cubicBezTo>
                  <a:cubicBezTo>
                    <a:pt x="18" y="239"/>
                    <a:pt x="11" y="246"/>
                    <a:pt x="11" y="255"/>
                  </a:cubicBezTo>
                  <a:cubicBezTo>
                    <a:pt x="11" y="304"/>
                    <a:pt x="11" y="304"/>
                    <a:pt x="11" y="304"/>
                  </a:cubicBezTo>
                  <a:cubicBezTo>
                    <a:pt x="0" y="304"/>
                    <a:pt x="0" y="304"/>
                    <a:pt x="0" y="304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0" y="329"/>
                    <a:pt x="7" y="337"/>
                    <a:pt x="16" y="337"/>
                  </a:cubicBezTo>
                  <a:cubicBezTo>
                    <a:pt x="103" y="337"/>
                    <a:pt x="103" y="337"/>
                    <a:pt x="103" y="337"/>
                  </a:cubicBezTo>
                  <a:cubicBezTo>
                    <a:pt x="112" y="337"/>
                    <a:pt x="119" y="329"/>
                    <a:pt x="119" y="320"/>
                  </a:cubicBezTo>
                  <a:cubicBezTo>
                    <a:pt x="119" y="304"/>
                    <a:pt x="119" y="304"/>
                    <a:pt x="119" y="304"/>
                  </a:cubicBezTo>
                  <a:cubicBezTo>
                    <a:pt x="108" y="304"/>
                    <a:pt x="108" y="304"/>
                    <a:pt x="108" y="304"/>
                  </a:cubicBezTo>
                  <a:cubicBezTo>
                    <a:pt x="108" y="255"/>
                    <a:pt x="108" y="255"/>
                    <a:pt x="108" y="255"/>
                  </a:cubicBezTo>
                  <a:cubicBezTo>
                    <a:pt x="108" y="246"/>
                    <a:pt x="101" y="239"/>
                    <a:pt x="92" y="239"/>
                  </a:cubicBezTo>
                  <a:cubicBezTo>
                    <a:pt x="59" y="239"/>
                    <a:pt x="59" y="239"/>
                    <a:pt x="59" y="239"/>
                  </a:cubicBezTo>
                  <a:cubicBezTo>
                    <a:pt x="59" y="190"/>
                    <a:pt x="59" y="190"/>
                    <a:pt x="59" y="190"/>
                  </a:cubicBezTo>
                  <a:cubicBezTo>
                    <a:pt x="70" y="190"/>
                    <a:pt x="70" y="190"/>
                    <a:pt x="70" y="190"/>
                  </a:cubicBezTo>
                  <a:cubicBezTo>
                    <a:pt x="70" y="211"/>
                    <a:pt x="87" y="228"/>
                    <a:pt x="108" y="228"/>
                  </a:cubicBezTo>
                  <a:cubicBezTo>
                    <a:pt x="228" y="228"/>
                    <a:pt x="228" y="228"/>
                    <a:pt x="228" y="228"/>
                  </a:cubicBezTo>
                  <a:cubicBezTo>
                    <a:pt x="247" y="228"/>
                    <a:pt x="263" y="214"/>
                    <a:pt x="265" y="195"/>
                  </a:cubicBezTo>
                  <a:cubicBezTo>
                    <a:pt x="287" y="195"/>
                    <a:pt x="287" y="195"/>
                    <a:pt x="287" y="195"/>
                  </a:cubicBezTo>
                  <a:cubicBezTo>
                    <a:pt x="287" y="239"/>
                    <a:pt x="287" y="239"/>
                    <a:pt x="287" y="239"/>
                  </a:cubicBezTo>
                  <a:cubicBezTo>
                    <a:pt x="249" y="239"/>
                    <a:pt x="249" y="239"/>
                    <a:pt x="249" y="239"/>
                  </a:cubicBezTo>
                  <a:cubicBezTo>
                    <a:pt x="249" y="337"/>
                    <a:pt x="249" y="337"/>
                    <a:pt x="249" y="337"/>
                  </a:cubicBezTo>
                  <a:cubicBezTo>
                    <a:pt x="336" y="337"/>
                    <a:pt x="336" y="337"/>
                    <a:pt x="336" y="337"/>
                  </a:cubicBezTo>
                  <a:cubicBezTo>
                    <a:pt x="336" y="239"/>
                    <a:pt x="336" y="239"/>
                    <a:pt x="336" y="239"/>
                  </a:cubicBezTo>
                  <a:cubicBezTo>
                    <a:pt x="298" y="239"/>
                    <a:pt x="298" y="239"/>
                    <a:pt x="298" y="239"/>
                  </a:cubicBezTo>
                  <a:cubicBezTo>
                    <a:pt x="298" y="185"/>
                    <a:pt x="298" y="185"/>
                    <a:pt x="298" y="185"/>
                  </a:cubicBezTo>
                  <a:cubicBezTo>
                    <a:pt x="265" y="185"/>
                    <a:pt x="265" y="185"/>
                    <a:pt x="265" y="185"/>
                  </a:cubicBezTo>
                  <a:cubicBezTo>
                    <a:pt x="265" y="181"/>
                    <a:pt x="264" y="177"/>
                    <a:pt x="262" y="174"/>
                  </a:cubicBezTo>
                  <a:cubicBezTo>
                    <a:pt x="287" y="174"/>
                    <a:pt x="287" y="174"/>
                    <a:pt x="287" y="174"/>
                  </a:cubicBezTo>
                  <a:cubicBezTo>
                    <a:pt x="287" y="109"/>
                    <a:pt x="287" y="109"/>
                    <a:pt x="287" y="109"/>
                  </a:cubicBezTo>
                  <a:cubicBezTo>
                    <a:pt x="315" y="109"/>
                    <a:pt x="315" y="109"/>
                    <a:pt x="315" y="109"/>
                  </a:cubicBezTo>
                  <a:cubicBezTo>
                    <a:pt x="315" y="98"/>
                    <a:pt x="315" y="98"/>
                    <a:pt x="315" y="98"/>
                  </a:cubicBezTo>
                  <a:cubicBezTo>
                    <a:pt x="304" y="98"/>
                    <a:pt x="304" y="98"/>
                    <a:pt x="304" y="98"/>
                  </a:cubicBezTo>
                  <a:cubicBezTo>
                    <a:pt x="304" y="87"/>
                    <a:pt x="304" y="87"/>
                    <a:pt x="304" y="87"/>
                  </a:cubicBezTo>
                  <a:lnTo>
                    <a:pt x="320" y="87"/>
                  </a:lnTo>
                  <a:close/>
                  <a:moveTo>
                    <a:pt x="76" y="87"/>
                  </a:moveTo>
                  <a:cubicBezTo>
                    <a:pt x="11" y="87"/>
                    <a:pt x="11" y="87"/>
                    <a:pt x="11" y="87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76" y="33"/>
                    <a:pt x="76" y="33"/>
                    <a:pt x="76" y="33"/>
                  </a:cubicBezTo>
                  <a:lnTo>
                    <a:pt x="76" y="87"/>
                  </a:lnTo>
                  <a:close/>
                  <a:moveTo>
                    <a:pt x="16" y="11"/>
                  </a:moveTo>
                  <a:cubicBezTo>
                    <a:pt x="70" y="11"/>
                    <a:pt x="70" y="11"/>
                    <a:pt x="70" y="11"/>
                  </a:cubicBezTo>
                  <a:cubicBezTo>
                    <a:pt x="73" y="11"/>
                    <a:pt x="76" y="13"/>
                    <a:pt x="76" y="16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3"/>
                    <a:pt x="13" y="11"/>
                    <a:pt x="16" y="11"/>
                  </a:cubicBezTo>
                  <a:close/>
                  <a:moveTo>
                    <a:pt x="11" y="125"/>
                  </a:moveTo>
                  <a:cubicBezTo>
                    <a:pt x="11" y="98"/>
                    <a:pt x="11" y="98"/>
                    <a:pt x="11" y="98"/>
                  </a:cubicBezTo>
                  <a:cubicBezTo>
                    <a:pt x="76" y="98"/>
                    <a:pt x="76" y="98"/>
                    <a:pt x="76" y="98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76" y="128"/>
                    <a:pt x="73" y="130"/>
                    <a:pt x="70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3" y="130"/>
                    <a:pt x="11" y="128"/>
                    <a:pt x="11" y="125"/>
                  </a:cubicBezTo>
                  <a:close/>
                  <a:moveTo>
                    <a:pt x="108" y="320"/>
                  </a:moveTo>
                  <a:cubicBezTo>
                    <a:pt x="108" y="323"/>
                    <a:pt x="106" y="326"/>
                    <a:pt x="103" y="326"/>
                  </a:cubicBezTo>
                  <a:cubicBezTo>
                    <a:pt x="16" y="326"/>
                    <a:pt x="16" y="326"/>
                    <a:pt x="16" y="326"/>
                  </a:cubicBezTo>
                  <a:cubicBezTo>
                    <a:pt x="13" y="326"/>
                    <a:pt x="11" y="323"/>
                    <a:pt x="11" y="320"/>
                  </a:cubicBezTo>
                  <a:cubicBezTo>
                    <a:pt x="11" y="315"/>
                    <a:pt x="11" y="315"/>
                    <a:pt x="11" y="315"/>
                  </a:cubicBezTo>
                  <a:cubicBezTo>
                    <a:pt x="108" y="315"/>
                    <a:pt x="108" y="315"/>
                    <a:pt x="108" y="315"/>
                  </a:cubicBezTo>
                  <a:lnTo>
                    <a:pt x="108" y="320"/>
                  </a:lnTo>
                  <a:close/>
                  <a:moveTo>
                    <a:pt x="97" y="255"/>
                  </a:moveTo>
                  <a:cubicBezTo>
                    <a:pt x="97" y="304"/>
                    <a:pt x="97" y="304"/>
                    <a:pt x="97" y="304"/>
                  </a:cubicBezTo>
                  <a:cubicBezTo>
                    <a:pt x="21" y="304"/>
                    <a:pt x="21" y="304"/>
                    <a:pt x="21" y="304"/>
                  </a:cubicBezTo>
                  <a:cubicBezTo>
                    <a:pt x="21" y="255"/>
                    <a:pt x="21" y="255"/>
                    <a:pt x="21" y="255"/>
                  </a:cubicBezTo>
                  <a:cubicBezTo>
                    <a:pt x="21" y="252"/>
                    <a:pt x="24" y="250"/>
                    <a:pt x="27" y="250"/>
                  </a:cubicBezTo>
                  <a:cubicBezTo>
                    <a:pt x="92" y="250"/>
                    <a:pt x="92" y="250"/>
                    <a:pt x="92" y="250"/>
                  </a:cubicBezTo>
                  <a:cubicBezTo>
                    <a:pt x="95" y="250"/>
                    <a:pt x="97" y="252"/>
                    <a:pt x="97" y="255"/>
                  </a:cubicBezTo>
                  <a:close/>
                  <a:moveTo>
                    <a:pt x="260" y="326"/>
                  </a:moveTo>
                  <a:cubicBezTo>
                    <a:pt x="260" y="293"/>
                    <a:pt x="260" y="293"/>
                    <a:pt x="260" y="293"/>
                  </a:cubicBezTo>
                  <a:cubicBezTo>
                    <a:pt x="325" y="293"/>
                    <a:pt x="325" y="293"/>
                    <a:pt x="325" y="293"/>
                  </a:cubicBezTo>
                  <a:cubicBezTo>
                    <a:pt x="325" y="326"/>
                    <a:pt x="325" y="326"/>
                    <a:pt x="325" y="326"/>
                  </a:cubicBezTo>
                  <a:lnTo>
                    <a:pt x="260" y="326"/>
                  </a:lnTo>
                  <a:close/>
                  <a:moveTo>
                    <a:pt x="325" y="282"/>
                  </a:moveTo>
                  <a:cubicBezTo>
                    <a:pt x="260" y="282"/>
                    <a:pt x="260" y="282"/>
                    <a:pt x="260" y="282"/>
                  </a:cubicBezTo>
                  <a:cubicBezTo>
                    <a:pt x="260" y="250"/>
                    <a:pt x="260" y="250"/>
                    <a:pt x="260" y="250"/>
                  </a:cubicBezTo>
                  <a:cubicBezTo>
                    <a:pt x="325" y="250"/>
                    <a:pt x="325" y="250"/>
                    <a:pt x="325" y="250"/>
                  </a:cubicBezTo>
                  <a:lnTo>
                    <a:pt x="325" y="282"/>
                  </a:lnTo>
                  <a:close/>
                  <a:moveTo>
                    <a:pt x="228" y="217"/>
                  </a:moveTo>
                  <a:cubicBezTo>
                    <a:pt x="108" y="217"/>
                    <a:pt x="108" y="217"/>
                    <a:pt x="108" y="217"/>
                  </a:cubicBezTo>
                  <a:cubicBezTo>
                    <a:pt x="93" y="217"/>
                    <a:pt x="81" y="205"/>
                    <a:pt x="81" y="190"/>
                  </a:cubicBezTo>
                  <a:cubicBezTo>
                    <a:pt x="81" y="176"/>
                    <a:pt x="91" y="165"/>
                    <a:pt x="105" y="163"/>
                  </a:cubicBezTo>
                  <a:cubicBezTo>
                    <a:pt x="109" y="163"/>
                    <a:pt x="109" y="163"/>
                    <a:pt x="109" y="163"/>
                  </a:cubicBezTo>
                  <a:cubicBezTo>
                    <a:pt x="110" y="159"/>
                    <a:pt x="110" y="159"/>
                    <a:pt x="110" y="159"/>
                  </a:cubicBezTo>
                  <a:cubicBezTo>
                    <a:pt x="114" y="145"/>
                    <a:pt x="126" y="136"/>
                    <a:pt x="141" y="136"/>
                  </a:cubicBezTo>
                  <a:cubicBezTo>
                    <a:pt x="147" y="136"/>
                    <a:pt x="153" y="137"/>
                    <a:pt x="158" y="141"/>
                  </a:cubicBezTo>
                  <a:cubicBezTo>
                    <a:pt x="163" y="144"/>
                    <a:pt x="163" y="144"/>
                    <a:pt x="163" y="144"/>
                  </a:cubicBezTo>
                  <a:cubicBezTo>
                    <a:pt x="166" y="138"/>
                    <a:pt x="166" y="138"/>
                    <a:pt x="166" y="138"/>
                  </a:cubicBezTo>
                  <a:cubicBezTo>
                    <a:pt x="171" y="127"/>
                    <a:pt x="183" y="119"/>
                    <a:pt x="195" y="119"/>
                  </a:cubicBezTo>
                  <a:cubicBezTo>
                    <a:pt x="213" y="119"/>
                    <a:pt x="228" y="134"/>
                    <a:pt x="228" y="152"/>
                  </a:cubicBezTo>
                  <a:cubicBezTo>
                    <a:pt x="228" y="153"/>
                    <a:pt x="228" y="155"/>
                    <a:pt x="227" y="157"/>
                  </a:cubicBezTo>
                  <a:cubicBezTo>
                    <a:pt x="226" y="162"/>
                    <a:pt x="226" y="162"/>
                    <a:pt x="226" y="162"/>
                  </a:cubicBezTo>
                  <a:cubicBezTo>
                    <a:pt x="232" y="163"/>
                    <a:pt x="232" y="163"/>
                    <a:pt x="232" y="163"/>
                  </a:cubicBezTo>
                  <a:cubicBezTo>
                    <a:pt x="245" y="165"/>
                    <a:pt x="255" y="177"/>
                    <a:pt x="255" y="190"/>
                  </a:cubicBezTo>
                  <a:cubicBezTo>
                    <a:pt x="255" y="205"/>
                    <a:pt x="243" y="217"/>
                    <a:pt x="228" y="217"/>
                  </a:cubicBezTo>
                  <a:close/>
                  <a:moveTo>
                    <a:pt x="244" y="11"/>
                  </a:moveTo>
                  <a:cubicBezTo>
                    <a:pt x="320" y="11"/>
                    <a:pt x="320" y="11"/>
                    <a:pt x="320" y="11"/>
                  </a:cubicBezTo>
                  <a:cubicBezTo>
                    <a:pt x="323" y="11"/>
                    <a:pt x="325" y="13"/>
                    <a:pt x="325" y="16"/>
                  </a:cubicBezTo>
                  <a:cubicBezTo>
                    <a:pt x="325" y="54"/>
                    <a:pt x="325" y="54"/>
                    <a:pt x="325" y="54"/>
                  </a:cubicBezTo>
                  <a:cubicBezTo>
                    <a:pt x="239" y="54"/>
                    <a:pt x="239" y="54"/>
                    <a:pt x="239" y="54"/>
                  </a:cubicBezTo>
                  <a:cubicBezTo>
                    <a:pt x="239" y="16"/>
                    <a:pt x="239" y="16"/>
                    <a:pt x="239" y="16"/>
                  </a:cubicBezTo>
                  <a:cubicBezTo>
                    <a:pt x="239" y="13"/>
                    <a:pt x="241" y="11"/>
                    <a:pt x="244" y="11"/>
                  </a:cubicBezTo>
                  <a:close/>
                  <a:moveTo>
                    <a:pt x="239" y="71"/>
                  </a:moveTo>
                  <a:cubicBezTo>
                    <a:pt x="239" y="65"/>
                    <a:pt x="239" y="65"/>
                    <a:pt x="239" y="65"/>
                  </a:cubicBezTo>
                  <a:cubicBezTo>
                    <a:pt x="325" y="65"/>
                    <a:pt x="325" y="65"/>
                    <a:pt x="325" y="65"/>
                  </a:cubicBezTo>
                  <a:cubicBezTo>
                    <a:pt x="325" y="71"/>
                    <a:pt x="325" y="71"/>
                    <a:pt x="325" y="71"/>
                  </a:cubicBezTo>
                  <a:cubicBezTo>
                    <a:pt x="325" y="74"/>
                    <a:pt x="323" y="76"/>
                    <a:pt x="320" y="76"/>
                  </a:cubicBezTo>
                  <a:cubicBezTo>
                    <a:pt x="244" y="76"/>
                    <a:pt x="244" y="76"/>
                    <a:pt x="244" y="76"/>
                  </a:cubicBezTo>
                  <a:cubicBezTo>
                    <a:pt x="241" y="76"/>
                    <a:pt x="239" y="74"/>
                    <a:pt x="239" y="71"/>
                  </a:cubicBezTo>
                  <a:close/>
                  <a:moveTo>
                    <a:pt x="293" y="98"/>
                  </a:moveTo>
                  <a:cubicBezTo>
                    <a:pt x="271" y="98"/>
                    <a:pt x="271" y="98"/>
                    <a:pt x="271" y="98"/>
                  </a:cubicBezTo>
                  <a:cubicBezTo>
                    <a:pt x="271" y="87"/>
                    <a:pt x="271" y="87"/>
                    <a:pt x="271" y="87"/>
                  </a:cubicBezTo>
                  <a:cubicBezTo>
                    <a:pt x="293" y="87"/>
                    <a:pt x="293" y="87"/>
                    <a:pt x="293" y="87"/>
                  </a:cubicBezTo>
                  <a:lnTo>
                    <a:pt x="293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0" name="Rectangle 199">
              <a:extLst>
                <a:ext uri="{FF2B5EF4-FFF2-40B4-BE49-F238E27FC236}">
                  <a16:creationId xmlns:a16="http://schemas.microsoft.com/office/drawing/2014/main" id="{492489D2-1591-4C07-8947-03EF6CCB65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8" y="2291"/>
              <a:ext cx="23" cy="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1" name="Rectangle 200">
              <a:extLst>
                <a:ext uri="{FF2B5EF4-FFF2-40B4-BE49-F238E27FC236}">
                  <a16:creationId xmlns:a16="http://schemas.microsoft.com/office/drawing/2014/main" id="{5A4F54BA-BEFE-4AFE-A5AA-8B1C8004B0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6" y="2379"/>
              <a:ext cx="23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2" name="Rectangle 201">
              <a:extLst>
                <a:ext uri="{FF2B5EF4-FFF2-40B4-BE49-F238E27FC236}">
                  <a16:creationId xmlns:a16="http://schemas.microsoft.com/office/drawing/2014/main" id="{4096B4DC-BC20-457B-86A7-C818846B55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4" y="2291"/>
              <a:ext cx="45" cy="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3" name="Rectangle 202">
              <a:extLst>
                <a:ext uri="{FF2B5EF4-FFF2-40B4-BE49-F238E27FC236}">
                  <a16:creationId xmlns:a16="http://schemas.microsoft.com/office/drawing/2014/main" id="{0EF2A656-31D7-4EFB-A8E6-FED6C153C5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8" y="2379"/>
              <a:ext cx="46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94" name="Group 93">
            <a:extLst>
              <a:ext uri="{FF2B5EF4-FFF2-40B4-BE49-F238E27FC236}">
                <a16:creationId xmlns:a16="http://schemas.microsoft.com/office/drawing/2014/main" id="{1FC1A3EE-2430-4A0C-8800-9B80B9354DA5}"/>
              </a:ext>
            </a:extLst>
          </p:cNvPr>
          <p:cNvGrpSpPr>
            <a:grpSpLocks noChangeAspect="1"/>
          </p:cNvGrpSpPr>
          <p:nvPr/>
        </p:nvGrpSpPr>
        <p:grpSpPr>
          <a:xfrm>
            <a:off x="651159" y="2548994"/>
            <a:ext cx="275961" cy="274320"/>
            <a:chOff x="623592" y="3245107"/>
            <a:chExt cx="389535" cy="387220"/>
          </a:xfrm>
          <a:solidFill>
            <a:schemeClr val="accent1"/>
          </a:solidFill>
        </p:grpSpPr>
        <p:sp>
          <p:nvSpPr>
            <p:cNvPr id="95" name="Freeform 206">
              <a:extLst>
                <a:ext uri="{FF2B5EF4-FFF2-40B4-BE49-F238E27FC236}">
                  <a16:creationId xmlns:a16="http://schemas.microsoft.com/office/drawing/2014/main" id="{9ED7EA3C-64F4-4548-A2CD-AFE463A030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6850" y="3393860"/>
              <a:ext cx="52671" cy="51514"/>
            </a:xfrm>
            <a:custGeom>
              <a:avLst/>
              <a:gdLst>
                <a:gd name="T0" fmla="*/ 22 w 44"/>
                <a:gd name="T1" fmla="*/ 43 h 43"/>
                <a:gd name="T2" fmla="*/ 44 w 44"/>
                <a:gd name="T3" fmla="*/ 21 h 43"/>
                <a:gd name="T4" fmla="*/ 22 w 44"/>
                <a:gd name="T5" fmla="*/ 0 h 43"/>
                <a:gd name="T6" fmla="*/ 0 w 44"/>
                <a:gd name="T7" fmla="*/ 21 h 43"/>
                <a:gd name="T8" fmla="*/ 22 w 44"/>
                <a:gd name="T9" fmla="*/ 43 h 43"/>
                <a:gd name="T10" fmla="*/ 22 w 44"/>
                <a:gd name="T11" fmla="*/ 10 h 43"/>
                <a:gd name="T12" fmla="*/ 33 w 44"/>
                <a:gd name="T13" fmla="*/ 21 h 43"/>
                <a:gd name="T14" fmla="*/ 22 w 44"/>
                <a:gd name="T15" fmla="*/ 32 h 43"/>
                <a:gd name="T16" fmla="*/ 11 w 44"/>
                <a:gd name="T17" fmla="*/ 21 h 43"/>
                <a:gd name="T18" fmla="*/ 22 w 44"/>
                <a:gd name="T19" fmla="*/ 1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" h="43">
                  <a:moveTo>
                    <a:pt x="22" y="43"/>
                  </a:moveTo>
                  <a:cubicBezTo>
                    <a:pt x="34" y="43"/>
                    <a:pt x="44" y="33"/>
                    <a:pt x="44" y="21"/>
                  </a:cubicBezTo>
                  <a:cubicBezTo>
                    <a:pt x="44" y="9"/>
                    <a:pt x="34" y="0"/>
                    <a:pt x="22" y="0"/>
                  </a:cubicBezTo>
                  <a:cubicBezTo>
                    <a:pt x="10" y="0"/>
                    <a:pt x="0" y="9"/>
                    <a:pt x="0" y="21"/>
                  </a:cubicBezTo>
                  <a:cubicBezTo>
                    <a:pt x="0" y="33"/>
                    <a:pt x="10" y="43"/>
                    <a:pt x="22" y="43"/>
                  </a:cubicBezTo>
                  <a:close/>
                  <a:moveTo>
                    <a:pt x="22" y="10"/>
                  </a:moveTo>
                  <a:cubicBezTo>
                    <a:pt x="28" y="10"/>
                    <a:pt x="33" y="15"/>
                    <a:pt x="33" y="21"/>
                  </a:cubicBezTo>
                  <a:cubicBezTo>
                    <a:pt x="33" y="27"/>
                    <a:pt x="28" y="32"/>
                    <a:pt x="22" y="32"/>
                  </a:cubicBezTo>
                  <a:cubicBezTo>
                    <a:pt x="16" y="32"/>
                    <a:pt x="11" y="27"/>
                    <a:pt x="11" y="21"/>
                  </a:cubicBezTo>
                  <a:cubicBezTo>
                    <a:pt x="11" y="15"/>
                    <a:pt x="16" y="10"/>
                    <a:pt x="2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6" name="Freeform 207">
              <a:extLst>
                <a:ext uri="{FF2B5EF4-FFF2-40B4-BE49-F238E27FC236}">
                  <a16:creationId xmlns:a16="http://schemas.microsoft.com/office/drawing/2014/main" id="{67B2477B-6523-4996-8074-073C0CA917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244" y="3309354"/>
              <a:ext cx="52671" cy="45147"/>
            </a:xfrm>
            <a:custGeom>
              <a:avLst/>
              <a:gdLst>
                <a:gd name="T0" fmla="*/ 33 w 44"/>
                <a:gd name="T1" fmla="*/ 0 h 38"/>
                <a:gd name="T2" fmla="*/ 11 w 44"/>
                <a:gd name="T3" fmla="*/ 0 h 38"/>
                <a:gd name="T4" fmla="*/ 0 w 44"/>
                <a:gd name="T5" fmla="*/ 11 h 38"/>
                <a:gd name="T6" fmla="*/ 0 w 44"/>
                <a:gd name="T7" fmla="*/ 33 h 38"/>
                <a:gd name="T8" fmla="*/ 6 w 44"/>
                <a:gd name="T9" fmla="*/ 38 h 38"/>
                <a:gd name="T10" fmla="*/ 38 w 44"/>
                <a:gd name="T11" fmla="*/ 38 h 38"/>
                <a:gd name="T12" fmla="*/ 44 w 44"/>
                <a:gd name="T13" fmla="*/ 33 h 38"/>
                <a:gd name="T14" fmla="*/ 44 w 44"/>
                <a:gd name="T15" fmla="*/ 11 h 38"/>
                <a:gd name="T16" fmla="*/ 33 w 44"/>
                <a:gd name="T17" fmla="*/ 0 h 38"/>
                <a:gd name="T18" fmla="*/ 33 w 44"/>
                <a:gd name="T19" fmla="*/ 27 h 38"/>
                <a:gd name="T20" fmla="*/ 11 w 44"/>
                <a:gd name="T21" fmla="*/ 27 h 38"/>
                <a:gd name="T22" fmla="*/ 11 w 44"/>
                <a:gd name="T23" fmla="*/ 11 h 38"/>
                <a:gd name="T24" fmla="*/ 33 w 44"/>
                <a:gd name="T25" fmla="*/ 11 h 38"/>
                <a:gd name="T26" fmla="*/ 33 w 44"/>
                <a:gd name="T27" fmla="*/ 27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38">
                  <a:moveTo>
                    <a:pt x="33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36"/>
                    <a:pt x="3" y="38"/>
                    <a:pt x="6" y="38"/>
                  </a:cubicBezTo>
                  <a:cubicBezTo>
                    <a:pt x="38" y="38"/>
                    <a:pt x="38" y="38"/>
                    <a:pt x="38" y="38"/>
                  </a:cubicBezTo>
                  <a:cubicBezTo>
                    <a:pt x="41" y="38"/>
                    <a:pt x="44" y="36"/>
                    <a:pt x="44" y="33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4" y="5"/>
                    <a:pt x="39" y="0"/>
                    <a:pt x="33" y="0"/>
                  </a:cubicBezTo>
                  <a:close/>
                  <a:moveTo>
                    <a:pt x="33" y="27"/>
                  </a:moveTo>
                  <a:cubicBezTo>
                    <a:pt x="11" y="27"/>
                    <a:pt x="11" y="27"/>
                    <a:pt x="11" y="27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33" y="11"/>
                    <a:pt x="33" y="11"/>
                    <a:pt x="33" y="11"/>
                  </a:cubicBezTo>
                  <a:lnTo>
                    <a:pt x="33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7" name="Freeform 208">
              <a:extLst>
                <a:ext uri="{FF2B5EF4-FFF2-40B4-BE49-F238E27FC236}">
                  <a16:creationId xmlns:a16="http://schemas.microsoft.com/office/drawing/2014/main" id="{5174EBC6-55A0-4928-8005-3ECE403CC9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309" y="3245107"/>
              <a:ext cx="232100" cy="228628"/>
            </a:xfrm>
            <a:custGeom>
              <a:avLst/>
              <a:gdLst>
                <a:gd name="T0" fmla="*/ 173 w 195"/>
                <a:gd name="T1" fmla="*/ 184 h 192"/>
                <a:gd name="T2" fmla="*/ 168 w 195"/>
                <a:gd name="T3" fmla="*/ 106 h 192"/>
                <a:gd name="T4" fmla="*/ 179 w 195"/>
                <a:gd name="T5" fmla="*/ 81 h 192"/>
                <a:gd name="T6" fmla="*/ 185 w 195"/>
                <a:gd name="T7" fmla="*/ 54 h 192"/>
                <a:gd name="T8" fmla="*/ 168 w 195"/>
                <a:gd name="T9" fmla="*/ 49 h 192"/>
                <a:gd name="T10" fmla="*/ 174 w 195"/>
                <a:gd name="T11" fmla="*/ 38 h 192"/>
                <a:gd name="T12" fmla="*/ 179 w 195"/>
                <a:gd name="T13" fmla="*/ 16 h 192"/>
                <a:gd name="T14" fmla="*/ 168 w 195"/>
                <a:gd name="T15" fmla="*/ 11 h 192"/>
                <a:gd name="T16" fmla="*/ 163 w 195"/>
                <a:gd name="T17" fmla="*/ 0 h 192"/>
                <a:gd name="T18" fmla="*/ 136 w 195"/>
                <a:gd name="T19" fmla="*/ 5 h 192"/>
                <a:gd name="T20" fmla="*/ 130 w 195"/>
                <a:gd name="T21" fmla="*/ 109 h 192"/>
                <a:gd name="T22" fmla="*/ 119 w 195"/>
                <a:gd name="T23" fmla="*/ 81 h 192"/>
                <a:gd name="T24" fmla="*/ 109 w 195"/>
                <a:gd name="T25" fmla="*/ 59 h 192"/>
                <a:gd name="T26" fmla="*/ 49 w 195"/>
                <a:gd name="T27" fmla="*/ 32 h 192"/>
                <a:gd name="T28" fmla="*/ 22 w 195"/>
                <a:gd name="T29" fmla="*/ 81 h 192"/>
                <a:gd name="T30" fmla="*/ 0 w 195"/>
                <a:gd name="T31" fmla="*/ 92 h 192"/>
                <a:gd name="T32" fmla="*/ 11 w 195"/>
                <a:gd name="T33" fmla="*/ 190 h 192"/>
                <a:gd name="T34" fmla="*/ 129 w 195"/>
                <a:gd name="T35" fmla="*/ 183 h 192"/>
                <a:gd name="T36" fmla="*/ 147 w 195"/>
                <a:gd name="T37" fmla="*/ 110 h 192"/>
                <a:gd name="T38" fmla="*/ 157 w 195"/>
                <a:gd name="T39" fmla="*/ 11 h 192"/>
                <a:gd name="T40" fmla="*/ 163 w 195"/>
                <a:gd name="T41" fmla="*/ 21 h 192"/>
                <a:gd name="T42" fmla="*/ 168 w 195"/>
                <a:gd name="T43" fmla="*/ 27 h 192"/>
                <a:gd name="T44" fmla="*/ 157 w 195"/>
                <a:gd name="T45" fmla="*/ 32 h 192"/>
                <a:gd name="T46" fmla="*/ 163 w 195"/>
                <a:gd name="T47" fmla="*/ 59 h 192"/>
                <a:gd name="T48" fmla="*/ 174 w 195"/>
                <a:gd name="T49" fmla="*/ 70 h 192"/>
                <a:gd name="T50" fmla="*/ 157 w 195"/>
                <a:gd name="T51" fmla="*/ 76 h 192"/>
                <a:gd name="T52" fmla="*/ 161 w 195"/>
                <a:gd name="T53" fmla="*/ 115 h 192"/>
                <a:gd name="T54" fmla="*/ 152 w 195"/>
                <a:gd name="T55" fmla="*/ 179 h 192"/>
                <a:gd name="T56" fmla="*/ 143 w 195"/>
                <a:gd name="T57" fmla="*/ 115 h 192"/>
                <a:gd name="T58" fmla="*/ 27 w 195"/>
                <a:gd name="T59" fmla="*/ 92 h 192"/>
                <a:gd name="T60" fmla="*/ 33 w 195"/>
                <a:gd name="T61" fmla="*/ 59 h 192"/>
                <a:gd name="T62" fmla="*/ 81 w 195"/>
                <a:gd name="T63" fmla="*/ 43 h 192"/>
                <a:gd name="T64" fmla="*/ 98 w 195"/>
                <a:gd name="T65" fmla="*/ 87 h 192"/>
                <a:gd name="T66" fmla="*/ 119 w 195"/>
                <a:gd name="T67" fmla="*/ 92 h 192"/>
                <a:gd name="T68" fmla="*/ 119 w 195"/>
                <a:gd name="T69" fmla="*/ 175 h 192"/>
                <a:gd name="T70" fmla="*/ 11 w 195"/>
                <a:gd name="T71" fmla="*/ 179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5" h="192">
                  <a:moveTo>
                    <a:pt x="129" y="183"/>
                  </a:moveTo>
                  <a:cubicBezTo>
                    <a:pt x="143" y="191"/>
                    <a:pt x="159" y="192"/>
                    <a:pt x="173" y="184"/>
                  </a:cubicBezTo>
                  <a:cubicBezTo>
                    <a:pt x="187" y="177"/>
                    <a:pt x="195" y="162"/>
                    <a:pt x="195" y="146"/>
                  </a:cubicBezTo>
                  <a:cubicBezTo>
                    <a:pt x="195" y="129"/>
                    <a:pt x="185" y="113"/>
                    <a:pt x="168" y="106"/>
                  </a:cubicBezTo>
                  <a:cubicBezTo>
                    <a:pt x="168" y="81"/>
                    <a:pt x="168" y="81"/>
                    <a:pt x="168" y="81"/>
                  </a:cubicBezTo>
                  <a:cubicBezTo>
                    <a:pt x="179" y="81"/>
                    <a:pt x="179" y="81"/>
                    <a:pt x="179" y="81"/>
                  </a:cubicBezTo>
                  <a:cubicBezTo>
                    <a:pt x="182" y="81"/>
                    <a:pt x="185" y="79"/>
                    <a:pt x="185" y="76"/>
                  </a:cubicBezTo>
                  <a:cubicBezTo>
                    <a:pt x="185" y="54"/>
                    <a:pt x="185" y="54"/>
                    <a:pt x="185" y="54"/>
                  </a:cubicBezTo>
                  <a:cubicBezTo>
                    <a:pt x="185" y="51"/>
                    <a:pt x="182" y="49"/>
                    <a:pt x="179" y="49"/>
                  </a:cubicBezTo>
                  <a:cubicBezTo>
                    <a:pt x="168" y="49"/>
                    <a:pt x="168" y="49"/>
                    <a:pt x="168" y="49"/>
                  </a:cubicBezTo>
                  <a:cubicBezTo>
                    <a:pt x="168" y="38"/>
                    <a:pt x="168" y="38"/>
                    <a:pt x="168" y="38"/>
                  </a:cubicBezTo>
                  <a:cubicBezTo>
                    <a:pt x="174" y="38"/>
                    <a:pt x="174" y="38"/>
                    <a:pt x="174" y="38"/>
                  </a:cubicBezTo>
                  <a:cubicBezTo>
                    <a:pt x="177" y="38"/>
                    <a:pt x="179" y="35"/>
                    <a:pt x="179" y="32"/>
                  </a:cubicBezTo>
                  <a:cubicBezTo>
                    <a:pt x="179" y="16"/>
                    <a:pt x="179" y="16"/>
                    <a:pt x="179" y="16"/>
                  </a:cubicBezTo>
                  <a:cubicBezTo>
                    <a:pt x="179" y="13"/>
                    <a:pt x="177" y="11"/>
                    <a:pt x="174" y="11"/>
                  </a:cubicBezTo>
                  <a:cubicBezTo>
                    <a:pt x="168" y="11"/>
                    <a:pt x="168" y="11"/>
                    <a:pt x="168" y="11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2"/>
                    <a:pt x="166" y="0"/>
                    <a:pt x="163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38" y="0"/>
                    <a:pt x="136" y="2"/>
                    <a:pt x="136" y="5"/>
                  </a:cubicBezTo>
                  <a:cubicBezTo>
                    <a:pt x="136" y="106"/>
                    <a:pt x="136" y="106"/>
                    <a:pt x="136" y="106"/>
                  </a:cubicBezTo>
                  <a:cubicBezTo>
                    <a:pt x="134" y="107"/>
                    <a:pt x="132" y="108"/>
                    <a:pt x="130" y="109"/>
                  </a:cubicBezTo>
                  <a:cubicBezTo>
                    <a:pt x="130" y="92"/>
                    <a:pt x="130" y="92"/>
                    <a:pt x="130" y="92"/>
                  </a:cubicBezTo>
                  <a:cubicBezTo>
                    <a:pt x="130" y="86"/>
                    <a:pt x="125" y="81"/>
                    <a:pt x="119" y="81"/>
                  </a:cubicBezTo>
                  <a:cubicBezTo>
                    <a:pt x="109" y="81"/>
                    <a:pt x="109" y="81"/>
                    <a:pt x="109" y="81"/>
                  </a:cubicBezTo>
                  <a:cubicBezTo>
                    <a:pt x="109" y="59"/>
                    <a:pt x="109" y="59"/>
                    <a:pt x="109" y="59"/>
                  </a:cubicBezTo>
                  <a:cubicBezTo>
                    <a:pt x="108" y="44"/>
                    <a:pt x="96" y="32"/>
                    <a:pt x="81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34" y="32"/>
                    <a:pt x="22" y="44"/>
                    <a:pt x="22" y="59"/>
                  </a:cubicBezTo>
                  <a:cubicBezTo>
                    <a:pt x="22" y="81"/>
                    <a:pt x="22" y="81"/>
                    <a:pt x="22" y="81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5" y="81"/>
                    <a:pt x="0" y="86"/>
                    <a:pt x="0" y="92"/>
                  </a:cubicBezTo>
                  <a:cubicBezTo>
                    <a:pt x="0" y="179"/>
                    <a:pt x="0" y="179"/>
                    <a:pt x="0" y="179"/>
                  </a:cubicBezTo>
                  <a:cubicBezTo>
                    <a:pt x="0" y="185"/>
                    <a:pt x="5" y="190"/>
                    <a:pt x="11" y="190"/>
                  </a:cubicBezTo>
                  <a:cubicBezTo>
                    <a:pt x="119" y="190"/>
                    <a:pt x="119" y="190"/>
                    <a:pt x="119" y="190"/>
                  </a:cubicBezTo>
                  <a:cubicBezTo>
                    <a:pt x="124" y="190"/>
                    <a:pt x="128" y="187"/>
                    <a:pt x="129" y="183"/>
                  </a:cubicBezTo>
                  <a:close/>
                  <a:moveTo>
                    <a:pt x="143" y="115"/>
                  </a:moveTo>
                  <a:cubicBezTo>
                    <a:pt x="145" y="114"/>
                    <a:pt x="147" y="112"/>
                    <a:pt x="147" y="110"/>
                  </a:cubicBezTo>
                  <a:cubicBezTo>
                    <a:pt x="147" y="11"/>
                    <a:pt x="147" y="11"/>
                    <a:pt x="147" y="11"/>
                  </a:cubicBezTo>
                  <a:cubicBezTo>
                    <a:pt x="157" y="11"/>
                    <a:pt x="157" y="11"/>
                    <a:pt x="157" y="11"/>
                  </a:cubicBezTo>
                  <a:cubicBezTo>
                    <a:pt x="157" y="16"/>
                    <a:pt x="157" y="16"/>
                    <a:pt x="157" y="16"/>
                  </a:cubicBezTo>
                  <a:cubicBezTo>
                    <a:pt x="157" y="19"/>
                    <a:pt x="160" y="21"/>
                    <a:pt x="163" y="21"/>
                  </a:cubicBezTo>
                  <a:cubicBezTo>
                    <a:pt x="168" y="21"/>
                    <a:pt x="168" y="21"/>
                    <a:pt x="168" y="21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163" y="27"/>
                    <a:pt x="163" y="27"/>
                    <a:pt x="163" y="27"/>
                  </a:cubicBezTo>
                  <a:cubicBezTo>
                    <a:pt x="160" y="27"/>
                    <a:pt x="157" y="29"/>
                    <a:pt x="157" y="32"/>
                  </a:cubicBezTo>
                  <a:cubicBezTo>
                    <a:pt x="157" y="54"/>
                    <a:pt x="157" y="54"/>
                    <a:pt x="157" y="54"/>
                  </a:cubicBezTo>
                  <a:cubicBezTo>
                    <a:pt x="157" y="57"/>
                    <a:pt x="160" y="59"/>
                    <a:pt x="163" y="59"/>
                  </a:cubicBezTo>
                  <a:cubicBezTo>
                    <a:pt x="174" y="59"/>
                    <a:pt x="174" y="59"/>
                    <a:pt x="174" y="59"/>
                  </a:cubicBezTo>
                  <a:cubicBezTo>
                    <a:pt x="174" y="70"/>
                    <a:pt x="174" y="70"/>
                    <a:pt x="174" y="70"/>
                  </a:cubicBezTo>
                  <a:cubicBezTo>
                    <a:pt x="163" y="70"/>
                    <a:pt x="163" y="70"/>
                    <a:pt x="163" y="70"/>
                  </a:cubicBezTo>
                  <a:cubicBezTo>
                    <a:pt x="160" y="70"/>
                    <a:pt x="157" y="73"/>
                    <a:pt x="157" y="76"/>
                  </a:cubicBezTo>
                  <a:cubicBezTo>
                    <a:pt x="157" y="110"/>
                    <a:pt x="157" y="110"/>
                    <a:pt x="157" y="110"/>
                  </a:cubicBezTo>
                  <a:cubicBezTo>
                    <a:pt x="157" y="112"/>
                    <a:pt x="159" y="114"/>
                    <a:pt x="161" y="115"/>
                  </a:cubicBezTo>
                  <a:cubicBezTo>
                    <a:pt x="177" y="120"/>
                    <a:pt x="187" y="135"/>
                    <a:pt x="184" y="151"/>
                  </a:cubicBezTo>
                  <a:cubicBezTo>
                    <a:pt x="182" y="167"/>
                    <a:pt x="168" y="179"/>
                    <a:pt x="152" y="179"/>
                  </a:cubicBezTo>
                  <a:cubicBezTo>
                    <a:pt x="136" y="179"/>
                    <a:pt x="122" y="167"/>
                    <a:pt x="120" y="151"/>
                  </a:cubicBezTo>
                  <a:cubicBezTo>
                    <a:pt x="117" y="135"/>
                    <a:pt x="127" y="120"/>
                    <a:pt x="143" y="115"/>
                  </a:cubicBezTo>
                  <a:close/>
                  <a:moveTo>
                    <a:pt x="11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30" y="92"/>
                    <a:pt x="33" y="90"/>
                    <a:pt x="33" y="87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0"/>
                    <a:pt x="40" y="43"/>
                    <a:pt x="49" y="43"/>
                  </a:cubicBezTo>
                  <a:cubicBezTo>
                    <a:pt x="81" y="43"/>
                    <a:pt x="81" y="43"/>
                    <a:pt x="81" y="43"/>
                  </a:cubicBezTo>
                  <a:cubicBezTo>
                    <a:pt x="90" y="43"/>
                    <a:pt x="98" y="50"/>
                    <a:pt x="98" y="59"/>
                  </a:cubicBezTo>
                  <a:cubicBezTo>
                    <a:pt x="98" y="87"/>
                    <a:pt x="98" y="87"/>
                    <a:pt x="98" y="87"/>
                  </a:cubicBezTo>
                  <a:cubicBezTo>
                    <a:pt x="98" y="90"/>
                    <a:pt x="100" y="92"/>
                    <a:pt x="103" y="92"/>
                  </a:cubicBezTo>
                  <a:cubicBezTo>
                    <a:pt x="119" y="92"/>
                    <a:pt x="119" y="92"/>
                    <a:pt x="119" y="92"/>
                  </a:cubicBezTo>
                  <a:cubicBezTo>
                    <a:pt x="119" y="118"/>
                    <a:pt x="119" y="118"/>
                    <a:pt x="119" y="118"/>
                  </a:cubicBezTo>
                  <a:cubicBezTo>
                    <a:pt x="105" y="134"/>
                    <a:pt x="105" y="159"/>
                    <a:pt x="119" y="175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" y="179"/>
                    <a:pt x="11" y="179"/>
                    <a:pt x="11" y="179"/>
                  </a:cubicBezTo>
                  <a:lnTo>
                    <a:pt x="11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8" name="Freeform 209">
              <a:extLst>
                <a:ext uri="{FF2B5EF4-FFF2-40B4-BE49-F238E27FC236}">
                  <a16:creationId xmlns:a16="http://schemas.microsoft.com/office/drawing/2014/main" id="{C225C349-AA73-4FD6-8147-4BBCD8D6B5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2086" y="3367813"/>
              <a:ext cx="54986" cy="77560"/>
            </a:xfrm>
            <a:custGeom>
              <a:avLst/>
              <a:gdLst>
                <a:gd name="T0" fmla="*/ 23 w 46"/>
                <a:gd name="T1" fmla="*/ 0 h 65"/>
                <a:gd name="T2" fmla="*/ 3 w 46"/>
                <a:gd name="T3" fmla="*/ 13 h 65"/>
                <a:gd name="T4" fmla="*/ 7 w 46"/>
                <a:gd name="T5" fmla="*/ 36 h 65"/>
                <a:gd name="T6" fmla="*/ 7 w 46"/>
                <a:gd name="T7" fmla="*/ 60 h 65"/>
                <a:gd name="T8" fmla="*/ 12 w 46"/>
                <a:gd name="T9" fmla="*/ 65 h 65"/>
                <a:gd name="T10" fmla="*/ 34 w 46"/>
                <a:gd name="T11" fmla="*/ 65 h 65"/>
                <a:gd name="T12" fmla="*/ 39 w 46"/>
                <a:gd name="T13" fmla="*/ 60 h 65"/>
                <a:gd name="T14" fmla="*/ 39 w 46"/>
                <a:gd name="T15" fmla="*/ 36 h 65"/>
                <a:gd name="T16" fmla="*/ 43 w 46"/>
                <a:gd name="T17" fmla="*/ 13 h 65"/>
                <a:gd name="T18" fmla="*/ 23 w 46"/>
                <a:gd name="T19" fmla="*/ 0 h 65"/>
                <a:gd name="T20" fmla="*/ 30 w 46"/>
                <a:gd name="T21" fmla="*/ 30 h 65"/>
                <a:gd name="T22" fmla="*/ 29 w 46"/>
                <a:gd name="T23" fmla="*/ 34 h 65"/>
                <a:gd name="T24" fmla="*/ 29 w 46"/>
                <a:gd name="T25" fmla="*/ 54 h 65"/>
                <a:gd name="T26" fmla="*/ 18 w 46"/>
                <a:gd name="T27" fmla="*/ 54 h 65"/>
                <a:gd name="T28" fmla="*/ 18 w 46"/>
                <a:gd name="T29" fmla="*/ 34 h 65"/>
                <a:gd name="T30" fmla="*/ 16 w 46"/>
                <a:gd name="T31" fmla="*/ 30 h 65"/>
                <a:gd name="T32" fmla="*/ 12 w 46"/>
                <a:gd name="T33" fmla="*/ 22 h 65"/>
                <a:gd name="T34" fmla="*/ 23 w 46"/>
                <a:gd name="T35" fmla="*/ 11 h 65"/>
                <a:gd name="T36" fmla="*/ 34 w 46"/>
                <a:gd name="T37" fmla="*/ 22 h 65"/>
                <a:gd name="T38" fmla="*/ 30 w 46"/>
                <a:gd name="T39" fmla="*/ 3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6" h="65">
                  <a:moveTo>
                    <a:pt x="23" y="0"/>
                  </a:moveTo>
                  <a:cubicBezTo>
                    <a:pt x="15" y="0"/>
                    <a:pt x="7" y="5"/>
                    <a:pt x="3" y="13"/>
                  </a:cubicBezTo>
                  <a:cubicBezTo>
                    <a:pt x="0" y="20"/>
                    <a:pt x="1" y="29"/>
                    <a:pt x="7" y="36"/>
                  </a:cubicBezTo>
                  <a:cubicBezTo>
                    <a:pt x="7" y="60"/>
                    <a:pt x="7" y="60"/>
                    <a:pt x="7" y="60"/>
                  </a:cubicBezTo>
                  <a:cubicBezTo>
                    <a:pt x="7" y="63"/>
                    <a:pt x="9" y="65"/>
                    <a:pt x="12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7" y="65"/>
                    <a:pt x="39" y="63"/>
                    <a:pt x="39" y="60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45" y="29"/>
                    <a:pt x="46" y="20"/>
                    <a:pt x="43" y="13"/>
                  </a:cubicBezTo>
                  <a:cubicBezTo>
                    <a:pt x="39" y="5"/>
                    <a:pt x="32" y="0"/>
                    <a:pt x="23" y="0"/>
                  </a:cubicBezTo>
                  <a:close/>
                  <a:moveTo>
                    <a:pt x="30" y="30"/>
                  </a:moveTo>
                  <a:cubicBezTo>
                    <a:pt x="29" y="31"/>
                    <a:pt x="29" y="32"/>
                    <a:pt x="29" y="34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2"/>
                    <a:pt x="17" y="31"/>
                    <a:pt x="16" y="30"/>
                  </a:cubicBezTo>
                  <a:cubicBezTo>
                    <a:pt x="14" y="28"/>
                    <a:pt x="12" y="25"/>
                    <a:pt x="12" y="22"/>
                  </a:cubicBezTo>
                  <a:cubicBezTo>
                    <a:pt x="12" y="16"/>
                    <a:pt x="17" y="11"/>
                    <a:pt x="23" y="11"/>
                  </a:cubicBezTo>
                  <a:cubicBezTo>
                    <a:pt x="29" y="11"/>
                    <a:pt x="34" y="16"/>
                    <a:pt x="34" y="22"/>
                  </a:cubicBezTo>
                  <a:cubicBezTo>
                    <a:pt x="34" y="25"/>
                    <a:pt x="33" y="28"/>
                    <a:pt x="30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99" name="Freeform 210">
              <a:extLst>
                <a:ext uri="{FF2B5EF4-FFF2-40B4-BE49-F238E27FC236}">
                  <a16:creationId xmlns:a16="http://schemas.microsoft.com/office/drawing/2014/main" id="{F2D7D137-7EA2-41A2-9840-A8B7528537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3592" y="3484732"/>
              <a:ext cx="84505" cy="147595"/>
            </a:xfrm>
            <a:custGeom>
              <a:avLst/>
              <a:gdLst>
                <a:gd name="T0" fmla="*/ 61 w 71"/>
                <a:gd name="T1" fmla="*/ 34 h 124"/>
                <a:gd name="T2" fmla="*/ 20 w 71"/>
                <a:gd name="T3" fmla="*/ 54 h 124"/>
                <a:gd name="T4" fmla="*/ 17 w 71"/>
                <a:gd name="T5" fmla="*/ 59 h 124"/>
                <a:gd name="T6" fmla="*/ 17 w 71"/>
                <a:gd name="T7" fmla="*/ 82 h 124"/>
                <a:gd name="T8" fmla="*/ 1 w 71"/>
                <a:gd name="T9" fmla="*/ 106 h 124"/>
                <a:gd name="T10" fmla="*/ 23 w 71"/>
                <a:gd name="T11" fmla="*/ 124 h 124"/>
                <a:gd name="T12" fmla="*/ 44 w 71"/>
                <a:gd name="T13" fmla="*/ 106 h 124"/>
                <a:gd name="T14" fmla="*/ 28 w 71"/>
                <a:gd name="T15" fmla="*/ 82 h 124"/>
                <a:gd name="T16" fmla="*/ 28 w 71"/>
                <a:gd name="T17" fmla="*/ 63 h 124"/>
                <a:gd name="T18" fmla="*/ 68 w 71"/>
                <a:gd name="T19" fmla="*/ 42 h 124"/>
                <a:gd name="T20" fmla="*/ 71 w 71"/>
                <a:gd name="T21" fmla="*/ 38 h 124"/>
                <a:gd name="T22" fmla="*/ 71 w 71"/>
                <a:gd name="T23" fmla="*/ 0 h 124"/>
                <a:gd name="T24" fmla="*/ 61 w 71"/>
                <a:gd name="T25" fmla="*/ 0 h 124"/>
                <a:gd name="T26" fmla="*/ 61 w 71"/>
                <a:gd name="T27" fmla="*/ 34 h 124"/>
                <a:gd name="T28" fmla="*/ 33 w 71"/>
                <a:gd name="T29" fmla="*/ 103 h 124"/>
                <a:gd name="T30" fmla="*/ 23 w 71"/>
                <a:gd name="T31" fmla="*/ 114 h 124"/>
                <a:gd name="T32" fmla="*/ 12 w 71"/>
                <a:gd name="T33" fmla="*/ 103 h 124"/>
                <a:gd name="T34" fmla="*/ 23 w 71"/>
                <a:gd name="T35" fmla="*/ 92 h 124"/>
                <a:gd name="T36" fmla="*/ 33 w 71"/>
                <a:gd name="T37" fmla="*/ 10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1" h="124">
                  <a:moveTo>
                    <a:pt x="61" y="34"/>
                  </a:moveTo>
                  <a:cubicBezTo>
                    <a:pt x="20" y="54"/>
                    <a:pt x="20" y="54"/>
                    <a:pt x="20" y="54"/>
                  </a:cubicBezTo>
                  <a:cubicBezTo>
                    <a:pt x="18" y="55"/>
                    <a:pt x="17" y="57"/>
                    <a:pt x="17" y="59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6" y="84"/>
                    <a:pt x="0" y="95"/>
                    <a:pt x="1" y="106"/>
                  </a:cubicBezTo>
                  <a:cubicBezTo>
                    <a:pt x="2" y="116"/>
                    <a:pt x="12" y="124"/>
                    <a:pt x="23" y="124"/>
                  </a:cubicBezTo>
                  <a:cubicBezTo>
                    <a:pt x="33" y="124"/>
                    <a:pt x="43" y="116"/>
                    <a:pt x="44" y="106"/>
                  </a:cubicBezTo>
                  <a:cubicBezTo>
                    <a:pt x="45" y="95"/>
                    <a:pt x="39" y="84"/>
                    <a:pt x="28" y="82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70" y="42"/>
                    <a:pt x="71" y="40"/>
                    <a:pt x="71" y="38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61" y="0"/>
                    <a:pt x="61" y="0"/>
                    <a:pt x="61" y="0"/>
                  </a:cubicBezTo>
                  <a:lnTo>
                    <a:pt x="61" y="34"/>
                  </a:lnTo>
                  <a:close/>
                  <a:moveTo>
                    <a:pt x="33" y="103"/>
                  </a:moveTo>
                  <a:cubicBezTo>
                    <a:pt x="33" y="109"/>
                    <a:pt x="29" y="114"/>
                    <a:pt x="23" y="114"/>
                  </a:cubicBezTo>
                  <a:cubicBezTo>
                    <a:pt x="17" y="114"/>
                    <a:pt x="12" y="109"/>
                    <a:pt x="12" y="103"/>
                  </a:cubicBezTo>
                  <a:cubicBezTo>
                    <a:pt x="12" y="97"/>
                    <a:pt x="17" y="92"/>
                    <a:pt x="23" y="92"/>
                  </a:cubicBezTo>
                  <a:cubicBezTo>
                    <a:pt x="29" y="92"/>
                    <a:pt x="33" y="97"/>
                    <a:pt x="33" y="1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0" name="Freeform 211">
              <a:extLst>
                <a:ext uri="{FF2B5EF4-FFF2-40B4-BE49-F238E27FC236}">
                  <a16:creationId xmlns:a16="http://schemas.microsoft.com/office/drawing/2014/main" id="{3D6E1FFE-F524-459E-B9B2-226AFCD663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668" y="3484732"/>
              <a:ext cx="38201" cy="147595"/>
            </a:xfrm>
            <a:custGeom>
              <a:avLst/>
              <a:gdLst>
                <a:gd name="T0" fmla="*/ 10 w 32"/>
                <a:gd name="T1" fmla="*/ 52 h 124"/>
                <a:gd name="T2" fmla="*/ 10 w 32"/>
                <a:gd name="T3" fmla="*/ 0 h 124"/>
                <a:gd name="T4" fmla="*/ 0 w 32"/>
                <a:gd name="T5" fmla="*/ 0 h 124"/>
                <a:gd name="T6" fmla="*/ 0 w 32"/>
                <a:gd name="T7" fmla="*/ 54 h 124"/>
                <a:gd name="T8" fmla="*/ 1 w 32"/>
                <a:gd name="T9" fmla="*/ 57 h 124"/>
                <a:gd name="T10" fmla="*/ 21 w 32"/>
                <a:gd name="T11" fmla="*/ 83 h 124"/>
                <a:gd name="T12" fmla="*/ 21 w 32"/>
                <a:gd name="T13" fmla="*/ 124 h 124"/>
                <a:gd name="T14" fmla="*/ 32 w 32"/>
                <a:gd name="T15" fmla="*/ 124 h 124"/>
                <a:gd name="T16" fmla="*/ 32 w 32"/>
                <a:gd name="T17" fmla="*/ 81 h 124"/>
                <a:gd name="T18" fmla="*/ 31 w 32"/>
                <a:gd name="T19" fmla="*/ 78 h 124"/>
                <a:gd name="T20" fmla="*/ 10 w 32"/>
                <a:gd name="T21" fmla="*/ 5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124">
                  <a:moveTo>
                    <a:pt x="10" y="52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55"/>
                    <a:pt x="0" y="56"/>
                    <a:pt x="1" y="5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1" y="124"/>
                    <a:pt x="21" y="124"/>
                    <a:pt x="21" y="124"/>
                  </a:cubicBezTo>
                  <a:cubicBezTo>
                    <a:pt x="32" y="124"/>
                    <a:pt x="32" y="124"/>
                    <a:pt x="32" y="124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2" y="80"/>
                    <a:pt x="32" y="79"/>
                    <a:pt x="31" y="78"/>
                  </a:cubicBezTo>
                  <a:lnTo>
                    <a:pt x="10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1" name="Freeform 212">
              <a:extLst>
                <a:ext uri="{FF2B5EF4-FFF2-40B4-BE49-F238E27FC236}">
                  <a16:creationId xmlns:a16="http://schemas.microsoft.com/office/drawing/2014/main" id="{91A01872-9586-4A97-83B6-B63F5787B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0162" y="3484732"/>
              <a:ext cx="92030" cy="129652"/>
            </a:xfrm>
            <a:custGeom>
              <a:avLst/>
              <a:gdLst>
                <a:gd name="T0" fmla="*/ 54 w 77"/>
                <a:gd name="T1" fmla="*/ 65 h 109"/>
                <a:gd name="T2" fmla="*/ 34 w 77"/>
                <a:gd name="T3" fmla="*/ 78 h 109"/>
                <a:gd name="T4" fmla="*/ 11 w 77"/>
                <a:gd name="T5" fmla="*/ 67 h 109"/>
                <a:gd name="T6" fmla="*/ 11 w 77"/>
                <a:gd name="T7" fmla="*/ 0 h 109"/>
                <a:gd name="T8" fmla="*/ 0 w 77"/>
                <a:gd name="T9" fmla="*/ 0 h 109"/>
                <a:gd name="T10" fmla="*/ 0 w 77"/>
                <a:gd name="T11" fmla="*/ 70 h 109"/>
                <a:gd name="T12" fmla="*/ 3 w 77"/>
                <a:gd name="T13" fmla="*/ 75 h 109"/>
                <a:gd name="T14" fmla="*/ 33 w 77"/>
                <a:gd name="T15" fmla="*/ 90 h 109"/>
                <a:gd name="T16" fmla="*/ 57 w 77"/>
                <a:gd name="T17" fmla="*/ 108 h 109"/>
                <a:gd name="T18" fmla="*/ 76 w 77"/>
                <a:gd name="T19" fmla="*/ 85 h 109"/>
                <a:gd name="T20" fmla="*/ 54 w 77"/>
                <a:gd name="T21" fmla="*/ 65 h 109"/>
                <a:gd name="T22" fmla="*/ 54 w 77"/>
                <a:gd name="T23" fmla="*/ 97 h 109"/>
                <a:gd name="T24" fmla="*/ 44 w 77"/>
                <a:gd name="T25" fmla="*/ 86 h 109"/>
                <a:gd name="T26" fmla="*/ 54 w 77"/>
                <a:gd name="T27" fmla="*/ 76 h 109"/>
                <a:gd name="T28" fmla="*/ 65 w 77"/>
                <a:gd name="T29" fmla="*/ 86 h 109"/>
                <a:gd name="T30" fmla="*/ 54 w 77"/>
                <a:gd name="T31" fmla="*/ 9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7" h="109">
                  <a:moveTo>
                    <a:pt x="54" y="65"/>
                  </a:moveTo>
                  <a:cubicBezTo>
                    <a:pt x="45" y="65"/>
                    <a:pt x="38" y="70"/>
                    <a:pt x="34" y="78"/>
                  </a:cubicBezTo>
                  <a:cubicBezTo>
                    <a:pt x="11" y="67"/>
                    <a:pt x="11" y="67"/>
                    <a:pt x="11" y="6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72"/>
                    <a:pt x="1" y="74"/>
                    <a:pt x="3" y="75"/>
                  </a:cubicBezTo>
                  <a:cubicBezTo>
                    <a:pt x="33" y="90"/>
                    <a:pt x="33" y="90"/>
                    <a:pt x="33" y="90"/>
                  </a:cubicBezTo>
                  <a:cubicBezTo>
                    <a:pt x="35" y="101"/>
                    <a:pt x="45" y="109"/>
                    <a:pt x="57" y="108"/>
                  </a:cubicBezTo>
                  <a:cubicBezTo>
                    <a:pt x="68" y="107"/>
                    <a:pt x="77" y="97"/>
                    <a:pt x="76" y="85"/>
                  </a:cubicBezTo>
                  <a:cubicBezTo>
                    <a:pt x="75" y="74"/>
                    <a:pt x="66" y="65"/>
                    <a:pt x="54" y="65"/>
                  </a:cubicBezTo>
                  <a:close/>
                  <a:moveTo>
                    <a:pt x="54" y="97"/>
                  </a:moveTo>
                  <a:cubicBezTo>
                    <a:pt x="48" y="97"/>
                    <a:pt x="44" y="92"/>
                    <a:pt x="44" y="86"/>
                  </a:cubicBezTo>
                  <a:cubicBezTo>
                    <a:pt x="44" y="80"/>
                    <a:pt x="48" y="76"/>
                    <a:pt x="54" y="76"/>
                  </a:cubicBezTo>
                  <a:cubicBezTo>
                    <a:pt x="60" y="76"/>
                    <a:pt x="65" y="80"/>
                    <a:pt x="65" y="86"/>
                  </a:cubicBezTo>
                  <a:cubicBezTo>
                    <a:pt x="65" y="92"/>
                    <a:pt x="60" y="97"/>
                    <a:pt x="54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2" name="Freeform 213">
              <a:extLst>
                <a:ext uri="{FF2B5EF4-FFF2-40B4-BE49-F238E27FC236}">
                  <a16:creationId xmlns:a16="http://schemas.microsoft.com/office/drawing/2014/main" id="{1017024B-5E84-4AC4-93AB-E1EC09ECCC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25149" y="3482417"/>
              <a:ext cx="87978" cy="149910"/>
            </a:xfrm>
            <a:custGeom>
              <a:avLst/>
              <a:gdLst>
                <a:gd name="T0" fmla="*/ 46 w 74"/>
                <a:gd name="T1" fmla="*/ 26 h 126"/>
                <a:gd name="T2" fmla="*/ 46 w 74"/>
                <a:gd name="T3" fmla="*/ 23 h 126"/>
                <a:gd name="T4" fmla="*/ 28 w 74"/>
                <a:gd name="T5" fmla="*/ 1 h 126"/>
                <a:gd name="T6" fmla="*/ 4 w 74"/>
                <a:gd name="T7" fmla="*/ 16 h 126"/>
                <a:gd name="T8" fmla="*/ 14 w 74"/>
                <a:gd name="T9" fmla="*/ 42 h 126"/>
                <a:gd name="T10" fmla="*/ 42 w 74"/>
                <a:gd name="T11" fmla="*/ 36 h 126"/>
                <a:gd name="T12" fmla="*/ 63 w 74"/>
                <a:gd name="T13" fmla="*/ 53 h 126"/>
                <a:gd name="T14" fmla="*/ 63 w 74"/>
                <a:gd name="T15" fmla="*/ 126 h 126"/>
                <a:gd name="T16" fmla="*/ 74 w 74"/>
                <a:gd name="T17" fmla="*/ 126 h 126"/>
                <a:gd name="T18" fmla="*/ 74 w 74"/>
                <a:gd name="T19" fmla="*/ 50 h 126"/>
                <a:gd name="T20" fmla="*/ 71 w 74"/>
                <a:gd name="T21" fmla="*/ 46 h 126"/>
                <a:gd name="T22" fmla="*/ 46 w 74"/>
                <a:gd name="T23" fmla="*/ 26 h 126"/>
                <a:gd name="T24" fmla="*/ 25 w 74"/>
                <a:gd name="T25" fmla="*/ 34 h 126"/>
                <a:gd name="T26" fmla="*/ 14 w 74"/>
                <a:gd name="T27" fmla="*/ 23 h 126"/>
                <a:gd name="T28" fmla="*/ 25 w 74"/>
                <a:gd name="T29" fmla="*/ 12 h 126"/>
                <a:gd name="T30" fmla="*/ 36 w 74"/>
                <a:gd name="T31" fmla="*/ 23 h 126"/>
                <a:gd name="T32" fmla="*/ 25 w 74"/>
                <a:gd name="T33" fmla="*/ 3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" h="126">
                  <a:moveTo>
                    <a:pt x="46" y="26"/>
                  </a:moveTo>
                  <a:cubicBezTo>
                    <a:pt x="46" y="25"/>
                    <a:pt x="46" y="24"/>
                    <a:pt x="46" y="23"/>
                  </a:cubicBezTo>
                  <a:cubicBezTo>
                    <a:pt x="46" y="13"/>
                    <a:pt x="39" y="3"/>
                    <a:pt x="28" y="1"/>
                  </a:cubicBezTo>
                  <a:cubicBezTo>
                    <a:pt x="18" y="0"/>
                    <a:pt x="7" y="6"/>
                    <a:pt x="4" y="16"/>
                  </a:cubicBezTo>
                  <a:cubicBezTo>
                    <a:pt x="0" y="26"/>
                    <a:pt x="5" y="37"/>
                    <a:pt x="14" y="42"/>
                  </a:cubicBezTo>
                  <a:cubicBezTo>
                    <a:pt x="24" y="47"/>
                    <a:pt x="35" y="45"/>
                    <a:pt x="42" y="36"/>
                  </a:cubicBezTo>
                  <a:cubicBezTo>
                    <a:pt x="63" y="53"/>
                    <a:pt x="63" y="53"/>
                    <a:pt x="63" y="53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74" y="126"/>
                    <a:pt x="74" y="126"/>
                    <a:pt x="74" y="126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49"/>
                    <a:pt x="73" y="47"/>
                    <a:pt x="71" y="46"/>
                  </a:cubicBezTo>
                  <a:lnTo>
                    <a:pt x="46" y="26"/>
                  </a:lnTo>
                  <a:close/>
                  <a:moveTo>
                    <a:pt x="25" y="34"/>
                  </a:moveTo>
                  <a:cubicBezTo>
                    <a:pt x="19" y="34"/>
                    <a:pt x="14" y="29"/>
                    <a:pt x="14" y="23"/>
                  </a:cubicBezTo>
                  <a:cubicBezTo>
                    <a:pt x="14" y="17"/>
                    <a:pt x="19" y="12"/>
                    <a:pt x="25" y="12"/>
                  </a:cubicBezTo>
                  <a:cubicBezTo>
                    <a:pt x="31" y="12"/>
                    <a:pt x="36" y="17"/>
                    <a:pt x="36" y="23"/>
                  </a:cubicBezTo>
                  <a:cubicBezTo>
                    <a:pt x="36" y="29"/>
                    <a:pt x="31" y="34"/>
                    <a:pt x="25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3" name="Freeform 214">
              <a:extLst>
                <a:ext uri="{FF2B5EF4-FFF2-40B4-BE49-F238E27FC236}">
                  <a16:creationId xmlns:a16="http://schemas.microsoft.com/office/drawing/2014/main" id="{021907E0-DDBF-4BC3-B75E-09BC777E8C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5657" y="3484732"/>
              <a:ext cx="71193" cy="147595"/>
            </a:xfrm>
            <a:custGeom>
              <a:avLst/>
              <a:gdLst>
                <a:gd name="T0" fmla="*/ 58 w 60"/>
                <a:gd name="T1" fmla="*/ 87 h 124"/>
                <a:gd name="T2" fmla="*/ 34 w 60"/>
                <a:gd name="T3" fmla="*/ 72 h 124"/>
                <a:gd name="T4" fmla="*/ 44 w 60"/>
                <a:gd name="T5" fmla="*/ 50 h 124"/>
                <a:gd name="T6" fmla="*/ 28 w 60"/>
                <a:gd name="T7" fmla="*/ 33 h 124"/>
                <a:gd name="T8" fmla="*/ 28 w 60"/>
                <a:gd name="T9" fmla="*/ 0 h 124"/>
                <a:gd name="T10" fmla="*/ 17 w 60"/>
                <a:gd name="T11" fmla="*/ 0 h 124"/>
                <a:gd name="T12" fmla="*/ 17 w 60"/>
                <a:gd name="T13" fmla="*/ 33 h 124"/>
                <a:gd name="T14" fmla="*/ 1 w 60"/>
                <a:gd name="T15" fmla="*/ 56 h 124"/>
                <a:gd name="T16" fmla="*/ 20 w 60"/>
                <a:gd name="T17" fmla="*/ 75 h 124"/>
                <a:gd name="T18" fmla="*/ 49 w 60"/>
                <a:gd name="T19" fmla="*/ 95 h 124"/>
                <a:gd name="T20" fmla="*/ 49 w 60"/>
                <a:gd name="T21" fmla="*/ 124 h 124"/>
                <a:gd name="T22" fmla="*/ 60 w 60"/>
                <a:gd name="T23" fmla="*/ 124 h 124"/>
                <a:gd name="T24" fmla="*/ 60 w 60"/>
                <a:gd name="T25" fmla="*/ 92 h 124"/>
                <a:gd name="T26" fmla="*/ 58 w 60"/>
                <a:gd name="T27" fmla="*/ 87 h 124"/>
                <a:gd name="T28" fmla="*/ 11 w 60"/>
                <a:gd name="T29" fmla="*/ 54 h 124"/>
                <a:gd name="T30" fmla="*/ 22 w 60"/>
                <a:gd name="T31" fmla="*/ 43 h 124"/>
                <a:gd name="T32" fmla="*/ 33 w 60"/>
                <a:gd name="T33" fmla="*/ 54 h 124"/>
                <a:gd name="T34" fmla="*/ 22 w 60"/>
                <a:gd name="T35" fmla="*/ 65 h 124"/>
                <a:gd name="T36" fmla="*/ 11 w 60"/>
                <a:gd name="T37" fmla="*/ 5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0" h="124">
                  <a:moveTo>
                    <a:pt x="58" y="87"/>
                  </a:moveTo>
                  <a:cubicBezTo>
                    <a:pt x="34" y="72"/>
                    <a:pt x="34" y="72"/>
                    <a:pt x="34" y="72"/>
                  </a:cubicBezTo>
                  <a:cubicBezTo>
                    <a:pt x="42" y="67"/>
                    <a:pt x="45" y="59"/>
                    <a:pt x="44" y="50"/>
                  </a:cubicBezTo>
                  <a:cubicBezTo>
                    <a:pt x="42" y="42"/>
                    <a:pt x="36" y="35"/>
                    <a:pt x="28" y="33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7" y="35"/>
                    <a:pt x="0" y="45"/>
                    <a:pt x="1" y="56"/>
                  </a:cubicBezTo>
                  <a:cubicBezTo>
                    <a:pt x="1" y="66"/>
                    <a:pt x="10" y="74"/>
                    <a:pt x="20" y="75"/>
                  </a:cubicBezTo>
                  <a:cubicBezTo>
                    <a:pt x="49" y="95"/>
                    <a:pt x="49" y="95"/>
                    <a:pt x="49" y="95"/>
                  </a:cubicBezTo>
                  <a:cubicBezTo>
                    <a:pt x="49" y="124"/>
                    <a:pt x="49" y="124"/>
                    <a:pt x="49" y="124"/>
                  </a:cubicBezTo>
                  <a:cubicBezTo>
                    <a:pt x="60" y="124"/>
                    <a:pt x="60" y="124"/>
                    <a:pt x="60" y="124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0" y="90"/>
                    <a:pt x="59" y="88"/>
                    <a:pt x="58" y="87"/>
                  </a:cubicBezTo>
                  <a:close/>
                  <a:moveTo>
                    <a:pt x="11" y="54"/>
                  </a:moveTo>
                  <a:cubicBezTo>
                    <a:pt x="11" y="48"/>
                    <a:pt x="16" y="43"/>
                    <a:pt x="22" y="43"/>
                  </a:cubicBezTo>
                  <a:cubicBezTo>
                    <a:pt x="28" y="43"/>
                    <a:pt x="33" y="48"/>
                    <a:pt x="33" y="54"/>
                  </a:cubicBezTo>
                  <a:cubicBezTo>
                    <a:pt x="33" y="60"/>
                    <a:pt x="28" y="65"/>
                    <a:pt x="22" y="65"/>
                  </a:cubicBezTo>
                  <a:cubicBezTo>
                    <a:pt x="16" y="65"/>
                    <a:pt x="11" y="60"/>
                    <a:pt x="11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104" name="Group 217">
            <a:extLst>
              <a:ext uri="{FF2B5EF4-FFF2-40B4-BE49-F238E27FC236}">
                <a16:creationId xmlns:a16="http://schemas.microsoft.com/office/drawing/2014/main" id="{68341809-17C1-466F-99DA-9DD51C3B281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1979" y="2961402"/>
            <a:ext cx="274320" cy="274320"/>
            <a:chOff x="68" y="2353"/>
            <a:chExt cx="691" cy="691"/>
          </a:xfrm>
          <a:solidFill>
            <a:schemeClr val="accent1"/>
          </a:solidFill>
        </p:grpSpPr>
        <p:sp>
          <p:nvSpPr>
            <p:cNvPr id="105" name="Rectangle 218">
              <a:extLst>
                <a:ext uri="{FF2B5EF4-FFF2-40B4-BE49-F238E27FC236}">
                  <a16:creationId xmlns:a16="http://schemas.microsoft.com/office/drawing/2014/main" id="{74B6043A-705D-4B8D-9515-5D021B0B81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" y="2731"/>
              <a:ext cx="114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6" name="Rectangle 219">
              <a:extLst>
                <a:ext uri="{FF2B5EF4-FFF2-40B4-BE49-F238E27FC236}">
                  <a16:creationId xmlns:a16="http://schemas.microsoft.com/office/drawing/2014/main" id="{029B26E3-2894-4AB1-BCBE-2728B0E9BE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" y="2777"/>
              <a:ext cx="114" cy="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7" name="Freeform 220">
              <a:extLst>
                <a:ext uri="{FF2B5EF4-FFF2-40B4-BE49-F238E27FC236}">
                  <a16:creationId xmlns:a16="http://schemas.microsoft.com/office/drawing/2014/main" id="{3878D9A1-44BB-4C0F-B170-4006F302E0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4" y="2509"/>
              <a:ext cx="379" cy="379"/>
            </a:xfrm>
            <a:custGeom>
              <a:avLst/>
              <a:gdLst>
                <a:gd name="T0" fmla="*/ 0 w 379"/>
                <a:gd name="T1" fmla="*/ 379 h 379"/>
                <a:gd name="T2" fmla="*/ 379 w 379"/>
                <a:gd name="T3" fmla="*/ 379 h 379"/>
                <a:gd name="T4" fmla="*/ 379 w 379"/>
                <a:gd name="T5" fmla="*/ 0 h 379"/>
                <a:gd name="T6" fmla="*/ 0 w 379"/>
                <a:gd name="T7" fmla="*/ 0 h 379"/>
                <a:gd name="T8" fmla="*/ 0 w 379"/>
                <a:gd name="T9" fmla="*/ 379 h 379"/>
                <a:gd name="T10" fmla="*/ 23 w 379"/>
                <a:gd name="T11" fmla="*/ 21 h 379"/>
                <a:gd name="T12" fmla="*/ 358 w 379"/>
                <a:gd name="T13" fmla="*/ 21 h 379"/>
                <a:gd name="T14" fmla="*/ 358 w 379"/>
                <a:gd name="T15" fmla="*/ 356 h 379"/>
                <a:gd name="T16" fmla="*/ 23 w 379"/>
                <a:gd name="T17" fmla="*/ 356 h 379"/>
                <a:gd name="T18" fmla="*/ 23 w 379"/>
                <a:gd name="T19" fmla="*/ 21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9" h="379">
                  <a:moveTo>
                    <a:pt x="0" y="379"/>
                  </a:moveTo>
                  <a:lnTo>
                    <a:pt x="379" y="379"/>
                  </a:lnTo>
                  <a:lnTo>
                    <a:pt x="379" y="0"/>
                  </a:lnTo>
                  <a:lnTo>
                    <a:pt x="0" y="0"/>
                  </a:lnTo>
                  <a:lnTo>
                    <a:pt x="0" y="379"/>
                  </a:lnTo>
                  <a:close/>
                  <a:moveTo>
                    <a:pt x="23" y="21"/>
                  </a:moveTo>
                  <a:lnTo>
                    <a:pt x="358" y="21"/>
                  </a:lnTo>
                  <a:lnTo>
                    <a:pt x="358" y="356"/>
                  </a:lnTo>
                  <a:lnTo>
                    <a:pt x="23" y="356"/>
                  </a:lnTo>
                  <a:lnTo>
                    <a:pt x="2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8" name="Rectangle 221">
              <a:extLst>
                <a:ext uri="{FF2B5EF4-FFF2-40B4-BE49-F238E27FC236}">
                  <a16:creationId xmlns:a16="http://schemas.microsoft.com/office/drawing/2014/main" id="{B1A9EB5C-9565-4C48-9959-B5A2AD3E16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" y="2643"/>
              <a:ext cx="23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09" name="Rectangle 222">
              <a:extLst>
                <a:ext uri="{FF2B5EF4-FFF2-40B4-BE49-F238E27FC236}">
                  <a16:creationId xmlns:a16="http://schemas.microsoft.com/office/drawing/2014/main" id="{C991E52C-EFCC-461C-BFC3-1411B93D20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" y="2552"/>
              <a:ext cx="23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10" name="Rectangle 223">
              <a:extLst>
                <a:ext uri="{FF2B5EF4-FFF2-40B4-BE49-F238E27FC236}">
                  <a16:creationId xmlns:a16="http://schemas.microsoft.com/office/drawing/2014/main" id="{C4616900-117F-483A-8912-FB7CA58C47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" y="2731"/>
              <a:ext cx="23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11" name="Rectangle 224">
              <a:extLst>
                <a:ext uri="{FF2B5EF4-FFF2-40B4-BE49-F238E27FC236}">
                  <a16:creationId xmlns:a16="http://schemas.microsoft.com/office/drawing/2014/main" id="{C923E2F4-3B0F-427F-B153-13B0AFAC91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" y="2822"/>
              <a:ext cx="23" cy="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12" name="Rectangle 225">
              <a:extLst>
                <a:ext uri="{FF2B5EF4-FFF2-40B4-BE49-F238E27FC236}">
                  <a16:creationId xmlns:a16="http://schemas.microsoft.com/office/drawing/2014/main" id="{ECDF17C6-2882-4556-BF4B-1C0954AC59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" y="3021"/>
              <a:ext cx="23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13" name="Rectangle 226">
              <a:extLst>
                <a:ext uri="{FF2B5EF4-FFF2-40B4-BE49-F238E27FC236}">
                  <a16:creationId xmlns:a16="http://schemas.microsoft.com/office/drawing/2014/main" id="{55D5292C-707E-4026-9155-CF8B26F633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" y="3021"/>
              <a:ext cx="20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14" name="Rectangle 227">
              <a:extLst>
                <a:ext uri="{FF2B5EF4-FFF2-40B4-BE49-F238E27FC236}">
                  <a16:creationId xmlns:a16="http://schemas.microsoft.com/office/drawing/2014/main" id="{4FA06403-59ED-4956-860D-22E450EF9A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" y="3021"/>
              <a:ext cx="23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15" name="Rectangle 228">
              <a:extLst>
                <a:ext uri="{FF2B5EF4-FFF2-40B4-BE49-F238E27FC236}">
                  <a16:creationId xmlns:a16="http://schemas.microsoft.com/office/drawing/2014/main" id="{C6411707-4740-42D2-8E10-057254C507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" y="3021"/>
              <a:ext cx="23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16" name="Freeform 229">
              <a:extLst>
                <a:ext uri="{FF2B5EF4-FFF2-40B4-BE49-F238E27FC236}">
                  <a16:creationId xmlns:a16="http://schemas.microsoft.com/office/drawing/2014/main" id="{267F11A7-B3C7-40FC-B814-D34CD0A66A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" y="2353"/>
              <a:ext cx="691" cy="691"/>
            </a:xfrm>
            <a:custGeom>
              <a:avLst/>
              <a:gdLst>
                <a:gd name="T0" fmla="*/ 541 w 691"/>
                <a:gd name="T1" fmla="*/ 111 h 691"/>
                <a:gd name="T2" fmla="*/ 514 w 691"/>
                <a:gd name="T3" fmla="*/ 0 h 691"/>
                <a:gd name="T4" fmla="*/ 492 w 691"/>
                <a:gd name="T5" fmla="*/ 43 h 691"/>
                <a:gd name="T6" fmla="*/ 446 w 691"/>
                <a:gd name="T7" fmla="*/ 111 h 691"/>
                <a:gd name="T8" fmla="*/ 424 w 691"/>
                <a:gd name="T9" fmla="*/ 111 h 691"/>
                <a:gd name="T10" fmla="*/ 378 w 691"/>
                <a:gd name="T11" fmla="*/ 43 h 691"/>
                <a:gd name="T12" fmla="*/ 358 w 691"/>
                <a:gd name="T13" fmla="*/ 0 h 691"/>
                <a:gd name="T14" fmla="*/ 313 w 691"/>
                <a:gd name="T15" fmla="*/ 111 h 691"/>
                <a:gd name="T16" fmla="*/ 290 w 691"/>
                <a:gd name="T17" fmla="*/ 111 h 691"/>
                <a:gd name="T18" fmla="*/ 245 w 691"/>
                <a:gd name="T19" fmla="*/ 0 h 691"/>
                <a:gd name="T20" fmla="*/ 222 w 691"/>
                <a:gd name="T21" fmla="*/ 43 h 691"/>
                <a:gd name="T22" fmla="*/ 179 w 691"/>
                <a:gd name="T23" fmla="*/ 111 h 691"/>
                <a:gd name="T24" fmla="*/ 156 w 691"/>
                <a:gd name="T25" fmla="*/ 111 h 691"/>
                <a:gd name="T26" fmla="*/ 111 w 691"/>
                <a:gd name="T27" fmla="*/ 156 h 691"/>
                <a:gd name="T28" fmla="*/ 111 w 691"/>
                <a:gd name="T29" fmla="*/ 177 h 691"/>
                <a:gd name="T30" fmla="*/ 45 w 691"/>
                <a:gd name="T31" fmla="*/ 222 h 691"/>
                <a:gd name="T32" fmla="*/ 0 w 691"/>
                <a:gd name="T33" fmla="*/ 245 h 691"/>
                <a:gd name="T34" fmla="*/ 111 w 691"/>
                <a:gd name="T35" fmla="*/ 290 h 691"/>
                <a:gd name="T36" fmla="*/ 111 w 691"/>
                <a:gd name="T37" fmla="*/ 313 h 691"/>
                <a:gd name="T38" fmla="*/ 0 w 691"/>
                <a:gd name="T39" fmla="*/ 356 h 691"/>
                <a:gd name="T40" fmla="*/ 45 w 691"/>
                <a:gd name="T41" fmla="*/ 378 h 691"/>
                <a:gd name="T42" fmla="*/ 111 w 691"/>
                <a:gd name="T43" fmla="*/ 424 h 691"/>
                <a:gd name="T44" fmla="*/ 111 w 691"/>
                <a:gd name="T45" fmla="*/ 446 h 691"/>
                <a:gd name="T46" fmla="*/ 45 w 691"/>
                <a:gd name="T47" fmla="*/ 489 h 691"/>
                <a:gd name="T48" fmla="*/ 0 w 691"/>
                <a:gd name="T49" fmla="*/ 512 h 691"/>
                <a:gd name="T50" fmla="*/ 111 w 691"/>
                <a:gd name="T51" fmla="*/ 539 h 691"/>
                <a:gd name="T52" fmla="*/ 156 w 691"/>
                <a:gd name="T53" fmla="*/ 691 h 691"/>
                <a:gd name="T54" fmla="*/ 202 w 691"/>
                <a:gd name="T55" fmla="*/ 580 h 691"/>
                <a:gd name="T56" fmla="*/ 222 w 691"/>
                <a:gd name="T57" fmla="*/ 580 h 691"/>
                <a:gd name="T58" fmla="*/ 267 w 691"/>
                <a:gd name="T59" fmla="*/ 691 h 691"/>
                <a:gd name="T60" fmla="*/ 290 w 691"/>
                <a:gd name="T61" fmla="*/ 646 h 691"/>
                <a:gd name="T62" fmla="*/ 335 w 691"/>
                <a:gd name="T63" fmla="*/ 580 h 691"/>
                <a:gd name="T64" fmla="*/ 358 w 691"/>
                <a:gd name="T65" fmla="*/ 580 h 691"/>
                <a:gd name="T66" fmla="*/ 401 w 691"/>
                <a:gd name="T67" fmla="*/ 646 h 691"/>
                <a:gd name="T68" fmla="*/ 424 w 691"/>
                <a:gd name="T69" fmla="*/ 691 h 691"/>
                <a:gd name="T70" fmla="*/ 469 w 691"/>
                <a:gd name="T71" fmla="*/ 580 h 691"/>
                <a:gd name="T72" fmla="*/ 492 w 691"/>
                <a:gd name="T73" fmla="*/ 580 h 691"/>
                <a:gd name="T74" fmla="*/ 535 w 691"/>
                <a:gd name="T75" fmla="*/ 691 h 691"/>
                <a:gd name="T76" fmla="*/ 580 w 691"/>
                <a:gd name="T77" fmla="*/ 539 h 691"/>
                <a:gd name="T78" fmla="*/ 691 w 691"/>
                <a:gd name="T79" fmla="*/ 512 h 691"/>
                <a:gd name="T80" fmla="*/ 648 w 691"/>
                <a:gd name="T81" fmla="*/ 489 h 691"/>
                <a:gd name="T82" fmla="*/ 580 w 691"/>
                <a:gd name="T83" fmla="*/ 446 h 691"/>
                <a:gd name="T84" fmla="*/ 580 w 691"/>
                <a:gd name="T85" fmla="*/ 424 h 691"/>
                <a:gd name="T86" fmla="*/ 648 w 691"/>
                <a:gd name="T87" fmla="*/ 378 h 691"/>
                <a:gd name="T88" fmla="*/ 691 w 691"/>
                <a:gd name="T89" fmla="*/ 356 h 691"/>
                <a:gd name="T90" fmla="*/ 580 w 691"/>
                <a:gd name="T91" fmla="*/ 313 h 691"/>
                <a:gd name="T92" fmla="*/ 580 w 691"/>
                <a:gd name="T93" fmla="*/ 290 h 691"/>
                <a:gd name="T94" fmla="*/ 691 w 691"/>
                <a:gd name="T95" fmla="*/ 245 h 691"/>
                <a:gd name="T96" fmla="*/ 648 w 691"/>
                <a:gd name="T97" fmla="*/ 222 h 691"/>
                <a:gd name="T98" fmla="*/ 580 w 691"/>
                <a:gd name="T99" fmla="*/ 177 h 691"/>
                <a:gd name="T100" fmla="*/ 580 w 691"/>
                <a:gd name="T101" fmla="*/ 156 h 691"/>
                <a:gd name="T102" fmla="*/ 160 w 691"/>
                <a:gd name="T103" fmla="*/ 557 h 691"/>
                <a:gd name="T104" fmla="*/ 160 w 691"/>
                <a:gd name="T105" fmla="*/ 134 h 691"/>
                <a:gd name="T106" fmla="*/ 557 w 691"/>
                <a:gd name="T107" fmla="*/ 531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91" h="691">
                  <a:moveTo>
                    <a:pt x="580" y="156"/>
                  </a:moveTo>
                  <a:lnTo>
                    <a:pt x="580" y="150"/>
                  </a:lnTo>
                  <a:lnTo>
                    <a:pt x="541" y="111"/>
                  </a:lnTo>
                  <a:lnTo>
                    <a:pt x="535" y="111"/>
                  </a:lnTo>
                  <a:lnTo>
                    <a:pt x="535" y="0"/>
                  </a:lnTo>
                  <a:lnTo>
                    <a:pt x="514" y="0"/>
                  </a:lnTo>
                  <a:lnTo>
                    <a:pt x="514" y="111"/>
                  </a:lnTo>
                  <a:lnTo>
                    <a:pt x="492" y="111"/>
                  </a:lnTo>
                  <a:lnTo>
                    <a:pt x="492" y="43"/>
                  </a:lnTo>
                  <a:lnTo>
                    <a:pt x="469" y="43"/>
                  </a:lnTo>
                  <a:lnTo>
                    <a:pt x="469" y="111"/>
                  </a:lnTo>
                  <a:lnTo>
                    <a:pt x="446" y="111"/>
                  </a:lnTo>
                  <a:lnTo>
                    <a:pt x="446" y="0"/>
                  </a:lnTo>
                  <a:lnTo>
                    <a:pt x="424" y="0"/>
                  </a:lnTo>
                  <a:lnTo>
                    <a:pt x="424" y="111"/>
                  </a:lnTo>
                  <a:lnTo>
                    <a:pt x="401" y="111"/>
                  </a:lnTo>
                  <a:lnTo>
                    <a:pt x="401" y="43"/>
                  </a:lnTo>
                  <a:lnTo>
                    <a:pt x="378" y="43"/>
                  </a:lnTo>
                  <a:lnTo>
                    <a:pt x="378" y="111"/>
                  </a:lnTo>
                  <a:lnTo>
                    <a:pt x="358" y="111"/>
                  </a:lnTo>
                  <a:lnTo>
                    <a:pt x="358" y="0"/>
                  </a:lnTo>
                  <a:lnTo>
                    <a:pt x="335" y="0"/>
                  </a:lnTo>
                  <a:lnTo>
                    <a:pt x="335" y="111"/>
                  </a:lnTo>
                  <a:lnTo>
                    <a:pt x="313" y="111"/>
                  </a:lnTo>
                  <a:lnTo>
                    <a:pt x="313" y="43"/>
                  </a:lnTo>
                  <a:lnTo>
                    <a:pt x="290" y="43"/>
                  </a:lnTo>
                  <a:lnTo>
                    <a:pt x="290" y="111"/>
                  </a:lnTo>
                  <a:lnTo>
                    <a:pt x="267" y="111"/>
                  </a:lnTo>
                  <a:lnTo>
                    <a:pt x="267" y="0"/>
                  </a:lnTo>
                  <a:lnTo>
                    <a:pt x="245" y="0"/>
                  </a:lnTo>
                  <a:lnTo>
                    <a:pt x="245" y="111"/>
                  </a:lnTo>
                  <a:lnTo>
                    <a:pt x="222" y="111"/>
                  </a:lnTo>
                  <a:lnTo>
                    <a:pt x="222" y="43"/>
                  </a:lnTo>
                  <a:lnTo>
                    <a:pt x="202" y="43"/>
                  </a:lnTo>
                  <a:lnTo>
                    <a:pt x="202" y="111"/>
                  </a:lnTo>
                  <a:lnTo>
                    <a:pt x="179" y="111"/>
                  </a:lnTo>
                  <a:lnTo>
                    <a:pt x="179" y="0"/>
                  </a:lnTo>
                  <a:lnTo>
                    <a:pt x="156" y="0"/>
                  </a:lnTo>
                  <a:lnTo>
                    <a:pt x="156" y="111"/>
                  </a:lnTo>
                  <a:lnTo>
                    <a:pt x="152" y="111"/>
                  </a:lnTo>
                  <a:lnTo>
                    <a:pt x="111" y="150"/>
                  </a:lnTo>
                  <a:lnTo>
                    <a:pt x="111" y="156"/>
                  </a:lnTo>
                  <a:lnTo>
                    <a:pt x="0" y="156"/>
                  </a:lnTo>
                  <a:lnTo>
                    <a:pt x="0" y="177"/>
                  </a:lnTo>
                  <a:lnTo>
                    <a:pt x="111" y="177"/>
                  </a:lnTo>
                  <a:lnTo>
                    <a:pt x="111" y="199"/>
                  </a:lnTo>
                  <a:lnTo>
                    <a:pt x="45" y="199"/>
                  </a:lnTo>
                  <a:lnTo>
                    <a:pt x="45" y="222"/>
                  </a:lnTo>
                  <a:lnTo>
                    <a:pt x="111" y="222"/>
                  </a:lnTo>
                  <a:lnTo>
                    <a:pt x="111" y="245"/>
                  </a:lnTo>
                  <a:lnTo>
                    <a:pt x="0" y="245"/>
                  </a:lnTo>
                  <a:lnTo>
                    <a:pt x="0" y="267"/>
                  </a:lnTo>
                  <a:lnTo>
                    <a:pt x="111" y="267"/>
                  </a:lnTo>
                  <a:lnTo>
                    <a:pt x="111" y="290"/>
                  </a:lnTo>
                  <a:lnTo>
                    <a:pt x="45" y="290"/>
                  </a:lnTo>
                  <a:lnTo>
                    <a:pt x="45" y="313"/>
                  </a:lnTo>
                  <a:lnTo>
                    <a:pt x="111" y="313"/>
                  </a:lnTo>
                  <a:lnTo>
                    <a:pt x="111" y="333"/>
                  </a:lnTo>
                  <a:lnTo>
                    <a:pt x="0" y="333"/>
                  </a:lnTo>
                  <a:lnTo>
                    <a:pt x="0" y="356"/>
                  </a:lnTo>
                  <a:lnTo>
                    <a:pt x="111" y="356"/>
                  </a:lnTo>
                  <a:lnTo>
                    <a:pt x="111" y="378"/>
                  </a:lnTo>
                  <a:lnTo>
                    <a:pt x="45" y="378"/>
                  </a:lnTo>
                  <a:lnTo>
                    <a:pt x="45" y="401"/>
                  </a:lnTo>
                  <a:lnTo>
                    <a:pt x="111" y="401"/>
                  </a:lnTo>
                  <a:lnTo>
                    <a:pt x="111" y="424"/>
                  </a:lnTo>
                  <a:lnTo>
                    <a:pt x="0" y="424"/>
                  </a:lnTo>
                  <a:lnTo>
                    <a:pt x="0" y="446"/>
                  </a:lnTo>
                  <a:lnTo>
                    <a:pt x="111" y="446"/>
                  </a:lnTo>
                  <a:lnTo>
                    <a:pt x="111" y="469"/>
                  </a:lnTo>
                  <a:lnTo>
                    <a:pt x="45" y="469"/>
                  </a:lnTo>
                  <a:lnTo>
                    <a:pt x="45" y="489"/>
                  </a:lnTo>
                  <a:lnTo>
                    <a:pt x="111" y="489"/>
                  </a:lnTo>
                  <a:lnTo>
                    <a:pt x="111" y="512"/>
                  </a:lnTo>
                  <a:lnTo>
                    <a:pt x="0" y="512"/>
                  </a:lnTo>
                  <a:lnTo>
                    <a:pt x="0" y="535"/>
                  </a:lnTo>
                  <a:lnTo>
                    <a:pt x="111" y="535"/>
                  </a:lnTo>
                  <a:lnTo>
                    <a:pt x="111" y="539"/>
                  </a:lnTo>
                  <a:lnTo>
                    <a:pt x="152" y="580"/>
                  </a:lnTo>
                  <a:lnTo>
                    <a:pt x="156" y="580"/>
                  </a:lnTo>
                  <a:lnTo>
                    <a:pt x="156" y="691"/>
                  </a:lnTo>
                  <a:lnTo>
                    <a:pt x="179" y="691"/>
                  </a:lnTo>
                  <a:lnTo>
                    <a:pt x="179" y="580"/>
                  </a:lnTo>
                  <a:lnTo>
                    <a:pt x="202" y="580"/>
                  </a:lnTo>
                  <a:lnTo>
                    <a:pt x="202" y="646"/>
                  </a:lnTo>
                  <a:lnTo>
                    <a:pt x="222" y="646"/>
                  </a:lnTo>
                  <a:lnTo>
                    <a:pt x="222" y="580"/>
                  </a:lnTo>
                  <a:lnTo>
                    <a:pt x="245" y="580"/>
                  </a:lnTo>
                  <a:lnTo>
                    <a:pt x="245" y="691"/>
                  </a:lnTo>
                  <a:lnTo>
                    <a:pt x="267" y="691"/>
                  </a:lnTo>
                  <a:lnTo>
                    <a:pt x="267" y="580"/>
                  </a:lnTo>
                  <a:lnTo>
                    <a:pt x="290" y="580"/>
                  </a:lnTo>
                  <a:lnTo>
                    <a:pt x="290" y="646"/>
                  </a:lnTo>
                  <a:lnTo>
                    <a:pt x="313" y="646"/>
                  </a:lnTo>
                  <a:lnTo>
                    <a:pt x="313" y="580"/>
                  </a:lnTo>
                  <a:lnTo>
                    <a:pt x="335" y="580"/>
                  </a:lnTo>
                  <a:lnTo>
                    <a:pt x="335" y="691"/>
                  </a:lnTo>
                  <a:lnTo>
                    <a:pt x="358" y="691"/>
                  </a:lnTo>
                  <a:lnTo>
                    <a:pt x="358" y="580"/>
                  </a:lnTo>
                  <a:lnTo>
                    <a:pt x="378" y="580"/>
                  </a:lnTo>
                  <a:lnTo>
                    <a:pt x="378" y="646"/>
                  </a:lnTo>
                  <a:lnTo>
                    <a:pt x="401" y="646"/>
                  </a:lnTo>
                  <a:lnTo>
                    <a:pt x="401" y="580"/>
                  </a:lnTo>
                  <a:lnTo>
                    <a:pt x="424" y="580"/>
                  </a:lnTo>
                  <a:lnTo>
                    <a:pt x="424" y="691"/>
                  </a:lnTo>
                  <a:lnTo>
                    <a:pt x="446" y="691"/>
                  </a:lnTo>
                  <a:lnTo>
                    <a:pt x="446" y="580"/>
                  </a:lnTo>
                  <a:lnTo>
                    <a:pt x="469" y="580"/>
                  </a:lnTo>
                  <a:lnTo>
                    <a:pt x="469" y="646"/>
                  </a:lnTo>
                  <a:lnTo>
                    <a:pt x="492" y="646"/>
                  </a:lnTo>
                  <a:lnTo>
                    <a:pt x="492" y="580"/>
                  </a:lnTo>
                  <a:lnTo>
                    <a:pt x="514" y="580"/>
                  </a:lnTo>
                  <a:lnTo>
                    <a:pt x="514" y="691"/>
                  </a:lnTo>
                  <a:lnTo>
                    <a:pt x="535" y="691"/>
                  </a:lnTo>
                  <a:lnTo>
                    <a:pt x="535" y="580"/>
                  </a:lnTo>
                  <a:lnTo>
                    <a:pt x="541" y="580"/>
                  </a:lnTo>
                  <a:lnTo>
                    <a:pt x="580" y="539"/>
                  </a:lnTo>
                  <a:lnTo>
                    <a:pt x="580" y="535"/>
                  </a:lnTo>
                  <a:lnTo>
                    <a:pt x="691" y="535"/>
                  </a:lnTo>
                  <a:lnTo>
                    <a:pt x="691" y="512"/>
                  </a:lnTo>
                  <a:lnTo>
                    <a:pt x="580" y="512"/>
                  </a:lnTo>
                  <a:lnTo>
                    <a:pt x="580" y="489"/>
                  </a:lnTo>
                  <a:lnTo>
                    <a:pt x="648" y="489"/>
                  </a:lnTo>
                  <a:lnTo>
                    <a:pt x="648" y="469"/>
                  </a:lnTo>
                  <a:lnTo>
                    <a:pt x="580" y="469"/>
                  </a:lnTo>
                  <a:lnTo>
                    <a:pt x="580" y="446"/>
                  </a:lnTo>
                  <a:lnTo>
                    <a:pt x="691" y="446"/>
                  </a:lnTo>
                  <a:lnTo>
                    <a:pt x="691" y="424"/>
                  </a:lnTo>
                  <a:lnTo>
                    <a:pt x="580" y="424"/>
                  </a:lnTo>
                  <a:lnTo>
                    <a:pt x="580" y="401"/>
                  </a:lnTo>
                  <a:lnTo>
                    <a:pt x="648" y="401"/>
                  </a:lnTo>
                  <a:lnTo>
                    <a:pt x="648" y="378"/>
                  </a:lnTo>
                  <a:lnTo>
                    <a:pt x="580" y="378"/>
                  </a:lnTo>
                  <a:lnTo>
                    <a:pt x="580" y="356"/>
                  </a:lnTo>
                  <a:lnTo>
                    <a:pt x="691" y="356"/>
                  </a:lnTo>
                  <a:lnTo>
                    <a:pt x="691" y="333"/>
                  </a:lnTo>
                  <a:lnTo>
                    <a:pt x="580" y="333"/>
                  </a:lnTo>
                  <a:lnTo>
                    <a:pt x="580" y="313"/>
                  </a:lnTo>
                  <a:lnTo>
                    <a:pt x="648" y="313"/>
                  </a:lnTo>
                  <a:lnTo>
                    <a:pt x="648" y="290"/>
                  </a:lnTo>
                  <a:lnTo>
                    <a:pt x="580" y="290"/>
                  </a:lnTo>
                  <a:lnTo>
                    <a:pt x="580" y="267"/>
                  </a:lnTo>
                  <a:lnTo>
                    <a:pt x="691" y="267"/>
                  </a:lnTo>
                  <a:lnTo>
                    <a:pt x="691" y="245"/>
                  </a:lnTo>
                  <a:lnTo>
                    <a:pt x="580" y="245"/>
                  </a:lnTo>
                  <a:lnTo>
                    <a:pt x="580" y="222"/>
                  </a:lnTo>
                  <a:lnTo>
                    <a:pt x="648" y="222"/>
                  </a:lnTo>
                  <a:lnTo>
                    <a:pt x="648" y="199"/>
                  </a:lnTo>
                  <a:lnTo>
                    <a:pt x="580" y="199"/>
                  </a:lnTo>
                  <a:lnTo>
                    <a:pt x="580" y="177"/>
                  </a:lnTo>
                  <a:lnTo>
                    <a:pt x="691" y="177"/>
                  </a:lnTo>
                  <a:lnTo>
                    <a:pt x="691" y="156"/>
                  </a:lnTo>
                  <a:lnTo>
                    <a:pt x="580" y="156"/>
                  </a:lnTo>
                  <a:close/>
                  <a:moveTo>
                    <a:pt x="557" y="531"/>
                  </a:moveTo>
                  <a:lnTo>
                    <a:pt x="531" y="557"/>
                  </a:lnTo>
                  <a:lnTo>
                    <a:pt x="160" y="557"/>
                  </a:lnTo>
                  <a:lnTo>
                    <a:pt x="134" y="531"/>
                  </a:lnTo>
                  <a:lnTo>
                    <a:pt x="134" y="160"/>
                  </a:lnTo>
                  <a:lnTo>
                    <a:pt x="160" y="134"/>
                  </a:lnTo>
                  <a:lnTo>
                    <a:pt x="531" y="134"/>
                  </a:lnTo>
                  <a:lnTo>
                    <a:pt x="557" y="160"/>
                  </a:lnTo>
                  <a:lnTo>
                    <a:pt x="557" y="5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17" name="Rectangle 230">
              <a:extLst>
                <a:ext uri="{FF2B5EF4-FFF2-40B4-BE49-F238E27FC236}">
                  <a16:creationId xmlns:a16="http://schemas.microsoft.com/office/drawing/2014/main" id="{F798560E-2B81-4FE7-ABD2-F8C8544E03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" y="2731"/>
              <a:ext cx="21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18" name="Rectangle 231">
              <a:extLst>
                <a:ext uri="{FF2B5EF4-FFF2-40B4-BE49-F238E27FC236}">
                  <a16:creationId xmlns:a16="http://schemas.microsoft.com/office/drawing/2014/main" id="{BA5DE6F3-B4BF-4643-8D0A-20741F87AF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" y="2822"/>
              <a:ext cx="21" cy="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19" name="Rectangle 232">
              <a:extLst>
                <a:ext uri="{FF2B5EF4-FFF2-40B4-BE49-F238E27FC236}">
                  <a16:creationId xmlns:a16="http://schemas.microsoft.com/office/drawing/2014/main" id="{E022DD29-6111-440D-904B-9F774228C6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" y="2643"/>
              <a:ext cx="21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20" name="Rectangle 233">
              <a:extLst>
                <a:ext uri="{FF2B5EF4-FFF2-40B4-BE49-F238E27FC236}">
                  <a16:creationId xmlns:a16="http://schemas.microsoft.com/office/drawing/2014/main" id="{4E057603-FBB2-4606-92B3-135C8703481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8" y="2552"/>
              <a:ext cx="21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21" name="Rectangle 234">
              <a:extLst>
                <a:ext uri="{FF2B5EF4-FFF2-40B4-BE49-F238E27FC236}">
                  <a16:creationId xmlns:a16="http://schemas.microsoft.com/office/drawing/2014/main" id="{BE1D3901-F896-475E-A9CC-0841E4394A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" y="2353"/>
              <a:ext cx="23" cy="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22" name="Rectangle 235">
              <a:extLst>
                <a:ext uri="{FF2B5EF4-FFF2-40B4-BE49-F238E27FC236}">
                  <a16:creationId xmlns:a16="http://schemas.microsoft.com/office/drawing/2014/main" id="{1CC38398-8054-4E6A-92FE-C72C3A71B3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" y="2353"/>
              <a:ext cx="23" cy="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23" name="Rectangle 236">
              <a:extLst>
                <a:ext uri="{FF2B5EF4-FFF2-40B4-BE49-F238E27FC236}">
                  <a16:creationId xmlns:a16="http://schemas.microsoft.com/office/drawing/2014/main" id="{6AC097E8-4D7A-4F96-A5D5-F0117031DE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8" y="2353"/>
              <a:ext cx="23" cy="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24" name="Rectangle 237">
              <a:extLst>
                <a:ext uri="{FF2B5EF4-FFF2-40B4-BE49-F238E27FC236}">
                  <a16:creationId xmlns:a16="http://schemas.microsoft.com/office/drawing/2014/main" id="{12766A8E-3C6E-4D75-BF11-14E1241119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" y="2353"/>
              <a:ext cx="20" cy="2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25" name="Rectangle 238">
              <a:extLst>
                <a:ext uri="{FF2B5EF4-FFF2-40B4-BE49-F238E27FC236}">
                  <a16:creationId xmlns:a16="http://schemas.microsoft.com/office/drawing/2014/main" id="{F76E379C-A828-424D-B42D-62A41EAEAB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7" y="2822"/>
              <a:ext cx="23" cy="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26" name="Rectangle 239">
              <a:extLst>
                <a:ext uri="{FF2B5EF4-FFF2-40B4-BE49-F238E27FC236}">
                  <a16:creationId xmlns:a16="http://schemas.microsoft.com/office/drawing/2014/main" id="{744AD4BC-C622-4CD9-90CB-E8BD923C62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2" y="2822"/>
              <a:ext cx="22" cy="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27" name="Rectangle 240">
              <a:extLst>
                <a:ext uri="{FF2B5EF4-FFF2-40B4-BE49-F238E27FC236}">
                  <a16:creationId xmlns:a16="http://schemas.microsoft.com/office/drawing/2014/main" id="{61DF8794-FA01-4684-8AA1-BA537BC681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6" y="2822"/>
              <a:ext cx="23" cy="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28" name="Freeform 241">
              <a:extLst>
                <a:ext uri="{FF2B5EF4-FFF2-40B4-BE49-F238E27FC236}">
                  <a16:creationId xmlns:a16="http://schemas.microsoft.com/office/drawing/2014/main" id="{5247CA1F-2A71-48C2-A41E-C105A840C9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0" y="2552"/>
              <a:ext cx="88" cy="91"/>
            </a:xfrm>
            <a:custGeom>
              <a:avLst/>
              <a:gdLst>
                <a:gd name="T0" fmla="*/ 21 w 43"/>
                <a:gd name="T1" fmla="*/ 0 h 44"/>
                <a:gd name="T2" fmla="*/ 0 w 43"/>
                <a:gd name="T3" fmla="*/ 22 h 44"/>
                <a:gd name="T4" fmla="*/ 21 w 43"/>
                <a:gd name="T5" fmla="*/ 44 h 44"/>
                <a:gd name="T6" fmla="*/ 43 w 43"/>
                <a:gd name="T7" fmla="*/ 22 h 44"/>
                <a:gd name="T8" fmla="*/ 21 w 43"/>
                <a:gd name="T9" fmla="*/ 0 h 44"/>
                <a:gd name="T10" fmla="*/ 21 w 43"/>
                <a:gd name="T11" fmla="*/ 33 h 44"/>
                <a:gd name="T12" fmla="*/ 10 w 43"/>
                <a:gd name="T13" fmla="*/ 22 h 44"/>
                <a:gd name="T14" fmla="*/ 21 w 43"/>
                <a:gd name="T15" fmla="*/ 11 h 44"/>
                <a:gd name="T16" fmla="*/ 32 w 43"/>
                <a:gd name="T17" fmla="*/ 22 h 44"/>
                <a:gd name="T18" fmla="*/ 21 w 43"/>
                <a:gd name="T19" fmla="*/ 3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3" h="44">
                  <a:moveTo>
                    <a:pt x="21" y="0"/>
                  </a:moveTo>
                  <a:cubicBezTo>
                    <a:pt x="9" y="0"/>
                    <a:pt x="0" y="10"/>
                    <a:pt x="0" y="22"/>
                  </a:cubicBezTo>
                  <a:cubicBezTo>
                    <a:pt x="0" y="34"/>
                    <a:pt x="9" y="44"/>
                    <a:pt x="21" y="44"/>
                  </a:cubicBezTo>
                  <a:cubicBezTo>
                    <a:pt x="33" y="44"/>
                    <a:pt x="43" y="34"/>
                    <a:pt x="43" y="22"/>
                  </a:cubicBezTo>
                  <a:cubicBezTo>
                    <a:pt x="43" y="10"/>
                    <a:pt x="33" y="0"/>
                    <a:pt x="21" y="0"/>
                  </a:cubicBezTo>
                  <a:close/>
                  <a:moveTo>
                    <a:pt x="21" y="33"/>
                  </a:moveTo>
                  <a:cubicBezTo>
                    <a:pt x="15" y="33"/>
                    <a:pt x="10" y="28"/>
                    <a:pt x="10" y="22"/>
                  </a:cubicBezTo>
                  <a:cubicBezTo>
                    <a:pt x="10" y="16"/>
                    <a:pt x="15" y="11"/>
                    <a:pt x="21" y="11"/>
                  </a:cubicBezTo>
                  <a:cubicBezTo>
                    <a:pt x="27" y="11"/>
                    <a:pt x="32" y="16"/>
                    <a:pt x="32" y="22"/>
                  </a:cubicBezTo>
                  <a:cubicBezTo>
                    <a:pt x="32" y="28"/>
                    <a:pt x="27" y="33"/>
                    <a:pt x="21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129" name="Group 244">
            <a:extLst>
              <a:ext uri="{FF2B5EF4-FFF2-40B4-BE49-F238E27FC236}">
                <a16:creationId xmlns:a16="http://schemas.microsoft.com/office/drawing/2014/main" id="{4FB93B3C-7312-4B3A-8348-7AEC0F086B9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1979" y="3373810"/>
            <a:ext cx="274320" cy="274320"/>
            <a:chOff x="178" y="2498"/>
            <a:chExt cx="716" cy="716"/>
          </a:xfrm>
          <a:solidFill>
            <a:schemeClr val="accent1"/>
          </a:solidFill>
        </p:grpSpPr>
        <p:sp>
          <p:nvSpPr>
            <p:cNvPr id="130" name="Freeform 245">
              <a:extLst>
                <a:ext uri="{FF2B5EF4-FFF2-40B4-BE49-F238E27FC236}">
                  <a16:creationId xmlns:a16="http://schemas.microsoft.com/office/drawing/2014/main" id="{C2099B01-DB8C-4208-AB37-FC9C698AD0C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" y="3052"/>
              <a:ext cx="28" cy="28"/>
            </a:xfrm>
            <a:custGeom>
              <a:avLst/>
              <a:gdLst>
                <a:gd name="T0" fmla="*/ 12 w 14"/>
                <a:gd name="T1" fmla="*/ 2 h 14"/>
                <a:gd name="T2" fmla="*/ 7 w 14"/>
                <a:gd name="T3" fmla="*/ 0 h 14"/>
                <a:gd name="T4" fmla="*/ 2 w 14"/>
                <a:gd name="T5" fmla="*/ 2 h 14"/>
                <a:gd name="T6" fmla="*/ 0 w 14"/>
                <a:gd name="T7" fmla="*/ 7 h 14"/>
                <a:gd name="T8" fmla="*/ 2 w 14"/>
                <a:gd name="T9" fmla="*/ 12 h 14"/>
                <a:gd name="T10" fmla="*/ 7 w 14"/>
                <a:gd name="T11" fmla="*/ 14 h 14"/>
                <a:gd name="T12" fmla="*/ 12 w 14"/>
                <a:gd name="T13" fmla="*/ 12 h 14"/>
                <a:gd name="T14" fmla="*/ 14 w 14"/>
                <a:gd name="T15" fmla="*/ 7 h 14"/>
                <a:gd name="T16" fmla="*/ 12 w 14"/>
                <a:gd name="T1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4">
                  <a:moveTo>
                    <a:pt x="12" y="2"/>
                  </a:moveTo>
                  <a:cubicBezTo>
                    <a:pt x="11" y="1"/>
                    <a:pt x="9" y="0"/>
                    <a:pt x="7" y="0"/>
                  </a:cubicBezTo>
                  <a:cubicBezTo>
                    <a:pt x="5" y="0"/>
                    <a:pt x="4" y="1"/>
                    <a:pt x="2" y="2"/>
                  </a:cubicBezTo>
                  <a:cubicBezTo>
                    <a:pt x="1" y="4"/>
                    <a:pt x="0" y="5"/>
                    <a:pt x="0" y="7"/>
                  </a:cubicBezTo>
                  <a:cubicBezTo>
                    <a:pt x="0" y="9"/>
                    <a:pt x="1" y="11"/>
                    <a:pt x="2" y="12"/>
                  </a:cubicBezTo>
                  <a:cubicBezTo>
                    <a:pt x="4" y="13"/>
                    <a:pt x="5" y="14"/>
                    <a:pt x="7" y="14"/>
                  </a:cubicBezTo>
                  <a:cubicBezTo>
                    <a:pt x="9" y="14"/>
                    <a:pt x="11" y="13"/>
                    <a:pt x="12" y="12"/>
                  </a:cubicBezTo>
                  <a:cubicBezTo>
                    <a:pt x="13" y="11"/>
                    <a:pt x="14" y="9"/>
                    <a:pt x="14" y="7"/>
                  </a:cubicBezTo>
                  <a:cubicBezTo>
                    <a:pt x="14" y="5"/>
                    <a:pt x="13" y="4"/>
                    <a:pt x="1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31" name="Freeform 246">
              <a:extLst>
                <a:ext uri="{FF2B5EF4-FFF2-40B4-BE49-F238E27FC236}">
                  <a16:creationId xmlns:a16="http://schemas.microsoft.com/office/drawing/2014/main" id="{087497AA-18DA-4647-995C-E309F68C17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" y="2574"/>
              <a:ext cx="325" cy="640"/>
            </a:xfrm>
            <a:custGeom>
              <a:avLst/>
              <a:gdLst>
                <a:gd name="T0" fmla="*/ 106 w 158"/>
                <a:gd name="T1" fmla="*/ 26 h 311"/>
                <a:gd name="T2" fmla="*/ 87 w 158"/>
                <a:gd name="T3" fmla="*/ 155 h 311"/>
                <a:gd name="T4" fmla="*/ 66 w 158"/>
                <a:gd name="T5" fmla="*/ 140 h 311"/>
                <a:gd name="T6" fmla="*/ 2 w 158"/>
                <a:gd name="T7" fmla="*/ 194 h 311"/>
                <a:gd name="T8" fmla="*/ 0 w 158"/>
                <a:gd name="T9" fmla="*/ 274 h 311"/>
                <a:gd name="T10" fmla="*/ 13 w 158"/>
                <a:gd name="T11" fmla="*/ 281 h 311"/>
                <a:gd name="T12" fmla="*/ 20 w 158"/>
                <a:gd name="T13" fmla="*/ 311 h 311"/>
                <a:gd name="T14" fmla="*/ 27 w 158"/>
                <a:gd name="T15" fmla="*/ 281 h 311"/>
                <a:gd name="T16" fmla="*/ 43 w 158"/>
                <a:gd name="T17" fmla="*/ 304 h 311"/>
                <a:gd name="T18" fmla="*/ 57 w 158"/>
                <a:gd name="T19" fmla="*/ 304 h 311"/>
                <a:gd name="T20" fmla="*/ 73 w 158"/>
                <a:gd name="T21" fmla="*/ 281 h 311"/>
                <a:gd name="T22" fmla="*/ 80 w 158"/>
                <a:gd name="T23" fmla="*/ 311 h 311"/>
                <a:gd name="T24" fmla="*/ 86 w 158"/>
                <a:gd name="T25" fmla="*/ 281 h 311"/>
                <a:gd name="T26" fmla="*/ 96 w 158"/>
                <a:gd name="T27" fmla="*/ 277 h 311"/>
                <a:gd name="T28" fmla="*/ 99 w 158"/>
                <a:gd name="T29" fmla="*/ 257 h 311"/>
                <a:gd name="T30" fmla="*/ 86 w 158"/>
                <a:gd name="T31" fmla="*/ 267 h 311"/>
                <a:gd name="T32" fmla="*/ 89 w 158"/>
                <a:gd name="T33" fmla="*/ 215 h 311"/>
                <a:gd name="T34" fmla="*/ 118 w 158"/>
                <a:gd name="T35" fmla="*/ 205 h 311"/>
                <a:gd name="T36" fmla="*/ 117 w 158"/>
                <a:gd name="T37" fmla="*/ 222 h 311"/>
                <a:gd name="T38" fmla="*/ 157 w 158"/>
                <a:gd name="T39" fmla="*/ 158 h 311"/>
                <a:gd name="T40" fmla="*/ 158 w 158"/>
                <a:gd name="T41" fmla="*/ 26 h 311"/>
                <a:gd name="T42" fmla="*/ 144 w 158"/>
                <a:gd name="T43" fmla="*/ 153 h 311"/>
                <a:gd name="T44" fmla="*/ 106 w 158"/>
                <a:gd name="T45" fmla="*/ 191 h 311"/>
                <a:gd name="T46" fmla="*/ 46 w 158"/>
                <a:gd name="T47" fmla="*/ 267 h 311"/>
                <a:gd name="T48" fmla="*/ 13 w 158"/>
                <a:gd name="T49" fmla="*/ 201 h 311"/>
                <a:gd name="T50" fmla="*/ 36 w 158"/>
                <a:gd name="T51" fmla="*/ 186 h 311"/>
                <a:gd name="T52" fmla="*/ 46 w 158"/>
                <a:gd name="T53" fmla="*/ 186 h 311"/>
                <a:gd name="T54" fmla="*/ 42 w 158"/>
                <a:gd name="T55" fmla="*/ 172 h 311"/>
                <a:gd name="T56" fmla="*/ 66 w 158"/>
                <a:gd name="T57" fmla="*/ 153 h 311"/>
                <a:gd name="T58" fmla="*/ 72 w 158"/>
                <a:gd name="T59" fmla="*/ 170 h 311"/>
                <a:gd name="T60" fmla="*/ 33 w 158"/>
                <a:gd name="T61" fmla="*/ 213 h 311"/>
                <a:gd name="T62" fmla="*/ 40 w 158"/>
                <a:gd name="T63" fmla="*/ 237 h 311"/>
                <a:gd name="T64" fmla="*/ 46 w 158"/>
                <a:gd name="T65" fmla="*/ 215 h 311"/>
                <a:gd name="T66" fmla="*/ 118 w 158"/>
                <a:gd name="T67" fmla="*/ 144 h 311"/>
                <a:gd name="T68" fmla="*/ 120 w 158"/>
                <a:gd name="T69" fmla="*/ 133 h 311"/>
                <a:gd name="T70" fmla="*/ 138 w 158"/>
                <a:gd name="T71" fmla="*/ 126 h 311"/>
                <a:gd name="T72" fmla="*/ 120 w 158"/>
                <a:gd name="T73" fmla="*/ 120 h 311"/>
                <a:gd name="T74" fmla="*/ 131 w 158"/>
                <a:gd name="T75" fmla="*/ 78 h 311"/>
                <a:gd name="T76" fmla="*/ 131 w 158"/>
                <a:gd name="T77" fmla="*/ 64 h 311"/>
                <a:gd name="T78" fmla="*/ 120 w 158"/>
                <a:gd name="T79" fmla="*/ 26 h 311"/>
                <a:gd name="T80" fmla="*/ 144 w 158"/>
                <a:gd name="T81" fmla="*/ 26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8" h="311">
                  <a:moveTo>
                    <a:pt x="132" y="0"/>
                  </a:moveTo>
                  <a:cubicBezTo>
                    <a:pt x="118" y="0"/>
                    <a:pt x="106" y="12"/>
                    <a:pt x="106" y="26"/>
                  </a:cubicBezTo>
                  <a:cubicBezTo>
                    <a:pt x="106" y="136"/>
                    <a:pt x="106" y="136"/>
                    <a:pt x="106" y="136"/>
                  </a:cubicBezTo>
                  <a:cubicBezTo>
                    <a:pt x="87" y="155"/>
                    <a:pt x="87" y="155"/>
                    <a:pt x="87" y="155"/>
                  </a:cubicBezTo>
                  <a:cubicBezTo>
                    <a:pt x="86" y="153"/>
                    <a:pt x="85" y="150"/>
                    <a:pt x="83" y="148"/>
                  </a:cubicBezTo>
                  <a:cubicBezTo>
                    <a:pt x="79" y="143"/>
                    <a:pt x="73" y="140"/>
                    <a:pt x="66" y="140"/>
                  </a:cubicBezTo>
                  <a:cubicBezTo>
                    <a:pt x="60" y="139"/>
                    <a:pt x="53" y="142"/>
                    <a:pt x="49" y="147"/>
                  </a:cubicBezTo>
                  <a:cubicBezTo>
                    <a:pt x="2" y="194"/>
                    <a:pt x="2" y="194"/>
                    <a:pt x="2" y="194"/>
                  </a:cubicBezTo>
                  <a:cubicBezTo>
                    <a:pt x="0" y="195"/>
                    <a:pt x="0" y="197"/>
                    <a:pt x="0" y="198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278"/>
                    <a:pt x="3" y="281"/>
                    <a:pt x="7" y="281"/>
                  </a:cubicBezTo>
                  <a:cubicBezTo>
                    <a:pt x="13" y="281"/>
                    <a:pt x="13" y="281"/>
                    <a:pt x="13" y="281"/>
                  </a:cubicBezTo>
                  <a:cubicBezTo>
                    <a:pt x="13" y="304"/>
                    <a:pt x="13" y="304"/>
                    <a:pt x="13" y="304"/>
                  </a:cubicBezTo>
                  <a:cubicBezTo>
                    <a:pt x="13" y="308"/>
                    <a:pt x="16" y="311"/>
                    <a:pt x="20" y="311"/>
                  </a:cubicBezTo>
                  <a:cubicBezTo>
                    <a:pt x="24" y="311"/>
                    <a:pt x="27" y="308"/>
                    <a:pt x="27" y="304"/>
                  </a:cubicBezTo>
                  <a:cubicBezTo>
                    <a:pt x="27" y="281"/>
                    <a:pt x="27" y="281"/>
                    <a:pt x="27" y="281"/>
                  </a:cubicBezTo>
                  <a:cubicBezTo>
                    <a:pt x="43" y="281"/>
                    <a:pt x="43" y="281"/>
                    <a:pt x="43" y="281"/>
                  </a:cubicBezTo>
                  <a:cubicBezTo>
                    <a:pt x="43" y="304"/>
                    <a:pt x="43" y="304"/>
                    <a:pt x="43" y="304"/>
                  </a:cubicBezTo>
                  <a:cubicBezTo>
                    <a:pt x="43" y="308"/>
                    <a:pt x="46" y="311"/>
                    <a:pt x="50" y="311"/>
                  </a:cubicBezTo>
                  <a:cubicBezTo>
                    <a:pt x="54" y="311"/>
                    <a:pt x="57" y="308"/>
                    <a:pt x="57" y="304"/>
                  </a:cubicBezTo>
                  <a:cubicBezTo>
                    <a:pt x="57" y="281"/>
                    <a:pt x="57" y="281"/>
                    <a:pt x="57" y="281"/>
                  </a:cubicBezTo>
                  <a:cubicBezTo>
                    <a:pt x="73" y="281"/>
                    <a:pt x="73" y="281"/>
                    <a:pt x="73" y="281"/>
                  </a:cubicBezTo>
                  <a:cubicBezTo>
                    <a:pt x="73" y="304"/>
                    <a:pt x="73" y="304"/>
                    <a:pt x="73" y="304"/>
                  </a:cubicBezTo>
                  <a:cubicBezTo>
                    <a:pt x="73" y="308"/>
                    <a:pt x="76" y="311"/>
                    <a:pt x="80" y="311"/>
                  </a:cubicBezTo>
                  <a:cubicBezTo>
                    <a:pt x="83" y="311"/>
                    <a:pt x="86" y="308"/>
                    <a:pt x="86" y="304"/>
                  </a:cubicBezTo>
                  <a:cubicBezTo>
                    <a:pt x="86" y="281"/>
                    <a:pt x="86" y="281"/>
                    <a:pt x="86" y="281"/>
                  </a:cubicBezTo>
                  <a:cubicBezTo>
                    <a:pt x="90" y="281"/>
                    <a:pt x="90" y="281"/>
                    <a:pt x="90" y="281"/>
                  </a:cubicBezTo>
                  <a:cubicBezTo>
                    <a:pt x="93" y="281"/>
                    <a:pt x="95" y="279"/>
                    <a:pt x="96" y="277"/>
                  </a:cubicBezTo>
                  <a:cubicBezTo>
                    <a:pt x="102" y="266"/>
                    <a:pt x="102" y="266"/>
                    <a:pt x="102" y="266"/>
                  </a:cubicBezTo>
                  <a:cubicBezTo>
                    <a:pt x="104" y="262"/>
                    <a:pt x="103" y="258"/>
                    <a:pt x="99" y="257"/>
                  </a:cubicBezTo>
                  <a:cubicBezTo>
                    <a:pt x="96" y="255"/>
                    <a:pt x="92" y="256"/>
                    <a:pt x="90" y="260"/>
                  </a:cubicBezTo>
                  <a:cubicBezTo>
                    <a:pt x="86" y="267"/>
                    <a:pt x="86" y="267"/>
                    <a:pt x="86" y="267"/>
                  </a:cubicBezTo>
                  <a:cubicBezTo>
                    <a:pt x="61" y="267"/>
                    <a:pt x="61" y="267"/>
                    <a:pt x="61" y="267"/>
                  </a:cubicBezTo>
                  <a:cubicBezTo>
                    <a:pt x="89" y="215"/>
                    <a:pt x="89" y="215"/>
                    <a:pt x="89" y="215"/>
                  </a:cubicBezTo>
                  <a:cubicBezTo>
                    <a:pt x="93" y="209"/>
                    <a:pt x="99" y="205"/>
                    <a:pt x="106" y="205"/>
                  </a:cubicBezTo>
                  <a:cubicBezTo>
                    <a:pt x="118" y="205"/>
                    <a:pt x="118" y="205"/>
                    <a:pt x="118" y="205"/>
                  </a:cubicBezTo>
                  <a:cubicBezTo>
                    <a:pt x="114" y="213"/>
                    <a:pt x="114" y="213"/>
                    <a:pt x="114" y="213"/>
                  </a:cubicBezTo>
                  <a:cubicBezTo>
                    <a:pt x="112" y="216"/>
                    <a:pt x="113" y="221"/>
                    <a:pt x="117" y="222"/>
                  </a:cubicBezTo>
                  <a:cubicBezTo>
                    <a:pt x="120" y="224"/>
                    <a:pt x="124" y="223"/>
                    <a:pt x="126" y="219"/>
                  </a:cubicBezTo>
                  <a:cubicBezTo>
                    <a:pt x="157" y="158"/>
                    <a:pt x="157" y="158"/>
                    <a:pt x="157" y="158"/>
                  </a:cubicBezTo>
                  <a:cubicBezTo>
                    <a:pt x="158" y="157"/>
                    <a:pt x="158" y="156"/>
                    <a:pt x="158" y="154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8" y="12"/>
                    <a:pt x="146" y="0"/>
                    <a:pt x="132" y="0"/>
                  </a:cubicBezTo>
                  <a:close/>
                  <a:moveTo>
                    <a:pt x="144" y="153"/>
                  </a:moveTo>
                  <a:cubicBezTo>
                    <a:pt x="125" y="191"/>
                    <a:pt x="125" y="191"/>
                    <a:pt x="125" y="191"/>
                  </a:cubicBezTo>
                  <a:cubicBezTo>
                    <a:pt x="106" y="191"/>
                    <a:pt x="106" y="191"/>
                    <a:pt x="106" y="191"/>
                  </a:cubicBezTo>
                  <a:cubicBezTo>
                    <a:pt x="94" y="191"/>
                    <a:pt x="83" y="198"/>
                    <a:pt x="78" y="208"/>
                  </a:cubicBezTo>
                  <a:cubicBezTo>
                    <a:pt x="46" y="267"/>
                    <a:pt x="46" y="267"/>
                    <a:pt x="46" y="267"/>
                  </a:cubicBezTo>
                  <a:cubicBezTo>
                    <a:pt x="13" y="267"/>
                    <a:pt x="13" y="267"/>
                    <a:pt x="13" y="267"/>
                  </a:cubicBezTo>
                  <a:cubicBezTo>
                    <a:pt x="13" y="201"/>
                    <a:pt x="13" y="201"/>
                    <a:pt x="13" y="201"/>
                  </a:cubicBezTo>
                  <a:cubicBezTo>
                    <a:pt x="32" y="182"/>
                    <a:pt x="32" y="182"/>
                    <a:pt x="32" y="182"/>
                  </a:cubicBezTo>
                  <a:cubicBezTo>
                    <a:pt x="36" y="186"/>
                    <a:pt x="36" y="186"/>
                    <a:pt x="36" y="186"/>
                  </a:cubicBezTo>
                  <a:cubicBezTo>
                    <a:pt x="38" y="187"/>
                    <a:pt x="40" y="188"/>
                    <a:pt x="41" y="188"/>
                  </a:cubicBezTo>
                  <a:cubicBezTo>
                    <a:pt x="43" y="188"/>
                    <a:pt x="45" y="187"/>
                    <a:pt x="46" y="186"/>
                  </a:cubicBezTo>
                  <a:cubicBezTo>
                    <a:pt x="49" y="183"/>
                    <a:pt x="49" y="179"/>
                    <a:pt x="46" y="176"/>
                  </a:cubicBezTo>
                  <a:cubicBezTo>
                    <a:pt x="42" y="172"/>
                    <a:pt x="42" y="172"/>
                    <a:pt x="42" y="172"/>
                  </a:cubicBezTo>
                  <a:cubicBezTo>
                    <a:pt x="58" y="156"/>
                    <a:pt x="58" y="156"/>
                    <a:pt x="58" y="156"/>
                  </a:cubicBezTo>
                  <a:cubicBezTo>
                    <a:pt x="60" y="154"/>
                    <a:pt x="63" y="153"/>
                    <a:pt x="66" y="153"/>
                  </a:cubicBezTo>
                  <a:cubicBezTo>
                    <a:pt x="69" y="153"/>
                    <a:pt x="71" y="155"/>
                    <a:pt x="73" y="157"/>
                  </a:cubicBezTo>
                  <a:cubicBezTo>
                    <a:pt x="76" y="161"/>
                    <a:pt x="76" y="167"/>
                    <a:pt x="72" y="170"/>
                  </a:cubicBezTo>
                  <a:cubicBezTo>
                    <a:pt x="35" y="208"/>
                    <a:pt x="35" y="208"/>
                    <a:pt x="35" y="208"/>
                  </a:cubicBezTo>
                  <a:cubicBezTo>
                    <a:pt x="34" y="209"/>
                    <a:pt x="33" y="211"/>
                    <a:pt x="33" y="213"/>
                  </a:cubicBezTo>
                  <a:cubicBezTo>
                    <a:pt x="33" y="230"/>
                    <a:pt x="33" y="230"/>
                    <a:pt x="33" y="230"/>
                  </a:cubicBezTo>
                  <a:cubicBezTo>
                    <a:pt x="33" y="233"/>
                    <a:pt x="36" y="237"/>
                    <a:pt x="40" y="237"/>
                  </a:cubicBezTo>
                  <a:cubicBezTo>
                    <a:pt x="43" y="237"/>
                    <a:pt x="46" y="233"/>
                    <a:pt x="46" y="230"/>
                  </a:cubicBezTo>
                  <a:cubicBezTo>
                    <a:pt x="46" y="215"/>
                    <a:pt x="46" y="215"/>
                    <a:pt x="46" y="215"/>
                  </a:cubicBezTo>
                  <a:cubicBezTo>
                    <a:pt x="82" y="180"/>
                    <a:pt x="82" y="180"/>
                    <a:pt x="82" y="180"/>
                  </a:cubicBezTo>
                  <a:cubicBezTo>
                    <a:pt x="118" y="144"/>
                    <a:pt x="118" y="144"/>
                    <a:pt x="118" y="144"/>
                  </a:cubicBezTo>
                  <a:cubicBezTo>
                    <a:pt x="119" y="143"/>
                    <a:pt x="120" y="141"/>
                    <a:pt x="120" y="139"/>
                  </a:cubicBezTo>
                  <a:cubicBezTo>
                    <a:pt x="120" y="133"/>
                    <a:pt x="120" y="133"/>
                    <a:pt x="120" y="133"/>
                  </a:cubicBezTo>
                  <a:cubicBezTo>
                    <a:pt x="131" y="133"/>
                    <a:pt x="131" y="133"/>
                    <a:pt x="131" y="133"/>
                  </a:cubicBezTo>
                  <a:cubicBezTo>
                    <a:pt x="135" y="133"/>
                    <a:pt x="138" y="130"/>
                    <a:pt x="138" y="126"/>
                  </a:cubicBezTo>
                  <a:cubicBezTo>
                    <a:pt x="138" y="123"/>
                    <a:pt x="135" y="120"/>
                    <a:pt x="131" y="120"/>
                  </a:cubicBezTo>
                  <a:cubicBezTo>
                    <a:pt x="120" y="120"/>
                    <a:pt x="120" y="120"/>
                    <a:pt x="120" y="120"/>
                  </a:cubicBezTo>
                  <a:cubicBezTo>
                    <a:pt x="120" y="78"/>
                    <a:pt x="120" y="78"/>
                    <a:pt x="120" y="78"/>
                  </a:cubicBezTo>
                  <a:cubicBezTo>
                    <a:pt x="131" y="78"/>
                    <a:pt x="131" y="78"/>
                    <a:pt x="131" y="78"/>
                  </a:cubicBezTo>
                  <a:cubicBezTo>
                    <a:pt x="135" y="78"/>
                    <a:pt x="138" y="74"/>
                    <a:pt x="138" y="71"/>
                  </a:cubicBezTo>
                  <a:cubicBezTo>
                    <a:pt x="138" y="67"/>
                    <a:pt x="135" y="64"/>
                    <a:pt x="131" y="64"/>
                  </a:cubicBezTo>
                  <a:cubicBezTo>
                    <a:pt x="120" y="64"/>
                    <a:pt x="120" y="64"/>
                    <a:pt x="120" y="64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19"/>
                    <a:pt x="125" y="14"/>
                    <a:pt x="132" y="14"/>
                  </a:cubicBezTo>
                  <a:cubicBezTo>
                    <a:pt x="139" y="14"/>
                    <a:pt x="144" y="19"/>
                    <a:pt x="144" y="26"/>
                  </a:cubicBezTo>
                  <a:lnTo>
                    <a:pt x="144" y="1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32" name="Freeform 247">
              <a:extLst>
                <a:ext uri="{FF2B5EF4-FFF2-40B4-BE49-F238E27FC236}">
                  <a16:creationId xmlns:a16="http://schemas.microsoft.com/office/drawing/2014/main" id="{4C7AD869-D246-4F1E-9056-A503B968F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" y="2622"/>
              <a:ext cx="29" cy="117"/>
            </a:xfrm>
            <a:custGeom>
              <a:avLst/>
              <a:gdLst>
                <a:gd name="T0" fmla="*/ 7 w 14"/>
                <a:gd name="T1" fmla="*/ 0 h 57"/>
                <a:gd name="T2" fmla="*/ 0 w 14"/>
                <a:gd name="T3" fmla="*/ 7 h 57"/>
                <a:gd name="T4" fmla="*/ 0 w 14"/>
                <a:gd name="T5" fmla="*/ 50 h 57"/>
                <a:gd name="T6" fmla="*/ 7 w 14"/>
                <a:gd name="T7" fmla="*/ 57 h 57"/>
                <a:gd name="T8" fmla="*/ 14 w 14"/>
                <a:gd name="T9" fmla="*/ 50 h 57"/>
                <a:gd name="T10" fmla="*/ 14 w 14"/>
                <a:gd name="T11" fmla="*/ 7 h 57"/>
                <a:gd name="T12" fmla="*/ 7 w 14"/>
                <a:gd name="T13" fmla="*/ 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57">
                  <a:moveTo>
                    <a:pt x="7" y="0"/>
                  </a:moveTo>
                  <a:cubicBezTo>
                    <a:pt x="3" y="0"/>
                    <a:pt x="0" y="3"/>
                    <a:pt x="0" y="7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4"/>
                    <a:pt x="3" y="57"/>
                    <a:pt x="7" y="57"/>
                  </a:cubicBezTo>
                  <a:cubicBezTo>
                    <a:pt x="11" y="57"/>
                    <a:pt x="14" y="54"/>
                    <a:pt x="14" y="50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3"/>
                    <a:pt x="11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33" name="Freeform 248">
              <a:extLst>
                <a:ext uri="{FF2B5EF4-FFF2-40B4-BE49-F238E27FC236}">
                  <a16:creationId xmlns:a16="http://schemas.microsoft.com/office/drawing/2014/main" id="{9E108049-E3AF-4F18-BE50-1EBC744001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" y="2622"/>
              <a:ext cx="99" cy="119"/>
            </a:xfrm>
            <a:custGeom>
              <a:avLst/>
              <a:gdLst>
                <a:gd name="T0" fmla="*/ 46 w 48"/>
                <a:gd name="T1" fmla="*/ 48 h 58"/>
                <a:gd name="T2" fmla="*/ 30 w 48"/>
                <a:gd name="T3" fmla="*/ 5 h 58"/>
                <a:gd name="T4" fmla="*/ 24 w 48"/>
                <a:gd name="T5" fmla="*/ 0 h 58"/>
                <a:gd name="T6" fmla="*/ 17 w 48"/>
                <a:gd name="T7" fmla="*/ 5 h 58"/>
                <a:gd name="T8" fmla="*/ 1 w 48"/>
                <a:gd name="T9" fmla="*/ 48 h 58"/>
                <a:gd name="T10" fmla="*/ 5 w 48"/>
                <a:gd name="T11" fmla="*/ 56 h 58"/>
                <a:gd name="T12" fmla="*/ 14 w 48"/>
                <a:gd name="T13" fmla="*/ 53 h 58"/>
                <a:gd name="T14" fmla="*/ 15 w 48"/>
                <a:gd name="T15" fmla="*/ 48 h 58"/>
                <a:gd name="T16" fmla="*/ 32 w 48"/>
                <a:gd name="T17" fmla="*/ 48 h 58"/>
                <a:gd name="T18" fmla="*/ 34 w 48"/>
                <a:gd name="T19" fmla="*/ 53 h 58"/>
                <a:gd name="T20" fmla="*/ 40 w 48"/>
                <a:gd name="T21" fmla="*/ 57 h 58"/>
                <a:gd name="T22" fmla="*/ 42 w 48"/>
                <a:gd name="T23" fmla="*/ 56 h 58"/>
                <a:gd name="T24" fmla="*/ 46 w 48"/>
                <a:gd name="T25" fmla="*/ 48 h 58"/>
                <a:gd name="T26" fmla="*/ 21 w 48"/>
                <a:gd name="T27" fmla="*/ 34 h 58"/>
                <a:gd name="T28" fmla="*/ 24 w 48"/>
                <a:gd name="T29" fmla="*/ 26 h 58"/>
                <a:gd name="T30" fmla="*/ 27 w 48"/>
                <a:gd name="T31" fmla="*/ 34 h 58"/>
                <a:gd name="T32" fmla="*/ 21 w 48"/>
                <a:gd name="T33" fmla="*/ 3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8" h="58">
                  <a:moveTo>
                    <a:pt x="46" y="48"/>
                  </a:moveTo>
                  <a:cubicBezTo>
                    <a:pt x="30" y="5"/>
                    <a:pt x="30" y="5"/>
                    <a:pt x="30" y="5"/>
                  </a:cubicBezTo>
                  <a:cubicBezTo>
                    <a:pt x="29" y="2"/>
                    <a:pt x="26" y="0"/>
                    <a:pt x="24" y="0"/>
                  </a:cubicBezTo>
                  <a:cubicBezTo>
                    <a:pt x="21" y="0"/>
                    <a:pt x="18" y="2"/>
                    <a:pt x="17" y="5"/>
                  </a:cubicBezTo>
                  <a:cubicBezTo>
                    <a:pt x="1" y="48"/>
                    <a:pt x="1" y="48"/>
                    <a:pt x="1" y="48"/>
                  </a:cubicBezTo>
                  <a:cubicBezTo>
                    <a:pt x="0" y="51"/>
                    <a:pt x="1" y="55"/>
                    <a:pt x="5" y="56"/>
                  </a:cubicBezTo>
                  <a:cubicBezTo>
                    <a:pt x="8" y="58"/>
                    <a:pt x="12" y="56"/>
                    <a:pt x="14" y="53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5" y="55"/>
                    <a:pt x="37" y="57"/>
                    <a:pt x="40" y="57"/>
                  </a:cubicBezTo>
                  <a:cubicBezTo>
                    <a:pt x="41" y="57"/>
                    <a:pt x="42" y="57"/>
                    <a:pt x="42" y="56"/>
                  </a:cubicBezTo>
                  <a:cubicBezTo>
                    <a:pt x="46" y="55"/>
                    <a:pt x="48" y="51"/>
                    <a:pt x="46" y="48"/>
                  </a:cubicBezTo>
                  <a:close/>
                  <a:moveTo>
                    <a:pt x="21" y="34"/>
                  </a:moveTo>
                  <a:cubicBezTo>
                    <a:pt x="24" y="26"/>
                    <a:pt x="24" y="26"/>
                    <a:pt x="24" y="26"/>
                  </a:cubicBezTo>
                  <a:cubicBezTo>
                    <a:pt x="27" y="34"/>
                    <a:pt x="27" y="34"/>
                    <a:pt x="27" y="34"/>
                  </a:cubicBezTo>
                  <a:lnTo>
                    <a:pt x="21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34" name="Freeform 249">
              <a:extLst>
                <a:ext uri="{FF2B5EF4-FFF2-40B4-BE49-F238E27FC236}">
                  <a16:creationId xmlns:a16="http://schemas.microsoft.com/office/drawing/2014/main" id="{804E0B01-FAFF-4963-8743-2DBBC5129FF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5" y="2498"/>
              <a:ext cx="362" cy="364"/>
            </a:xfrm>
            <a:custGeom>
              <a:avLst/>
              <a:gdLst>
                <a:gd name="T0" fmla="*/ 176 w 176"/>
                <a:gd name="T1" fmla="*/ 89 h 177"/>
                <a:gd name="T2" fmla="*/ 149 w 176"/>
                <a:gd name="T3" fmla="*/ 82 h 177"/>
                <a:gd name="T4" fmla="*/ 170 w 176"/>
                <a:gd name="T5" fmla="*/ 68 h 177"/>
                <a:gd name="T6" fmla="*/ 170 w 176"/>
                <a:gd name="T7" fmla="*/ 55 h 177"/>
                <a:gd name="T8" fmla="*/ 149 w 176"/>
                <a:gd name="T9" fmla="*/ 46 h 177"/>
                <a:gd name="T10" fmla="*/ 122 w 176"/>
                <a:gd name="T11" fmla="*/ 27 h 177"/>
                <a:gd name="T12" fmla="*/ 115 w 176"/>
                <a:gd name="T13" fmla="*/ 0 h 177"/>
                <a:gd name="T14" fmla="*/ 109 w 176"/>
                <a:gd name="T15" fmla="*/ 27 h 177"/>
                <a:gd name="T16" fmla="*/ 95 w 176"/>
                <a:gd name="T17" fmla="*/ 7 h 177"/>
                <a:gd name="T18" fmla="*/ 81 w 176"/>
                <a:gd name="T19" fmla="*/ 7 h 177"/>
                <a:gd name="T20" fmla="*/ 68 w 176"/>
                <a:gd name="T21" fmla="*/ 27 h 177"/>
                <a:gd name="T22" fmla="*/ 61 w 176"/>
                <a:gd name="T23" fmla="*/ 0 h 177"/>
                <a:gd name="T24" fmla="*/ 54 w 176"/>
                <a:gd name="T25" fmla="*/ 27 h 177"/>
                <a:gd name="T26" fmla="*/ 27 w 176"/>
                <a:gd name="T27" fmla="*/ 46 h 177"/>
                <a:gd name="T28" fmla="*/ 7 w 176"/>
                <a:gd name="T29" fmla="*/ 55 h 177"/>
                <a:gd name="T30" fmla="*/ 7 w 176"/>
                <a:gd name="T31" fmla="*/ 68 h 177"/>
                <a:gd name="T32" fmla="*/ 27 w 176"/>
                <a:gd name="T33" fmla="*/ 82 h 177"/>
                <a:gd name="T34" fmla="*/ 0 w 176"/>
                <a:gd name="T35" fmla="*/ 89 h 177"/>
                <a:gd name="T36" fmla="*/ 27 w 176"/>
                <a:gd name="T37" fmla="*/ 95 h 177"/>
                <a:gd name="T38" fmla="*/ 7 w 176"/>
                <a:gd name="T39" fmla="*/ 109 h 177"/>
                <a:gd name="T40" fmla="*/ 7 w 176"/>
                <a:gd name="T41" fmla="*/ 122 h 177"/>
                <a:gd name="T42" fmla="*/ 27 w 176"/>
                <a:gd name="T43" fmla="*/ 131 h 177"/>
                <a:gd name="T44" fmla="*/ 54 w 176"/>
                <a:gd name="T45" fmla="*/ 150 h 177"/>
                <a:gd name="T46" fmla="*/ 61 w 176"/>
                <a:gd name="T47" fmla="*/ 177 h 177"/>
                <a:gd name="T48" fmla="*/ 68 w 176"/>
                <a:gd name="T49" fmla="*/ 150 h 177"/>
                <a:gd name="T50" fmla="*/ 81 w 176"/>
                <a:gd name="T51" fmla="*/ 170 h 177"/>
                <a:gd name="T52" fmla="*/ 95 w 176"/>
                <a:gd name="T53" fmla="*/ 170 h 177"/>
                <a:gd name="T54" fmla="*/ 109 w 176"/>
                <a:gd name="T55" fmla="*/ 150 h 177"/>
                <a:gd name="T56" fmla="*/ 115 w 176"/>
                <a:gd name="T57" fmla="*/ 177 h 177"/>
                <a:gd name="T58" fmla="*/ 122 w 176"/>
                <a:gd name="T59" fmla="*/ 150 h 177"/>
                <a:gd name="T60" fmla="*/ 149 w 176"/>
                <a:gd name="T61" fmla="*/ 131 h 177"/>
                <a:gd name="T62" fmla="*/ 170 w 176"/>
                <a:gd name="T63" fmla="*/ 122 h 177"/>
                <a:gd name="T64" fmla="*/ 170 w 176"/>
                <a:gd name="T65" fmla="*/ 109 h 177"/>
                <a:gd name="T66" fmla="*/ 149 w 176"/>
                <a:gd name="T67" fmla="*/ 95 h 177"/>
                <a:gd name="T68" fmla="*/ 136 w 176"/>
                <a:gd name="T69" fmla="*/ 131 h 177"/>
                <a:gd name="T70" fmla="*/ 45 w 176"/>
                <a:gd name="T71" fmla="*/ 136 h 177"/>
                <a:gd name="T72" fmla="*/ 41 w 176"/>
                <a:gd name="T73" fmla="*/ 46 h 177"/>
                <a:gd name="T74" fmla="*/ 131 w 176"/>
                <a:gd name="T75" fmla="*/ 41 h 177"/>
                <a:gd name="T76" fmla="*/ 136 w 176"/>
                <a:gd name="T77" fmla="*/ 131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6" h="177">
                  <a:moveTo>
                    <a:pt x="170" y="95"/>
                  </a:moveTo>
                  <a:cubicBezTo>
                    <a:pt x="173" y="95"/>
                    <a:pt x="176" y="92"/>
                    <a:pt x="176" y="89"/>
                  </a:cubicBezTo>
                  <a:cubicBezTo>
                    <a:pt x="176" y="85"/>
                    <a:pt x="173" y="82"/>
                    <a:pt x="170" y="82"/>
                  </a:cubicBezTo>
                  <a:cubicBezTo>
                    <a:pt x="149" y="82"/>
                    <a:pt x="149" y="82"/>
                    <a:pt x="149" y="82"/>
                  </a:cubicBezTo>
                  <a:cubicBezTo>
                    <a:pt x="149" y="68"/>
                    <a:pt x="149" y="68"/>
                    <a:pt x="149" y="68"/>
                  </a:cubicBezTo>
                  <a:cubicBezTo>
                    <a:pt x="170" y="68"/>
                    <a:pt x="170" y="68"/>
                    <a:pt x="170" y="68"/>
                  </a:cubicBezTo>
                  <a:cubicBezTo>
                    <a:pt x="173" y="68"/>
                    <a:pt x="176" y="65"/>
                    <a:pt x="176" y="61"/>
                  </a:cubicBezTo>
                  <a:cubicBezTo>
                    <a:pt x="176" y="58"/>
                    <a:pt x="173" y="55"/>
                    <a:pt x="170" y="55"/>
                  </a:cubicBezTo>
                  <a:cubicBezTo>
                    <a:pt x="149" y="55"/>
                    <a:pt x="149" y="55"/>
                    <a:pt x="149" y="55"/>
                  </a:cubicBezTo>
                  <a:cubicBezTo>
                    <a:pt x="149" y="46"/>
                    <a:pt x="149" y="46"/>
                    <a:pt x="149" y="46"/>
                  </a:cubicBezTo>
                  <a:cubicBezTo>
                    <a:pt x="149" y="36"/>
                    <a:pt x="141" y="27"/>
                    <a:pt x="131" y="27"/>
                  </a:cubicBezTo>
                  <a:cubicBezTo>
                    <a:pt x="122" y="27"/>
                    <a:pt x="122" y="27"/>
                    <a:pt x="122" y="27"/>
                  </a:cubicBezTo>
                  <a:cubicBezTo>
                    <a:pt x="122" y="7"/>
                    <a:pt x="122" y="7"/>
                    <a:pt x="122" y="7"/>
                  </a:cubicBezTo>
                  <a:cubicBezTo>
                    <a:pt x="122" y="3"/>
                    <a:pt x="119" y="0"/>
                    <a:pt x="115" y="0"/>
                  </a:cubicBezTo>
                  <a:cubicBezTo>
                    <a:pt x="112" y="0"/>
                    <a:pt x="109" y="3"/>
                    <a:pt x="109" y="7"/>
                  </a:cubicBezTo>
                  <a:cubicBezTo>
                    <a:pt x="109" y="27"/>
                    <a:pt x="109" y="27"/>
                    <a:pt x="109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3"/>
                    <a:pt x="92" y="0"/>
                    <a:pt x="88" y="0"/>
                  </a:cubicBezTo>
                  <a:cubicBezTo>
                    <a:pt x="84" y="0"/>
                    <a:pt x="81" y="3"/>
                    <a:pt x="81" y="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7"/>
                    <a:pt x="68" y="7"/>
                    <a:pt x="68" y="7"/>
                  </a:cubicBezTo>
                  <a:cubicBezTo>
                    <a:pt x="68" y="3"/>
                    <a:pt x="65" y="0"/>
                    <a:pt x="61" y="0"/>
                  </a:cubicBezTo>
                  <a:cubicBezTo>
                    <a:pt x="57" y="0"/>
                    <a:pt x="54" y="3"/>
                    <a:pt x="54" y="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35" y="27"/>
                    <a:pt x="27" y="36"/>
                    <a:pt x="27" y="46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3" y="55"/>
                    <a:pt x="0" y="58"/>
                    <a:pt x="0" y="61"/>
                  </a:cubicBezTo>
                  <a:cubicBezTo>
                    <a:pt x="0" y="65"/>
                    <a:pt x="3" y="68"/>
                    <a:pt x="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7" y="82"/>
                    <a:pt x="7" y="82"/>
                    <a:pt x="7" y="82"/>
                  </a:cubicBezTo>
                  <a:cubicBezTo>
                    <a:pt x="3" y="82"/>
                    <a:pt x="0" y="85"/>
                    <a:pt x="0" y="89"/>
                  </a:cubicBezTo>
                  <a:cubicBezTo>
                    <a:pt x="0" y="92"/>
                    <a:pt x="3" y="95"/>
                    <a:pt x="7" y="95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7" y="109"/>
                    <a:pt x="27" y="109"/>
                    <a:pt x="2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3" y="109"/>
                    <a:pt x="0" y="112"/>
                    <a:pt x="0" y="116"/>
                  </a:cubicBezTo>
                  <a:cubicBezTo>
                    <a:pt x="0" y="119"/>
                    <a:pt x="3" y="122"/>
                    <a:pt x="7" y="122"/>
                  </a:cubicBezTo>
                  <a:cubicBezTo>
                    <a:pt x="27" y="122"/>
                    <a:pt x="27" y="122"/>
                    <a:pt x="27" y="122"/>
                  </a:cubicBezTo>
                  <a:cubicBezTo>
                    <a:pt x="27" y="131"/>
                    <a:pt x="27" y="131"/>
                    <a:pt x="27" y="131"/>
                  </a:cubicBezTo>
                  <a:cubicBezTo>
                    <a:pt x="27" y="141"/>
                    <a:pt x="35" y="150"/>
                    <a:pt x="45" y="150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54" y="170"/>
                    <a:pt x="54" y="170"/>
                    <a:pt x="54" y="170"/>
                  </a:cubicBezTo>
                  <a:cubicBezTo>
                    <a:pt x="54" y="174"/>
                    <a:pt x="57" y="177"/>
                    <a:pt x="61" y="177"/>
                  </a:cubicBezTo>
                  <a:cubicBezTo>
                    <a:pt x="65" y="177"/>
                    <a:pt x="68" y="174"/>
                    <a:pt x="68" y="170"/>
                  </a:cubicBezTo>
                  <a:cubicBezTo>
                    <a:pt x="68" y="150"/>
                    <a:pt x="68" y="150"/>
                    <a:pt x="68" y="150"/>
                  </a:cubicBezTo>
                  <a:cubicBezTo>
                    <a:pt x="81" y="150"/>
                    <a:pt x="81" y="150"/>
                    <a:pt x="81" y="150"/>
                  </a:cubicBezTo>
                  <a:cubicBezTo>
                    <a:pt x="81" y="170"/>
                    <a:pt x="81" y="170"/>
                    <a:pt x="81" y="170"/>
                  </a:cubicBezTo>
                  <a:cubicBezTo>
                    <a:pt x="81" y="174"/>
                    <a:pt x="84" y="177"/>
                    <a:pt x="88" y="177"/>
                  </a:cubicBezTo>
                  <a:cubicBezTo>
                    <a:pt x="92" y="177"/>
                    <a:pt x="95" y="174"/>
                    <a:pt x="95" y="170"/>
                  </a:cubicBezTo>
                  <a:cubicBezTo>
                    <a:pt x="95" y="150"/>
                    <a:pt x="95" y="150"/>
                    <a:pt x="95" y="150"/>
                  </a:cubicBezTo>
                  <a:cubicBezTo>
                    <a:pt x="109" y="150"/>
                    <a:pt x="109" y="150"/>
                    <a:pt x="109" y="150"/>
                  </a:cubicBezTo>
                  <a:cubicBezTo>
                    <a:pt x="109" y="170"/>
                    <a:pt x="109" y="170"/>
                    <a:pt x="109" y="170"/>
                  </a:cubicBezTo>
                  <a:cubicBezTo>
                    <a:pt x="109" y="174"/>
                    <a:pt x="112" y="177"/>
                    <a:pt x="115" y="177"/>
                  </a:cubicBezTo>
                  <a:cubicBezTo>
                    <a:pt x="119" y="177"/>
                    <a:pt x="122" y="174"/>
                    <a:pt x="122" y="170"/>
                  </a:cubicBezTo>
                  <a:cubicBezTo>
                    <a:pt x="122" y="150"/>
                    <a:pt x="122" y="150"/>
                    <a:pt x="122" y="150"/>
                  </a:cubicBezTo>
                  <a:cubicBezTo>
                    <a:pt x="131" y="150"/>
                    <a:pt x="131" y="150"/>
                    <a:pt x="131" y="150"/>
                  </a:cubicBezTo>
                  <a:cubicBezTo>
                    <a:pt x="141" y="150"/>
                    <a:pt x="149" y="141"/>
                    <a:pt x="149" y="131"/>
                  </a:cubicBezTo>
                  <a:cubicBezTo>
                    <a:pt x="149" y="122"/>
                    <a:pt x="149" y="122"/>
                    <a:pt x="149" y="122"/>
                  </a:cubicBezTo>
                  <a:cubicBezTo>
                    <a:pt x="170" y="122"/>
                    <a:pt x="170" y="122"/>
                    <a:pt x="170" y="122"/>
                  </a:cubicBezTo>
                  <a:cubicBezTo>
                    <a:pt x="173" y="122"/>
                    <a:pt x="176" y="119"/>
                    <a:pt x="176" y="116"/>
                  </a:cubicBezTo>
                  <a:cubicBezTo>
                    <a:pt x="176" y="112"/>
                    <a:pt x="173" y="109"/>
                    <a:pt x="170" y="109"/>
                  </a:cubicBezTo>
                  <a:cubicBezTo>
                    <a:pt x="149" y="109"/>
                    <a:pt x="149" y="109"/>
                    <a:pt x="149" y="109"/>
                  </a:cubicBezTo>
                  <a:cubicBezTo>
                    <a:pt x="149" y="95"/>
                    <a:pt x="149" y="95"/>
                    <a:pt x="149" y="95"/>
                  </a:cubicBezTo>
                  <a:lnTo>
                    <a:pt x="170" y="95"/>
                  </a:lnTo>
                  <a:close/>
                  <a:moveTo>
                    <a:pt x="136" y="131"/>
                  </a:moveTo>
                  <a:cubicBezTo>
                    <a:pt x="136" y="134"/>
                    <a:pt x="134" y="136"/>
                    <a:pt x="131" y="136"/>
                  </a:cubicBezTo>
                  <a:cubicBezTo>
                    <a:pt x="45" y="136"/>
                    <a:pt x="45" y="136"/>
                    <a:pt x="45" y="136"/>
                  </a:cubicBezTo>
                  <a:cubicBezTo>
                    <a:pt x="43" y="136"/>
                    <a:pt x="41" y="134"/>
                    <a:pt x="41" y="131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3"/>
                    <a:pt x="43" y="41"/>
                    <a:pt x="45" y="41"/>
                  </a:cubicBezTo>
                  <a:cubicBezTo>
                    <a:pt x="131" y="41"/>
                    <a:pt x="131" y="41"/>
                    <a:pt x="131" y="41"/>
                  </a:cubicBezTo>
                  <a:cubicBezTo>
                    <a:pt x="134" y="41"/>
                    <a:pt x="136" y="43"/>
                    <a:pt x="136" y="46"/>
                  </a:cubicBezTo>
                  <a:lnTo>
                    <a:pt x="136" y="1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35" name="Freeform 250">
              <a:extLst>
                <a:ext uri="{FF2B5EF4-FFF2-40B4-BE49-F238E27FC236}">
                  <a16:creationId xmlns:a16="http://schemas.microsoft.com/office/drawing/2014/main" id="{EAF2BCD3-145E-4560-98C1-4FA1DDC36F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" y="2574"/>
              <a:ext cx="327" cy="640"/>
            </a:xfrm>
            <a:custGeom>
              <a:avLst/>
              <a:gdLst>
                <a:gd name="T0" fmla="*/ 110 w 159"/>
                <a:gd name="T1" fmla="*/ 147 h 311"/>
                <a:gd name="T2" fmla="*/ 75 w 159"/>
                <a:gd name="T3" fmla="*/ 148 h 311"/>
                <a:gd name="T4" fmla="*/ 52 w 159"/>
                <a:gd name="T5" fmla="*/ 136 h 311"/>
                <a:gd name="T6" fmla="*/ 26 w 159"/>
                <a:gd name="T7" fmla="*/ 0 h 311"/>
                <a:gd name="T8" fmla="*/ 0 w 159"/>
                <a:gd name="T9" fmla="*/ 154 h 311"/>
                <a:gd name="T10" fmla="*/ 33 w 159"/>
                <a:gd name="T11" fmla="*/ 219 h 311"/>
                <a:gd name="T12" fmla="*/ 45 w 159"/>
                <a:gd name="T13" fmla="*/ 213 h 311"/>
                <a:gd name="T14" fmla="*/ 52 w 159"/>
                <a:gd name="T15" fmla="*/ 205 h 311"/>
                <a:gd name="T16" fmla="*/ 97 w 159"/>
                <a:gd name="T17" fmla="*/ 267 h 311"/>
                <a:gd name="T18" fmla="*/ 68 w 159"/>
                <a:gd name="T19" fmla="*/ 260 h 311"/>
                <a:gd name="T20" fmla="*/ 56 w 159"/>
                <a:gd name="T21" fmla="*/ 266 h 311"/>
                <a:gd name="T22" fmla="*/ 68 w 159"/>
                <a:gd name="T23" fmla="*/ 281 h 311"/>
                <a:gd name="T24" fmla="*/ 72 w 159"/>
                <a:gd name="T25" fmla="*/ 304 h 311"/>
                <a:gd name="T26" fmla="*/ 86 w 159"/>
                <a:gd name="T27" fmla="*/ 304 h 311"/>
                <a:gd name="T28" fmla="*/ 102 w 159"/>
                <a:gd name="T29" fmla="*/ 281 h 311"/>
                <a:gd name="T30" fmla="*/ 109 w 159"/>
                <a:gd name="T31" fmla="*/ 311 h 311"/>
                <a:gd name="T32" fmla="*/ 115 w 159"/>
                <a:gd name="T33" fmla="*/ 281 h 311"/>
                <a:gd name="T34" fmla="*/ 132 w 159"/>
                <a:gd name="T35" fmla="*/ 304 h 311"/>
                <a:gd name="T36" fmla="*/ 145 w 159"/>
                <a:gd name="T37" fmla="*/ 304 h 311"/>
                <a:gd name="T38" fmla="*/ 152 w 159"/>
                <a:gd name="T39" fmla="*/ 281 h 311"/>
                <a:gd name="T40" fmla="*/ 159 w 159"/>
                <a:gd name="T41" fmla="*/ 198 h 311"/>
                <a:gd name="T42" fmla="*/ 145 w 159"/>
                <a:gd name="T43" fmla="*/ 267 h 311"/>
                <a:gd name="T44" fmla="*/ 81 w 159"/>
                <a:gd name="T45" fmla="*/ 208 h 311"/>
                <a:gd name="T46" fmla="*/ 34 w 159"/>
                <a:gd name="T47" fmla="*/ 191 h 311"/>
                <a:gd name="T48" fmla="*/ 14 w 159"/>
                <a:gd name="T49" fmla="*/ 26 h 311"/>
                <a:gd name="T50" fmla="*/ 38 w 159"/>
                <a:gd name="T51" fmla="*/ 26 h 311"/>
                <a:gd name="T52" fmla="*/ 28 w 159"/>
                <a:gd name="T53" fmla="*/ 64 h 311"/>
                <a:gd name="T54" fmla="*/ 28 w 159"/>
                <a:gd name="T55" fmla="*/ 78 h 311"/>
                <a:gd name="T56" fmla="*/ 38 w 159"/>
                <a:gd name="T57" fmla="*/ 120 h 311"/>
                <a:gd name="T58" fmla="*/ 21 w 159"/>
                <a:gd name="T59" fmla="*/ 126 h 311"/>
                <a:gd name="T60" fmla="*/ 38 w 159"/>
                <a:gd name="T61" fmla="*/ 133 h 311"/>
                <a:gd name="T62" fmla="*/ 40 w 159"/>
                <a:gd name="T63" fmla="*/ 144 h 311"/>
                <a:gd name="T64" fmla="*/ 112 w 159"/>
                <a:gd name="T65" fmla="*/ 215 h 311"/>
                <a:gd name="T66" fmla="*/ 119 w 159"/>
                <a:gd name="T67" fmla="*/ 237 h 311"/>
                <a:gd name="T68" fmla="*/ 126 w 159"/>
                <a:gd name="T69" fmla="*/ 213 h 311"/>
                <a:gd name="T70" fmla="*/ 86 w 159"/>
                <a:gd name="T71" fmla="*/ 170 h 311"/>
                <a:gd name="T72" fmla="*/ 93 w 159"/>
                <a:gd name="T73" fmla="*/ 153 h 311"/>
                <a:gd name="T74" fmla="*/ 117 w 159"/>
                <a:gd name="T75" fmla="*/ 173 h 311"/>
                <a:gd name="T76" fmla="*/ 113 w 159"/>
                <a:gd name="T77" fmla="*/ 186 h 311"/>
                <a:gd name="T78" fmla="*/ 123 w 159"/>
                <a:gd name="T79" fmla="*/ 186 h 311"/>
                <a:gd name="T80" fmla="*/ 145 w 159"/>
                <a:gd name="T81" fmla="*/ 201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9" h="311">
                  <a:moveTo>
                    <a:pt x="157" y="194"/>
                  </a:moveTo>
                  <a:cubicBezTo>
                    <a:pt x="110" y="147"/>
                    <a:pt x="110" y="147"/>
                    <a:pt x="110" y="147"/>
                  </a:cubicBezTo>
                  <a:cubicBezTo>
                    <a:pt x="105" y="142"/>
                    <a:pt x="99" y="139"/>
                    <a:pt x="92" y="140"/>
                  </a:cubicBezTo>
                  <a:cubicBezTo>
                    <a:pt x="86" y="140"/>
                    <a:pt x="79" y="143"/>
                    <a:pt x="75" y="148"/>
                  </a:cubicBezTo>
                  <a:cubicBezTo>
                    <a:pt x="73" y="150"/>
                    <a:pt x="72" y="153"/>
                    <a:pt x="71" y="155"/>
                  </a:cubicBezTo>
                  <a:cubicBezTo>
                    <a:pt x="52" y="136"/>
                    <a:pt x="52" y="136"/>
                    <a:pt x="52" y="13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12"/>
                    <a:pt x="40" y="0"/>
                    <a:pt x="26" y="0"/>
                  </a:cubicBezTo>
                  <a:cubicBezTo>
                    <a:pt x="12" y="0"/>
                    <a:pt x="0" y="12"/>
                    <a:pt x="0" y="26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0" y="156"/>
                    <a:pt x="1" y="157"/>
                    <a:pt x="1" y="158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4" y="223"/>
                    <a:pt x="38" y="224"/>
                    <a:pt x="42" y="222"/>
                  </a:cubicBezTo>
                  <a:cubicBezTo>
                    <a:pt x="45" y="221"/>
                    <a:pt x="46" y="216"/>
                    <a:pt x="45" y="213"/>
                  </a:cubicBezTo>
                  <a:cubicBezTo>
                    <a:pt x="40" y="205"/>
                    <a:pt x="40" y="205"/>
                    <a:pt x="40" y="205"/>
                  </a:cubicBezTo>
                  <a:cubicBezTo>
                    <a:pt x="52" y="205"/>
                    <a:pt x="52" y="205"/>
                    <a:pt x="52" y="205"/>
                  </a:cubicBezTo>
                  <a:cubicBezTo>
                    <a:pt x="59" y="205"/>
                    <a:pt x="66" y="209"/>
                    <a:pt x="69" y="215"/>
                  </a:cubicBezTo>
                  <a:cubicBezTo>
                    <a:pt x="97" y="267"/>
                    <a:pt x="97" y="267"/>
                    <a:pt x="97" y="267"/>
                  </a:cubicBezTo>
                  <a:cubicBezTo>
                    <a:pt x="72" y="267"/>
                    <a:pt x="72" y="267"/>
                    <a:pt x="72" y="267"/>
                  </a:cubicBezTo>
                  <a:cubicBezTo>
                    <a:pt x="68" y="260"/>
                    <a:pt x="68" y="260"/>
                    <a:pt x="68" y="260"/>
                  </a:cubicBezTo>
                  <a:cubicBezTo>
                    <a:pt x="66" y="256"/>
                    <a:pt x="62" y="255"/>
                    <a:pt x="59" y="257"/>
                  </a:cubicBezTo>
                  <a:cubicBezTo>
                    <a:pt x="56" y="258"/>
                    <a:pt x="54" y="262"/>
                    <a:pt x="56" y="266"/>
                  </a:cubicBezTo>
                  <a:cubicBezTo>
                    <a:pt x="62" y="277"/>
                    <a:pt x="62" y="277"/>
                    <a:pt x="62" y="277"/>
                  </a:cubicBezTo>
                  <a:cubicBezTo>
                    <a:pt x="63" y="279"/>
                    <a:pt x="65" y="281"/>
                    <a:pt x="68" y="281"/>
                  </a:cubicBezTo>
                  <a:cubicBezTo>
                    <a:pt x="72" y="281"/>
                    <a:pt x="72" y="281"/>
                    <a:pt x="72" y="281"/>
                  </a:cubicBezTo>
                  <a:cubicBezTo>
                    <a:pt x="72" y="304"/>
                    <a:pt x="72" y="304"/>
                    <a:pt x="72" y="304"/>
                  </a:cubicBezTo>
                  <a:cubicBezTo>
                    <a:pt x="72" y="308"/>
                    <a:pt x="75" y="311"/>
                    <a:pt x="79" y="311"/>
                  </a:cubicBezTo>
                  <a:cubicBezTo>
                    <a:pt x="83" y="311"/>
                    <a:pt x="86" y="308"/>
                    <a:pt x="86" y="304"/>
                  </a:cubicBezTo>
                  <a:cubicBezTo>
                    <a:pt x="86" y="281"/>
                    <a:pt x="86" y="281"/>
                    <a:pt x="86" y="281"/>
                  </a:cubicBezTo>
                  <a:cubicBezTo>
                    <a:pt x="102" y="281"/>
                    <a:pt x="102" y="281"/>
                    <a:pt x="102" y="281"/>
                  </a:cubicBezTo>
                  <a:cubicBezTo>
                    <a:pt x="102" y="304"/>
                    <a:pt x="102" y="304"/>
                    <a:pt x="102" y="304"/>
                  </a:cubicBezTo>
                  <a:cubicBezTo>
                    <a:pt x="102" y="308"/>
                    <a:pt x="105" y="311"/>
                    <a:pt x="109" y="311"/>
                  </a:cubicBezTo>
                  <a:cubicBezTo>
                    <a:pt x="112" y="311"/>
                    <a:pt x="115" y="308"/>
                    <a:pt x="115" y="304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32" y="281"/>
                    <a:pt x="132" y="281"/>
                    <a:pt x="132" y="281"/>
                  </a:cubicBezTo>
                  <a:cubicBezTo>
                    <a:pt x="132" y="304"/>
                    <a:pt x="132" y="304"/>
                    <a:pt x="132" y="304"/>
                  </a:cubicBezTo>
                  <a:cubicBezTo>
                    <a:pt x="132" y="308"/>
                    <a:pt x="135" y="311"/>
                    <a:pt x="139" y="311"/>
                  </a:cubicBezTo>
                  <a:cubicBezTo>
                    <a:pt x="142" y="311"/>
                    <a:pt x="145" y="308"/>
                    <a:pt x="145" y="304"/>
                  </a:cubicBezTo>
                  <a:cubicBezTo>
                    <a:pt x="145" y="281"/>
                    <a:pt x="145" y="281"/>
                    <a:pt x="145" y="281"/>
                  </a:cubicBezTo>
                  <a:cubicBezTo>
                    <a:pt x="152" y="281"/>
                    <a:pt x="152" y="281"/>
                    <a:pt x="152" y="281"/>
                  </a:cubicBezTo>
                  <a:cubicBezTo>
                    <a:pt x="156" y="281"/>
                    <a:pt x="159" y="278"/>
                    <a:pt x="159" y="274"/>
                  </a:cubicBezTo>
                  <a:cubicBezTo>
                    <a:pt x="159" y="198"/>
                    <a:pt x="159" y="198"/>
                    <a:pt x="159" y="198"/>
                  </a:cubicBezTo>
                  <a:cubicBezTo>
                    <a:pt x="159" y="197"/>
                    <a:pt x="158" y="195"/>
                    <a:pt x="157" y="194"/>
                  </a:cubicBezTo>
                  <a:close/>
                  <a:moveTo>
                    <a:pt x="145" y="267"/>
                  </a:moveTo>
                  <a:cubicBezTo>
                    <a:pt x="113" y="267"/>
                    <a:pt x="113" y="267"/>
                    <a:pt x="113" y="267"/>
                  </a:cubicBezTo>
                  <a:cubicBezTo>
                    <a:pt x="81" y="208"/>
                    <a:pt x="81" y="208"/>
                    <a:pt x="81" y="208"/>
                  </a:cubicBezTo>
                  <a:cubicBezTo>
                    <a:pt x="75" y="198"/>
                    <a:pt x="64" y="191"/>
                    <a:pt x="52" y="191"/>
                  </a:cubicBezTo>
                  <a:cubicBezTo>
                    <a:pt x="34" y="191"/>
                    <a:pt x="34" y="191"/>
                    <a:pt x="34" y="191"/>
                  </a:cubicBezTo>
                  <a:cubicBezTo>
                    <a:pt x="14" y="153"/>
                    <a:pt x="14" y="153"/>
                    <a:pt x="14" y="153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19"/>
                    <a:pt x="20" y="14"/>
                    <a:pt x="26" y="14"/>
                  </a:cubicBezTo>
                  <a:cubicBezTo>
                    <a:pt x="33" y="14"/>
                    <a:pt x="38" y="19"/>
                    <a:pt x="38" y="26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4" y="64"/>
                    <a:pt x="21" y="67"/>
                    <a:pt x="21" y="71"/>
                  </a:cubicBezTo>
                  <a:cubicBezTo>
                    <a:pt x="21" y="74"/>
                    <a:pt x="24" y="78"/>
                    <a:pt x="28" y="78"/>
                  </a:cubicBezTo>
                  <a:cubicBezTo>
                    <a:pt x="38" y="78"/>
                    <a:pt x="38" y="78"/>
                    <a:pt x="38" y="78"/>
                  </a:cubicBezTo>
                  <a:cubicBezTo>
                    <a:pt x="38" y="120"/>
                    <a:pt x="38" y="120"/>
                    <a:pt x="38" y="120"/>
                  </a:cubicBezTo>
                  <a:cubicBezTo>
                    <a:pt x="28" y="120"/>
                    <a:pt x="28" y="120"/>
                    <a:pt x="28" y="120"/>
                  </a:cubicBezTo>
                  <a:cubicBezTo>
                    <a:pt x="24" y="120"/>
                    <a:pt x="21" y="123"/>
                    <a:pt x="21" y="126"/>
                  </a:cubicBezTo>
                  <a:cubicBezTo>
                    <a:pt x="21" y="130"/>
                    <a:pt x="24" y="133"/>
                    <a:pt x="28" y="133"/>
                  </a:cubicBezTo>
                  <a:cubicBezTo>
                    <a:pt x="38" y="133"/>
                    <a:pt x="38" y="133"/>
                    <a:pt x="38" y="133"/>
                  </a:cubicBezTo>
                  <a:cubicBezTo>
                    <a:pt x="38" y="139"/>
                    <a:pt x="38" y="139"/>
                    <a:pt x="38" y="139"/>
                  </a:cubicBezTo>
                  <a:cubicBezTo>
                    <a:pt x="38" y="141"/>
                    <a:pt x="39" y="143"/>
                    <a:pt x="40" y="144"/>
                  </a:cubicBezTo>
                  <a:cubicBezTo>
                    <a:pt x="76" y="180"/>
                    <a:pt x="76" y="180"/>
                    <a:pt x="76" y="180"/>
                  </a:cubicBezTo>
                  <a:cubicBezTo>
                    <a:pt x="112" y="215"/>
                    <a:pt x="112" y="215"/>
                    <a:pt x="112" y="215"/>
                  </a:cubicBezTo>
                  <a:cubicBezTo>
                    <a:pt x="112" y="230"/>
                    <a:pt x="112" y="230"/>
                    <a:pt x="112" y="230"/>
                  </a:cubicBezTo>
                  <a:cubicBezTo>
                    <a:pt x="112" y="233"/>
                    <a:pt x="115" y="237"/>
                    <a:pt x="119" y="237"/>
                  </a:cubicBezTo>
                  <a:cubicBezTo>
                    <a:pt x="122" y="237"/>
                    <a:pt x="126" y="233"/>
                    <a:pt x="126" y="230"/>
                  </a:cubicBezTo>
                  <a:cubicBezTo>
                    <a:pt x="126" y="213"/>
                    <a:pt x="126" y="213"/>
                    <a:pt x="126" y="213"/>
                  </a:cubicBezTo>
                  <a:cubicBezTo>
                    <a:pt x="126" y="211"/>
                    <a:pt x="125" y="209"/>
                    <a:pt x="124" y="208"/>
                  </a:cubicBezTo>
                  <a:cubicBezTo>
                    <a:pt x="86" y="170"/>
                    <a:pt x="86" y="170"/>
                    <a:pt x="86" y="170"/>
                  </a:cubicBezTo>
                  <a:cubicBezTo>
                    <a:pt x="82" y="167"/>
                    <a:pt x="82" y="161"/>
                    <a:pt x="85" y="157"/>
                  </a:cubicBezTo>
                  <a:cubicBezTo>
                    <a:pt x="87" y="155"/>
                    <a:pt x="90" y="153"/>
                    <a:pt x="93" y="153"/>
                  </a:cubicBezTo>
                  <a:cubicBezTo>
                    <a:pt x="95" y="153"/>
                    <a:pt x="98" y="154"/>
                    <a:pt x="100" y="156"/>
                  </a:cubicBezTo>
                  <a:cubicBezTo>
                    <a:pt x="117" y="173"/>
                    <a:pt x="117" y="173"/>
                    <a:pt x="117" y="173"/>
                  </a:cubicBezTo>
                  <a:cubicBezTo>
                    <a:pt x="113" y="176"/>
                    <a:pt x="113" y="176"/>
                    <a:pt x="113" y="176"/>
                  </a:cubicBezTo>
                  <a:cubicBezTo>
                    <a:pt x="111" y="179"/>
                    <a:pt x="111" y="183"/>
                    <a:pt x="113" y="186"/>
                  </a:cubicBezTo>
                  <a:cubicBezTo>
                    <a:pt x="115" y="187"/>
                    <a:pt x="116" y="188"/>
                    <a:pt x="118" y="188"/>
                  </a:cubicBezTo>
                  <a:cubicBezTo>
                    <a:pt x="120" y="188"/>
                    <a:pt x="122" y="187"/>
                    <a:pt x="123" y="186"/>
                  </a:cubicBezTo>
                  <a:cubicBezTo>
                    <a:pt x="126" y="183"/>
                    <a:pt x="126" y="183"/>
                    <a:pt x="126" y="183"/>
                  </a:cubicBezTo>
                  <a:cubicBezTo>
                    <a:pt x="145" y="201"/>
                    <a:pt x="145" y="201"/>
                    <a:pt x="145" y="201"/>
                  </a:cubicBezTo>
                  <a:cubicBezTo>
                    <a:pt x="145" y="267"/>
                    <a:pt x="145" y="267"/>
                    <a:pt x="145" y="2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36" name="Freeform 251">
              <a:extLst>
                <a:ext uri="{FF2B5EF4-FFF2-40B4-BE49-F238E27FC236}">
                  <a16:creationId xmlns:a16="http://schemas.microsoft.com/office/drawing/2014/main" id="{808743CC-3600-4FF1-BA91-E3B80B8B4C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" y="3052"/>
              <a:ext cx="29" cy="28"/>
            </a:xfrm>
            <a:custGeom>
              <a:avLst/>
              <a:gdLst>
                <a:gd name="T0" fmla="*/ 12 w 14"/>
                <a:gd name="T1" fmla="*/ 2 h 14"/>
                <a:gd name="T2" fmla="*/ 7 w 14"/>
                <a:gd name="T3" fmla="*/ 0 h 14"/>
                <a:gd name="T4" fmla="*/ 2 w 14"/>
                <a:gd name="T5" fmla="*/ 2 h 14"/>
                <a:gd name="T6" fmla="*/ 0 w 14"/>
                <a:gd name="T7" fmla="*/ 7 h 14"/>
                <a:gd name="T8" fmla="*/ 2 w 14"/>
                <a:gd name="T9" fmla="*/ 12 h 14"/>
                <a:gd name="T10" fmla="*/ 7 w 14"/>
                <a:gd name="T11" fmla="*/ 14 h 14"/>
                <a:gd name="T12" fmla="*/ 12 w 14"/>
                <a:gd name="T13" fmla="*/ 12 h 14"/>
                <a:gd name="T14" fmla="*/ 14 w 14"/>
                <a:gd name="T15" fmla="*/ 7 h 14"/>
                <a:gd name="T16" fmla="*/ 12 w 14"/>
                <a:gd name="T1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14">
                  <a:moveTo>
                    <a:pt x="12" y="2"/>
                  </a:moveTo>
                  <a:cubicBezTo>
                    <a:pt x="11" y="1"/>
                    <a:pt x="9" y="0"/>
                    <a:pt x="7" y="0"/>
                  </a:cubicBezTo>
                  <a:cubicBezTo>
                    <a:pt x="5" y="0"/>
                    <a:pt x="4" y="1"/>
                    <a:pt x="2" y="2"/>
                  </a:cubicBezTo>
                  <a:cubicBezTo>
                    <a:pt x="1" y="4"/>
                    <a:pt x="0" y="5"/>
                    <a:pt x="0" y="7"/>
                  </a:cubicBezTo>
                  <a:cubicBezTo>
                    <a:pt x="0" y="9"/>
                    <a:pt x="1" y="11"/>
                    <a:pt x="2" y="12"/>
                  </a:cubicBezTo>
                  <a:cubicBezTo>
                    <a:pt x="4" y="13"/>
                    <a:pt x="5" y="14"/>
                    <a:pt x="7" y="14"/>
                  </a:cubicBezTo>
                  <a:cubicBezTo>
                    <a:pt x="9" y="14"/>
                    <a:pt x="11" y="13"/>
                    <a:pt x="12" y="12"/>
                  </a:cubicBezTo>
                  <a:cubicBezTo>
                    <a:pt x="13" y="11"/>
                    <a:pt x="14" y="9"/>
                    <a:pt x="14" y="7"/>
                  </a:cubicBezTo>
                  <a:cubicBezTo>
                    <a:pt x="14" y="5"/>
                    <a:pt x="13" y="4"/>
                    <a:pt x="1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137" name="Group 254">
            <a:extLst>
              <a:ext uri="{FF2B5EF4-FFF2-40B4-BE49-F238E27FC236}">
                <a16:creationId xmlns:a16="http://schemas.microsoft.com/office/drawing/2014/main" id="{F5ABF0D6-BE58-4552-96DA-CF7925DCDD4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4084" y="3786218"/>
            <a:ext cx="270111" cy="274320"/>
            <a:chOff x="-103" y="2411"/>
            <a:chExt cx="706" cy="717"/>
          </a:xfrm>
          <a:solidFill>
            <a:schemeClr val="accent1"/>
          </a:solidFill>
        </p:grpSpPr>
        <p:sp>
          <p:nvSpPr>
            <p:cNvPr id="138" name="Freeform 255">
              <a:extLst>
                <a:ext uri="{FF2B5EF4-FFF2-40B4-BE49-F238E27FC236}">
                  <a16:creationId xmlns:a16="http://schemas.microsoft.com/office/drawing/2014/main" id="{94FBD1FC-B20F-4053-A035-85624C7548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1" y="2456"/>
              <a:ext cx="222" cy="225"/>
            </a:xfrm>
            <a:custGeom>
              <a:avLst/>
              <a:gdLst>
                <a:gd name="T0" fmla="*/ 103 w 108"/>
                <a:gd name="T1" fmla="*/ 0 h 109"/>
                <a:gd name="T2" fmla="*/ 5 w 108"/>
                <a:gd name="T3" fmla="*/ 0 h 109"/>
                <a:gd name="T4" fmla="*/ 0 w 108"/>
                <a:gd name="T5" fmla="*/ 6 h 109"/>
                <a:gd name="T6" fmla="*/ 0 w 108"/>
                <a:gd name="T7" fmla="*/ 103 h 109"/>
                <a:gd name="T8" fmla="*/ 5 w 108"/>
                <a:gd name="T9" fmla="*/ 109 h 109"/>
                <a:gd name="T10" fmla="*/ 103 w 108"/>
                <a:gd name="T11" fmla="*/ 109 h 109"/>
                <a:gd name="T12" fmla="*/ 108 w 108"/>
                <a:gd name="T13" fmla="*/ 103 h 109"/>
                <a:gd name="T14" fmla="*/ 108 w 108"/>
                <a:gd name="T15" fmla="*/ 6 h 109"/>
                <a:gd name="T16" fmla="*/ 103 w 108"/>
                <a:gd name="T17" fmla="*/ 0 h 109"/>
                <a:gd name="T18" fmla="*/ 97 w 108"/>
                <a:gd name="T19" fmla="*/ 98 h 109"/>
                <a:gd name="T20" fmla="*/ 11 w 108"/>
                <a:gd name="T21" fmla="*/ 98 h 109"/>
                <a:gd name="T22" fmla="*/ 11 w 108"/>
                <a:gd name="T23" fmla="*/ 11 h 109"/>
                <a:gd name="T24" fmla="*/ 97 w 108"/>
                <a:gd name="T25" fmla="*/ 11 h 109"/>
                <a:gd name="T26" fmla="*/ 97 w 108"/>
                <a:gd name="T27" fmla="*/ 9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" h="109">
                  <a:moveTo>
                    <a:pt x="10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6"/>
                    <a:pt x="2" y="109"/>
                    <a:pt x="5" y="109"/>
                  </a:cubicBezTo>
                  <a:cubicBezTo>
                    <a:pt x="103" y="109"/>
                    <a:pt x="103" y="109"/>
                    <a:pt x="103" y="109"/>
                  </a:cubicBezTo>
                  <a:cubicBezTo>
                    <a:pt x="106" y="109"/>
                    <a:pt x="108" y="106"/>
                    <a:pt x="108" y="103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8" y="3"/>
                    <a:pt x="106" y="0"/>
                    <a:pt x="103" y="0"/>
                  </a:cubicBezTo>
                  <a:close/>
                  <a:moveTo>
                    <a:pt x="97" y="98"/>
                  </a:moveTo>
                  <a:cubicBezTo>
                    <a:pt x="11" y="98"/>
                    <a:pt x="11" y="98"/>
                    <a:pt x="11" y="98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97" y="11"/>
                    <a:pt x="97" y="11"/>
                    <a:pt x="97" y="11"/>
                  </a:cubicBezTo>
                  <a:lnTo>
                    <a:pt x="97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39" name="Freeform 256">
              <a:extLst>
                <a:ext uri="{FF2B5EF4-FFF2-40B4-BE49-F238E27FC236}">
                  <a16:creationId xmlns:a16="http://schemas.microsoft.com/office/drawing/2014/main" id="{26AA9905-BC3E-4933-A451-A71DFD14E933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" y="2411"/>
              <a:ext cx="225" cy="225"/>
            </a:xfrm>
            <a:custGeom>
              <a:avLst/>
              <a:gdLst>
                <a:gd name="T0" fmla="*/ 104 w 109"/>
                <a:gd name="T1" fmla="*/ 0 h 109"/>
                <a:gd name="T2" fmla="*/ 6 w 109"/>
                <a:gd name="T3" fmla="*/ 0 h 109"/>
                <a:gd name="T4" fmla="*/ 0 w 109"/>
                <a:gd name="T5" fmla="*/ 6 h 109"/>
                <a:gd name="T6" fmla="*/ 6 w 109"/>
                <a:gd name="T7" fmla="*/ 11 h 109"/>
                <a:gd name="T8" fmla="*/ 98 w 109"/>
                <a:gd name="T9" fmla="*/ 11 h 109"/>
                <a:gd name="T10" fmla="*/ 98 w 109"/>
                <a:gd name="T11" fmla="*/ 104 h 109"/>
                <a:gd name="T12" fmla="*/ 104 w 109"/>
                <a:gd name="T13" fmla="*/ 109 h 109"/>
                <a:gd name="T14" fmla="*/ 109 w 109"/>
                <a:gd name="T15" fmla="*/ 104 h 109"/>
                <a:gd name="T16" fmla="*/ 109 w 109"/>
                <a:gd name="T17" fmla="*/ 6 h 109"/>
                <a:gd name="T18" fmla="*/ 104 w 109"/>
                <a:gd name="T1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109">
                  <a:moveTo>
                    <a:pt x="10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1"/>
                    <a:pt x="6" y="11"/>
                  </a:cubicBezTo>
                  <a:cubicBezTo>
                    <a:pt x="98" y="11"/>
                    <a:pt x="98" y="11"/>
                    <a:pt x="98" y="11"/>
                  </a:cubicBezTo>
                  <a:cubicBezTo>
                    <a:pt x="98" y="104"/>
                    <a:pt x="98" y="104"/>
                    <a:pt x="98" y="104"/>
                  </a:cubicBezTo>
                  <a:cubicBezTo>
                    <a:pt x="98" y="107"/>
                    <a:pt x="101" y="109"/>
                    <a:pt x="104" y="109"/>
                  </a:cubicBezTo>
                  <a:cubicBezTo>
                    <a:pt x="107" y="109"/>
                    <a:pt x="109" y="107"/>
                    <a:pt x="109" y="104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3"/>
                    <a:pt x="107" y="0"/>
                    <a:pt x="10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0" name="Freeform 257">
              <a:extLst>
                <a:ext uri="{FF2B5EF4-FFF2-40B4-BE49-F238E27FC236}">
                  <a16:creationId xmlns:a16="http://schemas.microsoft.com/office/drawing/2014/main" id="{1FBCF92E-2B2D-4705-9BEC-DB248FB5153B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3" y="2411"/>
              <a:ext cx="70" cy="68"/>
            </a:xfrm>
            <a:custGeom>
              <a:avLst/>
              <a:gdLst>
                <a:gd name="T0" fmla="*/ 32 w 34"/>
                <a:gd name="T1" fmla="*/ 2 h 33"/>
                <a:gd name="T2" fmla="*/ 24 w 34"/>
                <a:gd name="T3" fmla="*/ 2 h 33"/>
                <a:gd name="T4" fmla="*/ 2 w 34"/>
                <a:gd name="T5" fmla="*/ 24 h 33"/>
                <a:gd name="T6" fmla="*/ 2 w 34"/>
                <a:gd name="T7" fmla="*/ 31 h 33"/>
                <a:gd name="T8" fmla="*/ 6 w 34"/>
                <a:gd name="T9" fmla="*/ 33 h 33"/>
                <a:gd name="T10" fmla="*/ 10 w 34"/>
                <a:gd name="T11" fmla="*/ 31 h 33"/>
                <a:gd name="T12" fmla="*/ 32 w 34"/>
                <a:gd name="T13" fmla="*/ 10 h 33"/>
                <a:gd name="T14" fmla="*/ 32 w 34"/>
                <a:gd name="T1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32" y="2"/>
                  </a:moveTo>
                  <a:cubicBezTo>
                    <a:pt x="30" y="0"/>
                    <a:pt x="26" y="0"/>
                    <a:pt x="24" y="2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0" y="26"/>
                    <a:pt x="0" y="29"/>
                    <a:pt x="2" y="31"/>
                  </a:cubicBezTo>
                  <a:cubicBezTo>
                    <a:pt x="3" y="32"/>
                    <a:pt x="5" y="33"/>
                    <a:pt x="6" y="33"/>
                  </a:cubicBezTo>
                  <a:cubicBezTo>
                    <a:pt x="8" y="33"/>
                    <a:pt x="9" y="32"/>
                    <a:pt x="10" y="31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4" y="8"/>
                    <a:pt x="34" y="4"/>
                    <a:pt x="3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1" name="Freeform 258">
              <a:extLst>
                <a:ext uri="{FF2B5EF4-FFF2-40B4-BE49-F238E27FC236}">
                  <a16:creationId xmlns:a16="http://schemas.microsoft.com/office/drawing/2014/main" id="{0F988F55-F2D1-42AA-A239-182FE35B9554}"/>
                </a:ext>
              </a:extLst>
            </p:cNvPr>
            <p:cNvSpPr>
              <a:spLocks/>
            </p:cNvSpPr>
            <p:nvPr/>
          </p:nvSpPr>
          <p:spPr bwMode="auto">
            <a:xfrm>
              <a:off x="99" y="2613"/>
              <a:ext cx="70" cy="68"/>
            </a:xfrm>
            <a:custGeom>
              <a:avLst/>
              <a:gdLst>
                <a:gd name="T0" fmla="*/ 31 w 34"/>
                <a:gd name="T1" fmla="*/ 2 h 33"/>
                <a:gd name="T2" fmla="*/ 24 w 34"/>
                <a:gd name="T3" fmla="*/ 2 h 33"/>
                <a:gd name="T4" fmla="*/ 2 w 34"/>
                <a:gd name="T5" fmla="*/ 23 h 33"/>
                <a:gd name="T6" fmla="*/ 2 w 34"/>
                <a:gd name="T7" fmla="*/ 31 h 33"/>
                <a:gd name="T8" fmla="*/ 6 w 34"/>
                <a:gd name="T9" fmla="*/ 33 h 33"/>
                <a:gd name="T10" fmla="*/ 10 w 34"/>
                <a:gd name="T11" fmla="*/ 31 h 33"/>
                <a:gd name="T12" fmla="*/ 31 w 34"/>
                <a:gd name="T13" fmla="*/ 9 h 33"/>
                <a:gd name="T14" fmla="*/ 31 w 34"/>
                <a:gd name="T1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31" y="2"/>
                  </a:moveTo>
                  <a:cubicBezTo>
                    <a:pt x="29" y="0"/>
                    <a:pt x="26" y="0"/>
                    <a:pt x="24" y="2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6"/>
                    <a:pt x="0" y="29"/>
                    <a:pt x="2" y="31"/>
                  </a:cubicBezTo>
                  <a:cubicBezTo>
                    <a:pt x="3" y="32"/>
                    <a:pt x="4" y="33"/>
                    <a:pt x="6" y="33"/>
                  </a:cubicBezTo>
                  <a:cubicBezTo>
                    <a:pt x="7" y="33"/>
                    <a:pt x="9" y="32"/>
                    <a:pt x="10" y="31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4" y="7"/>
                    <a:pt x="34" y="4"/>
                    <a:pt x="3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2" name="Freeform 259">
              <a:extLst>
                <a:ext uri="{FF2B5EF4-FFF2-40B4-BE49-F238E27FC236}">
                  <a16:creationId xmlns:a16="http://schemas.microsoft.com/office/drawing/2014/main" id="{24B83404-ACA7-4C1A-BCAF-BAF5A3BF6B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" y="2411"/>
              <a:ext cx="70" cy="68"/>
            </a:xfrm>
            <a:custGeom>
              <a:avLst/>
              <a:gdLst>
                <a:gd name="T0" fmla="*/ 31 w 34"/>
                <a:gd name="T1" fmla="*/ 2 h 33"/>
                <a:gd name="T2" fmla="*/ 24 w 34"/>
                <a:gd name="T3" fmla="*/ 2 h 33"/>
                <a:gd name="T4" fmla="*/ 2 w 34"/>
                <a:gd name="T5" fmla="*/ 24 h 33"/>
                <a:gd name="T6" fmla="*/ 2 w 34"/>
                <a:gd name="T7" fmla="*/ 31 h 33"/>
                <a:gd name="T8" fmla="*/ 6 w 34"/>
                <a:gd name="T9" fmla="*/ 33 h 33"/>
                <a:gd name="T10" fmla="*/ 10 w 34"/>
                <a:gd name="T11" fmla="*/ 31 h 33"/>
                <a:gd name="T12" fmla="*/ 31 w 34"/>
                <a:gd name="T13" fmla="*/ 10 h 33"/>
                <a:gd name="T14" fmla="*/ 31 w 34"/>
                <a:gd name="T1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31" y="2"/>
                  </a:moveTo>
                  <a:cubicBezTo>
                    <a:pt x="29" y="0"/>
                    <a:pt x="26" y="0"/>
                    <a:pt x="24" y="2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0" y="26"/>
                    <a:pt x="0" y="29"/>
                    <a:pt x="2" y="31"/>
                  </a:cubicBezTo>
                  <a:cubicBezTo>
                    <a:pt x="3" y="32"/>
                    <a:pt x="4" y="33"/>
                    <a:pt x="6" y="33"/>
                  </a:cubicBezTo>
                  <a:cubicBezTo>
                    <a:pt x="7" y="33"/>
                    <a:pt x="9" y="32"/>
                    <a:pt x="10" y="3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4" y="8"/>
                    <a:pt x="34" y="4"/>
                    <a:pt x="3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3" name="Freeform 260">
              <a:extLst>
                <a:ext uri="{FF2B5EF4-FFF2-40B4-BE49-F238E27FC236}">
                  <a16:creationId xmlns:a16="http://schemas.microsoft.com/office/drawing/2014/main" id="{7BBE0BD0-3E7A-4E20-B019-671074A43A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01" y="2903"/>
              <a:ext cx="222" cy="225"/>
            </a:xfrm>
            <a:custGeom>
              <a:avLst/>
              <a:gdLst>
                <a:gd name="T0" fmla="*/ 103 w 108"/>
                <a:gd name="T1" fmla="*/ 0 h 109"/>
                <a:gd name="T2" fmla="*/ 5 w 108"/>
                <a:gd name="T3" fmla="*/ 0 h 109"/>
                <a:gd name="T4" fmla="*/ 0 w 108"/>
                <a:gd name="T5" fmla="*/ 6 h 109"/>
                <a:gd name="T6" fmla="*/ 0 w 108"/>
                <a:gd name="T7" fmla="*/ 103 h 109"/>
                <a:gd name="T8" fmla="*/ 5 w 108"/>
                <a:gd name="T9" fmla="*/ 109 h 109"/>
                <a:gd name="T10" fmla="*/ 103 w 108"/>
                <a:gd name="T11" fmla="*/ 109 h 109"/>
                <a:gd name="T12" fmla="*/ 108 w 108"/>
                <a:gd name="T13" fmla="*/ 103 h 109"/>
                <a:gd name="T14" fmla="*/ 108 w 108"/>
                <a:gd name="T15" fmla="*/ 6 h 109"/>
                <a:gd name="T16" fmla="*/ 103 w 108"/>
                <a:gd name="T17" fmla="*/ 0 h 109"/>
                <a:gd name="T18" fmla="*/ 97 w 108"/>
                <a:gd name="T19" fmla="*/ 98 h 109"/>
                <a:gd name="T20" fmla="*/ 11 w 108"/>
                <a:gd name="T21" fmla="*/ 98 h 109"/>
                <a:gd name="T22" fmla="*/ 11 w 108"/>
                <a:gd name="T23" fmla="*/ 11 h 109"/>
                <a:gd name="T24" fmla="*/ 97 w 108"/>
                <a:gd name="T25" fmla="*/ 11 h 109"/>
                <a:gd name="T26" fmla="*/ 97 w 108"/>
                <a:gd name="T27" fmla="*/ 9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" h="109">
                  <a:moveTo>
                    <a:pt x="10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6"/>
                    <a:pt x="2" y="109"/>
                    <a:pt x="5" y="109"/>
                  </a:cubicBezTo>
                  <a:cubicBezTo>
                    <a:pt x="103" y="109"/>
                    <a:pt x="103" y="109"/>
                    <a:pt x="103" y="109"/>
                  </a:cubicBezTo>
                  <a:cubicBezTo>
                    <a:pt x="106" y="109"/>
                    <a:pt x="108" y="106"/>
                    <a:pt x="108" y="103"/>
                  </a:cubicBezTo>
                  <a:cubicBezTo>
                    <a:pt x="108" y="6"/>
                    <a:pt x="108" y="6"/>
                    <a:pt x="108" y="6"/>
                  </a:cubicBezTo>
                  <a:cubicBezTo>
                    <a:pt x="108" y="3"/>
                    <a:pt x="106" y="0"/>
                    <a:pt x="103" y="0"/>
                  </a:cubicBezTo>
                  <a:close/>
                  <a:moveTo>
                    <a:pt x="97" y="98"/>
                  </a:moveTo>
                  <a:cubicBezTo>
                    <a:pt x="11" y="98"/>
                    <a:pt x="11" y="98"/>
                    <a:pt x="11" y="98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97" y="11"/>
                    <a:pt x="97" y="11"/>
                    <a:pt x="97" y="11"/>
                  </a:cubicBezTo>
                  <a:lnTo>
                    <a:pt x="97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4" name="Freeform 261">
              <a:extLst>
                <a:ext uri="{FF2B5EF4-FFF2-40B4-BE49-F238E27FC236}">
                  <a16:creationId xmlns:a16="http://schemas.microsoft.com/office/drawing/2014/main" id="{BC3210D2-8A95-46FC-8D1D-28670B71F925}"/>
                </a:ext>
              </a:extLst>
            </p:cNvPr>
            <p:cNvSpPr>
              <a:spLocks/>
            </p:cNvSpPr>
            <p:nvPr/>
          </p:nvSpPr>
          <p:spPr bwMode="auto">
            <a:xfrm>
              <a:off x="-58" y="2860"/>
              <a:ext cx="225" cy="223"/>
            </a:xfrm>
            <a:custGeom>
              <a:avLst/>
              <a:gdLst>
                <a:gd name="T0" fmla="*/ 104 w 109"/>
                <a:gd name="T1" fmla="*/ 0 h 108"/>
                <a:gd name="T2" fmla="*/ 6 w 109"/>
                <a:gd name="T3" fmla="*/ 0 h 108"/>
                <a:gd name="T4" fmla="*/ 0 w 109"/>
                <a:gd name="T5" fmla="*/ 5 h 108"/>
                <a:gd name="T6" fmla="*/ 6 w 109"/>
                <a:gd name="T7" fmla="*/ 10 h 108"/>
                <a:gd name="T8" fmla="*/ 98 w 109"/>
                <a:gd name="T9" fmla="*/ 10 h 108"/>
                <a:gd name="T10" fmla="*/ 98 w 109"/>
                <a:gd name="T11" fmla="*/ 103 h 108"/>
                <a:gd name="T12" fmla="*/ 104 w 109"/>
                <a:gd name="T13" fmla="*/ 108 h 108"/>
                <a:gd name="T14" fmla="*/ 109 w 109"/>
                <a:gd name="T15" fmla="*/ 103 h 108"/>
                <a:gd name="T16" fmla="*/ 109 w 109"/>
                <a:gd name="T17" fmla="*/ 5 h 108"/>
                <a:gd name="T18" fmla="*/ 104 w 109"/>
                <a:gd name="T19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108">
                  <a:moveTo>
                    <a:pt x="10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0"/>
                    <a:pt x="6" y="10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98" y="103"/>
                    <a:pt x="98" y="103"/>
                    <a:pt x="98" y="103"/>
                  </a:cubicBezTo>
                  <a:cubicBezTo>
                    <a:pt x="98" y="106"/>
                    <a:pt x="101" y="108"/>
                    <a:pt x="104" y="108"/>
                  </a:cubicBezTo>
                  <a:cubicBezTo>
                    <a:pt x="107" y="108"/>
                    <a:pt x="109" y="106"/>
                    <a:pt x="109" y="103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109" y="2"/>
                    <a:pt x="107" y="0"/>
                    <a:pt x="10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5" name="Freeform 262">
              <a:extLst>
                <a:ext uri="{FF2B5EF4-FFF2-40B4-BE49-F238E27FC236}">
                  <a16:creationId xmlns:a16="http://schemas.microsoft.com/office/drawing/2014/main" id="{C613700E-D92D-464D-9CC3-C5E2673F3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-103" y="2858"/>
              <a:ext cx="70" cy="68"/>
            </a:xfrm>
            <a:custGeom>
              <a:avLst/>
              <a:gdLst>
                <a:gd name="T0" fmla="*/ 32 w 34"/>
                <a:gd name="T1" fmla="*/ 2 h 33"/>
                <a:gd name="T2" fmla="*/ 24 w 34"/>
                <a:gd name="T3" fmla="*/ 2 h 33"/>
                <a:gd name="T4" fmla="*/ 2 w 34"/>
                <a:gd name="T5" fmla="*/ 24 h 33"/>
                <a:gd name="T6" fmla="*/ 2 w 34"/>
                <a:gd name="T7" fmla="*/ 32 h 33"/>
                <a:gd name="T8" fmla="*/ 6 w 34"/>
                <a:gd name="T9" fmla="*/ 33 h 33"/>
                <a:gd name="T10" fmla="*/ 10 w 34"/>
                <a:gd name="T11" fmla="*/ 32 h 33"/>
                <a:gd name="T12" fmla="*/ 32 w 34"/>
                <a:gd name="T13" fmla="*/ 10 h 33"/>
                <a:gd name="T14" fmla="*/ 32 w 34"/>
                <a:gd name="T1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32" y="2"/>
                  </a:moveTo>
                  <a:cubicBezTo>
                    <a:pt x="30" y="0"/>
                    <a:pt x="26" y="0"/>
                    <a:pt x="24" y="2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0" y="26"/>
                    <a:pt x="0" y="29"/>
                    <a:pt x="2" y="32"/>
                  </a:cubicBezTo>
                  <a:cubicBezTo>
                    <a:pt x="3" y="33"/>
                    <a:pt x="5" y="33"/>
                    <a:pt x="6" y="33"/>
                  </a:cubicBezTo>
                  <a:cubicBezTo>
                    <a:pt x="8" y="33"/>
                    <a:pt x="9" y="33"/>
                    <a:pt x="10" y="32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4" y="8"/>
                    <a:pt x="34" y="4"/>
                    <a:pt x="3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6" name="Freeform 263">
              <a:extLst>
                <a:ext uri="{FF2B5EF4-FFF2-40B4-BE49-F238E27FC236}">
                  <a16:creationId xmlns:a16="http://schemas.microsoft.com/office/drawing/2014/main" id="{8B6F7B63-5ADF-4A35-B516-D3BDDAB24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" y="3060"/>
              <a:ext cx="70" cy="68"/>
            </a:xfrm>
            <a:custGeom>
              <a:avLst/>
              <a:gdLst>
                <a:gd name="T0" fmla="*/ 31 w 34"/>
                <a:gd name="T1" fmla="*/ 2 h 33"/>
                <a:gd name="T2" fmla="*/ 24 w 34"/>
                <a:gd name="T3" fmla="*/ 2 h 33"/>
                <a:gd name="T4" fmla="*/ 2 w 34"/>
                <a:gd name="T5" fmla="*/ 24 h 33"/>
                <a:gd name="T6" fmla="*/ 2 w 34"/>
                <a:gd name="T7" fmla="*/ 31 h 33"/>
                <a:gd name="T8" fmla="*/ 6 w 34"/>
                <a:gd name="T9" fmla="*/ 33 h 33"/>
                <a:gd name="T10" fmla="*/ 10 w 34"/>
                <a:gd name="T11" fmla="*/ 31 h 33"/>
                <a:gd name="T12" fmla="*/ 31 w 34"/>
                <a:gd name="T13" fmla="*/ 10 h 33"/>
                <a:gd name="T14" fmla="*/ 31 w 34"/>
                <a:gd name="T1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31" y="2"/>
                  </a:moveTo>
                  <a:cubicBezTo>
                    <a:pt x="29" y="0"/>
                    <a:pt x="26" y="0"/>
                    <a:pt x="24" y="2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0" y="26"/>
                    <a:pt x="0" y="29"/>
                    <a:pt x="2" y="31"/>
                  </a:cubicBezTo>
                  <a:cubicBezTo>
                    <a:pt x="3" y="32"/>
                    <a:pt x="4" y="33"/>
                    <a:pt x="6" y="33"/>
                  </a:cubicBezTo>
                  <a:cubicBezTo>
                    <a:pt x="7" y="33"/>
                    <a:pt x="9" y="32"/>
                    <a:pt x="10" y="3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4" y="7"/>
                    <a:pt x="34" y="4"/>
                    <a:pt x="3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7" name="Freeform 264">
              <a:extLst>
                <a:ext uri="{FF2B5EF4-FFF2-40B4-BE49-F238E27FC236}">
                  <a16:creationId xmlns:a16="http://schemas.microsoft.com/office/drawing/2014/main" id="{ACB8BD87-B51B-422F-95E5-AE705817B1AE}"/>
                </a:ext>
              </a:extLst>
            </p:cNvPr>
            <p:cNvSpPr>
              <a:spLocks/>
            </p:cNvSpPr>
            <p:nvPr/>
          </p:nvSpPr>
          <p:spPr bwMode="auto">
            <a:xfrm>
              <a:off x="99" y="2858"/>
              <a:ext cx="70" cy="68"/>
            </a:xfrm>
            <a:custGeom>
              <a:avLst/>
              <a:gdLst>
                <a:gd name="T0" fmla="*/ 31 w 34"/>
                <a:gd name="T1" fmla="*/ 2 h 33"/>
                <a:gd name="T2" fmla="*/ 24 w 34"/>
                <a:gd name="T3" fmla="*/ 2 h 33"/>
                <a:gd name="T4" fmla="*/ 2 w 34"/>
                <a:gd name="T5" fmla="*/ 24 h 33"/>
                <a:gd name="T6" fmla="*/ 2 w 34"/>
                <a:gd name="T7" fmla="*/ 32 h 33"/>
                <a:gd name="T8" fmla="*/ 6 w 34"/>
                <a:gd name="T9" fmla="*/ 33 h 33"/>
                <a:gd name="T10" fmla="*/ 10 w 34"/>
                <a:gd name="T11" fmla="*/ 32 h 33"/>
                <a:gd name="T12" fmla="*/ 31 w 34"/>
                <a:gd name="T13" fmla="*/ 10 h 33"/>
                <a:gd name="T14" fmla="*/ 31 w 34"/>
                <a:gd name="T1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31" y="2"/>
                  </a:moveTo>
                  <a:cubicBezTo>
                    <a:pt x="29" y="0"/>
                    <a:pt x="26" y="0"/>
                    <a:pt x="24" y="2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0" y="26"/>
                    <a:pt x="0" y="29"/>
                    <a:pt x="2" y="32"/>
                  </a:cubicBezTo>
                  <a:cubicBezTo>
                    <a:pt x="3" y="33"/>
                    <a:pt x="4" y="33"/>
                    <a:pt x="6" y="33"/>
                  </a:cubicBezTo>
                  <a:cubicBezTo>
                    <a:pt x="7" y="33"/>
                    <a:pt x="9" y="33"/>
                    <a:pt x="10" y="32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4" y="8"/>
                    <a:pt x="34" y="4"/>
                    <a:pt x="3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8" name="Freeform 265">
              <a:extLst>
                <a:ext uri="{FF2B5EF4-FFF2-40B4-BE49-F238E27FC236}">
                  <a16:creationId xmlns:a16="http://schemas.microsoft.com/office/drawing/2014/main" id="{9EAFFB87-D5B5-46FD-A59B-47AC0FB94B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0" y="2802"/>
              <a:ext cx="23" cy="101"/>
            </a:xfrm>
            <a:custGeom>
              <a:avLst/>
              <a:gdLst>
                <a:gd name="T0" fmla="*/ 6 w 11"/>
                <a:gd name="T1" fmla="*/ 0 h 49"/>
                <a:gd name="T2" fmla="*/ 0 w 11"/>
                <a:gd name="T3" fmla="*/ 6 h 49"/>
                <a:gd name="T4" fmla="*/ 0 w 11"/>
                <a:gd name="T5" fmla="*/ 44 h 49"/>
                <a:gd name="T6" fmla="*/ 6 w 11"/>
                <a:gd name="T7" fmla="*/ 49 h 49"/>
                <a:gd name="T8" fmla="*/ 11 w 11"/>
                <a:gd name="T9" fmla="*/ 44 h 49"/>
                <a:gd name="T10" fmla="*/ 11 w 11"/>
                <a:gd name="T11" fmla="*/ 6 h 49"/>
                <a:gd name="T12" fmla="*/ 6 w 1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9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7"/>
                    <a:pt x="3" y="49"/>
                    <a:pt x="6" y="49"/>
                  </a:cubicBezTo>
                  <a:cubicBezTo>
                    <a:pt x="9" y="49"/>
                    <a:pt x="11" y="47"/>
                    <a:pt x="11" y="44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9" name="Freeform 266">
              <a:extLst>
                <a:ext uri="{FF2B5EF4-FFF2-40B4-BE49-F238E27FC236}">
                  <a16:creationId xmlns:a16="http://schemas.microsoft.com/office/drawing/2014/main" id="{A0064F65-28D9-409A-BBE8-4904EA43DF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13" y="2714"/>
              <a:ext cx="91" cy="134"/>
            </a:xfrm>
            <a:custGeom>
              <a:avLst/>
              <a:gdLst>
                <a:gd name="T0" fmla="*/ 22 w 44"/>
                <a:gd name="T1" fmla="*/ 0 h 65"/>
                <a:gd name="T2" fmla="*/ 0 w 44"/>
                <a:gd name="T3" fmla="*/ 22 h 65"/>
                <a:gd name="T4" fmla="*/ 0 w 44"/>
                <a:gd name="T5" fmla="*/ 43 h 65"/>
                <a:gd name="T6" fmla="*/ 22 w 44"/>
                <a:gd name="T7" fmla="*/ 65 h 65"/>
                <a:gd name="T8" fmla="*/ 44 w 44"/>
                <a:gd name="T9" fmla="*/ 43 h 65"/>
                <a:gd name="T10" fmla="*/ 44 w 44"/>
                <a:gd name="T11" fmla="*/ 22 h 65"/>
                <a:gd name="T12" fmla="*/ 22 w 44"/>
                <a:gd name="T13" fmla="*/ 0 h 65"/>
                <a:gd name="T14" fmla="*/ 33 w 44"/>
                <a:gd name="T15" fmla="*/ 43 h 65"/>
                <a:gd name="T16" fmla="*/ 22 w 44"/>
                <a:gd name="T17" fmla="*/ 54 h 65"/>
                <a:gd name="T18" fmla="*/ 11 w 44"/>
                <a:gd name="T19" fmla="*/ 43 h 65"/>
                <a:gd name="T20" fmla="*/ 11 w 44"/>
                <a:gd name="T21" fmla="*/ 22 h 65"/>
                <a:gd name="T22" fmla="*/ 22 w 44"/>
                <a:gd name="T23" fmla="*/ 11 h 65"/>
                <a:gd name="T24" fmla="*/ 33 w 44"/>
                <a:gd name="T25" fmla="*/ 22 h 65"/>
                <a:gd name="T26" fmla="*/ 33 w 44"/>
                <a:gd name="T27" fmla="*/ 4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65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55"/>
                    <a:pt x="10" y="65"/>
                    <a:pt x="22" y="65"/>
                  </a:cubicBezTo>
                  <a:cubicBezTo>
                    <a:pt x="34" y="65"/>
                    <a:pt x="44" y="55"/>
                    <a:pt x="44" y="43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10"/>
                    <a:pt x="34" y="0"/>
                    <a:pt x="22" y="0"/>
                  </a:cubicBezTo>
                  <a:close/>
                  <a:moveTo>
                    <a:pt x="33" y="43"/>
                  </a:moveTo>
                  <a:cubicBezTo>
                    <a:pt x="33" y="49"/>
                    <a:pt x="28" y="54"/>
                    <a:pt x="22" y="54"/>
                  </a:cubicBezTo>
                  <a:cubicBezTo>
                    <a:pt x="16" y="54"/>
                    <a:pt x="11" y="49"/>
                    <a:pt x="11" y="43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16"/>
                    <a:pt x="16" y="11"/>
                    <a:pt x="22" y="11"/>
                  </a:cubicBezTo>
                  <a:cubicBezTo>
                    <a:pt x="28" y="11"/>
                    <a:pt x="33" y="16"/>
                    <a:pt x="33" y="22"/>
                  </a:cubicBezTo>
                  <a:lnTo>
                    <a:pt x="3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50" name="Freeform 267">
              <a:extLst>
                <a:ext uri="{FF2B5EF4-FFF2-40B4-BE49-F238E27FC236}">
                  <a16:creationId xmlns:a16="http://schemas.microsoft.com/office/drawing/2014/main" id="{C0B289A2-FB52-435F-889C-6D4F58104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" y="2658"/>
              <a:ext cx="23" cy="101"/>
            </a:xfrm>
            <a:custGeom>
              <a:avLst/>
              <a:gdLst>
                <a:gd name="T0" fmla="*/ 6 w 11"/>
                <a:gd name="T1" fmla="*/ 0 h 49"/>
                <a:gd name="T2" fmla="*/ 0 w 11"/>
                <a:gd name="T3" fmla="*/ 5 h 49"/>
                <a:gd name="T4" fmla="*/ 0 w 11"/>
                <a:gd name="T5" fmla="*/ 43 h 49"/>
                <a:gd name="T6" fmla="*/ 6 w 11"/>
                <a:gd name="T7" fmla="*/ 49 h 49"/>
                <a:gd name="T8" fmla="*/ 11 w 11"/>
                <a:gd name="T9" fmla="*/ 43 h 49"/>
                <a:gd name="T10" fmla="*/ 11 w 11"/>
                <a:gd name="T11" fmla="*/ 5 h 49"/>
                <a:gd name="T12" fmla="*/ 6 w 1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9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6"/>
                    <a:pt x="3" y="49"/>
                    <a:pt x="6" y="49"/>
                  </a:cubicBezTo>
                  <a:cubicBezTo>
                    <a:pt x="9" y="49"/>
                    <a:pt x="11" y="46"/>
                    <a:pt x="11" y="43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2"/>
                    <a:pt x="9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51" name="Freeform 268">
              <a:extLst>
                <a:ext uri="{FF2B5EF4-FFF2-40B4-BE49-F238E27FC236}">
                  <a16:creationId xmlns:a16="http://schemas.microsoft.com/office/drawing/2014/main" id="{F302B24B-E21C-4BF4-8975-717CA7E225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" y="2982"/>
              <a:ext cx="101" cy="22"/>
            </a:xfrm>
            <a:custGeom>
              <a:avLst/>
              <a:gdLst>
                <a:gd name="T0" fmla="*/ 44 w 49"/>
                <a:gd name="T1" fmla="*/ 0 h 11"/>
                <a:gd name="T2" fmla="*/ 6 w 49"/>
                <a:gd name="T3" fmla="*/ 0 h 11"/>
                <a:gd name="T4" fmla="*/ 0 w 49"/>
                <a:gd name="T5" fmla="*/ 6 h 11"/>
                <a:gd name="T6" fmla="*/ 6 w 49"/>
                <a:gd name="T7" fmla="*/ 11 h 11"/>
                <a:gd name="T8" fmla="*/ 44 w 49"/>
                <a:gd name="T9" fmla="*/ 11 h 11"/>
                <a:gd name="T10" fmla="*/ 49 w 49"/>
                <a:gd name="T11" fmla="*/ 6 h 11"/>
                <a:gd name="T12" fmla="*/ 44 w 49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11">
                  <a:moveTo>
                    <a:pt x="4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1"/>
                    <a:pt x="6" y="11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7" y="11"/>
                    <a:pt x="49" y="9"/>
                    <a:pt x="49" y="6"/>
                  </a:cubicBezTo>
                  <a:cubicBezTo>
                    <a:pt x="49" y="3"/>
                    <a:pt x="47" y="0"/>
                    <a:pt x="4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52" name="Freeform 269">
              <a:extLst>
                <a:ext uri="{FF2B5EF4-FFF2-40B4-BE49-F238E27FC236}">
                  <a16:creationId xmlns:a16="http://schemas.microsoft.com/office/drawing/2014/main" id="{83BE1A28-0FC3-43BC-8FC9-33D73CBFB6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" y="2949"/>
              <a:ext cx="136" cy="88"/>
            </a:xfrm>
            <a:custGeom>
              <a:avLst/>
              <a:gdLst>
                <a:gd name="T0" fmla="*/ 44 w 66"/>
                <a:gd name="T1" fmla="*/ 0 h 43"/>
                <a:gd name="T2" fmla="*/ 22 w 66"/>
                <a:gd name="T3" fmla="*/ 0 h 43"/>
                <a:gd name="T4" fmla="*/ 0 w 66"/>
                <a:gd name="T5" fmla="*/ 22 h 43"/>
                <a:gd name="T6" fmla="*/ 22 w 66"/>
                <a:gd name="T7" fmla="*/ 43 h 43"/>
                <a:gd name="T8" fmla="*/ 44 w 66"/>
                <a:gd name="T9" fmla="*/ 43 h 43"/>
                <a:gd name="T10" fmla="*/ 66 w 66"/>
                <a:gd name="T11" fmla="*/ 22 h 43"/>
                <a:gd name="T12" fmla="*/ 44 w 66"/>
                <a:gd name="T13" fmla="*/ 0 h 43"/>
                <a:gd name="T14" fmla="*/ 44 w 66"/>
                <a:gd name="T15" fmla="*/ 33 h 43"/>
                <a:gd name="T16" fmla="*/ 22 w 66"/>
                <a:gd name="T17" fmla="*/ 33 h 43"/>
                <a:gd name="T18" fmla="*/ 11 w 66"/>
                <a:gd name="T19" fmla="*/ 22 h 43"/>
                <a:gd name="T20" fmla="*/ 22 w 66"/>
                <a:gd name="T21" fmla="*/ 11 h 43"/>
                <a:gd name="T22" fmla="*/ 44 w 66"/>
                <a:gd name="T23" fmla="*/ 11 h 43"/>
                <a:gd name="T24" fmla="*/ 55 w 66"/>
                <a:gd name="T25" fmla="*/ 22 h 43"/>
                <a:gd name="T26" fmla="*/ 44 w 66"/>
                <a:gd name="T27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" h="43">
                  <a:moveTo>
                    <a:pt x="44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3"/>
                    <a:pt x="22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56" y="43"/>
                    <a:pt x="66" y="34"/>
                    <a:pt x="66" y="22"/>
                  </a:cubicBezTo>
                  <a:cubicBezTo>
                    <a:pt x="66" y="10"/>
                    <a:pt x="56" y="0"/>
                    <a:pt x="44" y="0"/>
                  </a:cubicBezTo>
                  <a:close/>
                  <a:moveTo>
                    <a:pt x="44" y="33"/>
                  </a:moveTo>
                  <a:cubicBezTo>
                    <a:pt x="22" y="33"/>
                    <a:pt x="22" y="33"/>
                    <a:pt x="22" y="33"/>
                  </a:cubicBezTo>
                  <a:cubicBezTo>
                    <a:pt x="16" y="33"/>
                    <a:pt x="11" y="28"/>
                    <a:pt x="11" y="22"/>
                  </a:cubicBezTo>
                  <a:cubicBezTo>
                    <a:pt x="11" y="16"/>
                    <a:pt x="16" y="11"/>
                    <a:pt x="22" y="11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50" y="11"/>
                    <a:pt x="55" y="16"/>
                    <a:pt x="55" y="22"/>
                  </a:cubicBezTo>
                  <a:cubicBezTo>
                    <a:pt x="55" y="28"/>
                    <a:pt x="50" y="33"/>
                    <a:pt x="44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53" name="Freeform 270">
              <a:extLst>
                <a:ext uri="{FF2B5EF4-FFF2-40B4-BE49-F238E27FC236}">
                  <a16:creationId xmlns:a16="http://schemas.microsoft.com/office/drawing/2014/main" id="{9A1ABDF2-9A93-4612-844C-DE01AA703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" y="2982"/>
              <a:ext cx="89" cy="22"/>
            </a:xfrm>
            <a:custGeom>
              <a:avLst/>
              <a:gdLst>
                <a:gd name="T0" fmla="*/ 38 w 43"/>
                <a:gd name="T1" fmla="*/ 0 h 11"/>
                <a:gd name="T2" fmla="*/ 5 w 43"/>
                <a:gd name="T3" fmla="*/ 0 h 11"/>
                <a:gd name="T4" fmla="*/ 0 w 43"/>
                <a:gd name="T5" fmla="*/ 6 h 11"/>
                <a:gd name="T6" fmla="*/ 5 w 43"/>
                <a:gd name="T7" fmla="*/ 11 h 11"/>
                <a:gd name="T8" fmla="*/ 38 w 43"/>
                <a:gd name="T9" fmla="*/ 11 h 11"/>
                <a:gd name="T10" fmla="*/ 43 w 43"/>
                <a:gd name="T11" fmla="*/ 6 h 11"/>
                <a:gd name="T12" fmla="*/ 38 w 43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1">
                  <a:moveTo>
                    <a:pt x="38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"/>
                    <a:pt x="2" y="11"/>
                    <a:pt x="5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41" y="11"/>
                    <a:pt x="43" y="9"/>
                    <a:pt x="43" y="6"/>
                  </a:cubicBezTo>
                  <a:cubicBezTo>
                    <a:pt x="43" y="3"/>
                    <a:pt x="41" y="0"/>
                    <a:pt x="3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54" name="Freeform 271">
              <a:extLst>
                <a:ext uri="{FF2B5EF4-FFF2-40B4-BE49-F238E27FC236}">
                  <a16:creationId xmlns:a16="http://schemas.microsoft.com/office/drawing/2014/main" id="{839F1517-2DE4-48B2-9CAA-9FFEEA71DD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" y="2535"/>
              <a:ext cx="101" cy="22"/>
            </a:xfrm>
            <a:custGeom>
              <a:avLst/>
              <a:gdLst>
                <a:gd name="T0" fmla="*/ 44 w 49"/>
                <a:gd name="T1" fmla="*/ 0 h 11"/>
                <a:gd name="T2" fmla="*/ 6 w 49"/>
                <a:gd name="T3" fmla="*/ 0 h 11"/>
                <a:gd name="T4" fmla="*/ 0 w 49"/>
                <a:gd name="T5" fmla="*/ 6 h 11"/>
                <a:gd name="T6" fmla="*/ 6 w 49"/>
                <a:gd name="T7" fmla="*/ 11 h 11"/>
                <a:gd name="T8" fmla="*/ 44 w 49"/>
                <a:gd name="T9" fmla="*/ 11 h 11"/>
                <a:gd name="T10" fmla="*/ 49 w 49"/>
                <a:gd name="T11" fmla="*/ 6 h 11"/>
                <a:gd name="T12" fmla="*/ 44 w 49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11">
                  <a:moveTo>
                    <a:pt x="4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1"/>
                    <a:pt x="6" y="11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47" y="11"/>
                    <a:pt x="49" y="9"/>
                    <a:pt x="49" y="6"/>
                  </a:cubicBezTo>
                  <a:cubicBezTo>
                    <a:pt x="49" y="3"/>
                    <a:pt x="47" y="0"/>
                    <a:pt x="4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55" name="Freeform 272">
              <a:extLst>
                <a:ext uri="{FF2B5EF4-FFF2-40B4-BE49-F238E27FC236}">
                  <a16:creationId xmlns:a16="http://schemas.microsoft.com/office/drawing/2014/main" id="{7CC4E9DB-F986-43CE-B9C6-FD41C7A676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" y="2502"/>
              <a:ext cx="136" cy="88"/>
            </a:xfrm>
            <a:custGeom>
              <a:avLst/>
              <a:gdLst>
                <a:gd name="T0" fmla="*/ 44 w 66"/>
                <a:gd name="T1" fmla="*/ 0 h 43"/>
                <a:gd name="T2" fmla="*/ 22 w 66"/>
                <a:gd name="T3" fmla="*/ 0 h 43"/>
                <a:gd name="T4" fmla="*/ 0 w 66"/>
                <a:gd name="T5" fmla="*/ 22 h 43"/>
                <a:gd name="T6" fmla="*/ 22 w 66"/>
                <a:gd name="T7" fmla="*/ 43 h 43"/>
                <a:gd name="T8" fmla="*/ 44 w 66"/>
                <a:gd name="T9" fmla="*/ 43 h 43"/>
                <a:gd name="T10" fmla="*/ 66 w 66"/>
                <a:gd name="T11" fmla="*/ 22 h 43"/>
                <a:gd name="T12" fmla="*/ 44 w 66"/>
                <a:gd name="T13" fmla="*/ 0 h 43"/>
                <a:gd name="T14" fmla="*/ 44 w 66"/>
                <a:gd name="T15" fmla="*/ 32 h 43"/>
                <a:gd name="T16" fmla="*/ 22 w 66"/>
                <a:gd name="T17" fmla="*/ 32 h 43"/>
                <a:gd name="T18" fmla="*/ 11 w 66"/>
                <a:gd name="T19" fmla="*/ 22 h 43"/>
                <a:gd name="T20" fmla="*/ 22 w 66"/>
                <a:gd name="T21" fmla="*/ 11 h 43"/>
                <a:gd name="T22" fmla="*/ 44 w 66"/>
                <a:gd name="T23" fmla="*/ 11 h 43"/>
                <a:gd name="T24" fmla="*/ 55 w 66"/>
                <a:gd name="T25" fmla="*/ 22 h 43"/>
                <a:gd name="T26" fmla="*/ 44 w 66"/>
                <a:gd name="T27" fmla="*/ 32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6" h="43">
                  <a:moveTo>
                    <a:pt x="44" y="0"/>
                  </a:move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34"/>
                    <a:pt x="10" y="43"/>
                    <a:pt x="22" y="43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56" y="43"/>
                    <a:pt x="66" y="34"/>
                    <a:pt x="66" y="22"/>
                  </a:cubicBezTo>
                  <a:cubicBezTo>
                    <a:pt x="66" y="10"/>
                    <a:pt x="56" y="0"/>
                    <a:pt x="44" y="0"/>
                  </a:cubicBezTo>
                  <a:close/>
                  <a:moveTo>
                    <a:pt x="44" y="32"/>
                  </a:moveTo>
                  <a:cubicBezTo>
                    <a:pt x="22" y="32"/>
                    <a:pt x="22" y="32"/>
                    <a:pt x="22" y="32"/>
                  </a:cubicBezTo>
                  <a:cubicBezTo>
                    <a:pt x="16" y="32"/>
                    <a:pt x="11" y="28"/>
                    <a:pt x="11" y="22"/>
                  </a:cubicBezTo>
                  <a:cubicBezTo>
                    <a:pt x="11" y="16"/>
                    <a:pt x="16" y="11"/>
                    <a:pt x="22" y="11"/>
                  </a:cubicBezTo>
                  <a:cubicBezTo>
                    <a:pt x="44" y="11"/>
                    <a:pt x="44" y="11"/>
                    <a:pt x="44" y="11"/>
                  </a:cubicBezTo>
                  <a:cubicBezTo>
                    <a:pt x="50" y="11"/>
                    <a:pt x="55" y="16"/>
                    <a:pt x="55" y="22"/>
                  </a:cubicBezTo>
                  <a:cubicBezTo>
                    <a:pt x="55" y="28"/>
                    <a:pt x="50" y="32"/>
                    <a:pt x="44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56" name="Freeform 273">
              <a:extLst>
                <a:ext uri="{FF2B5EF4-FFF2-40B4-BE49-F238E27FC236}">
                  <a16:creationId xmlns:a16="http://schemas.microsoft.com/office/drawing/2014/main" id="{8E34187B-4D32-468E-9FA0-E484D29513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67" y="2535"/>
              <a:ext cx="89" cy="22"/>
            </a:xfrm>
            <a:custGeom>
              <a:avLst/>
              <a:gdLst>
                <a:gd name="T0" fmla="*/ 38 w 43"/>
                <a:gd name="T1" fmla="*/ 0 h 11"/>
                <a:gd name="T2" fmla="*/ 5 w 43"/>
                <a:gd name="T3" fmla="*/ 0 h 11"/>
                <a:gd name="T4" fmla="*/ 0 w 43"/>
                <a:gd name="T5" fmla="*/ 6 h 11"/>
                <a:gd name="T6" fmla="*/ 5 w 43"/>
                <a:gd name="T7" fmla="*/ 11 h 11"/>
                <a:gd name="T8" fmla="*/ 38 w 43"/>
                <a:gd name="T9" fmla="*/ 11 h 11"/>
                <a:gd name="T10" fmla="*/ 43 w 43"/>
                <a:gd name="T11" fmla="*/ 6 h 11"/>
                <a:gd name="T12" fmla="*/ 38 w 43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11">
                  <a:moveTo>
                    <a:pt x="38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9"/>
                    <a:pt x="2" y="11"/>
                    <a:pt x="5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41" y="11"/>
                    <a:pt x="43" y="9"/>
                    <a:pt x="43" y="6"/>
                  </a:cubicBezTo>
                  <a:cubicBezTo>
                    <a:pt x="43" y="3"/>
                    <a:pt x="41" y="0"/>
                    <a:pt x="3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57" name="Freeform 274">
              <a:extLst>
                <a:ext uri="{FF2B5EF4-FFF2-40B4-BE49-F238E27FC236}">
                  <a16:creationId xmlns:a16="http://schemas.microsoft.com/office/drawing/2014/main" id="{B5B98149-32E3-4005-BC45-D1A73FD944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" y="2456"/>
              <a:ext cx="225" cy="225"/>
            </a:xfrm>
            <a:custGeom>
              <a:avLst/>
              <a:gdLst>
                <a:gd name="T0" fmla="*/ 104 w 109"/>
                <a:gd name="T1" fmla="*/ 0 h 109"/>
                <a:gd name="T2" fmla="*/ 6 w 109"/>
                <a:gd name="T3" fmla="*/ 0 h 109"/>
                <a:gd name="T4" fmla="*/ 0 w 109"/>
                <a:gd name="T5" fmla="*/ 6 h 109"/>
                <a:gd name="T6" fmla="*/ 0 w 109"/>
                <a:gd name="T7" fmla="*/ 103 h 109"/>
                <a:gd name="T8" fmla="*/ 6 w 109"/>
                <a:gd name="T9" fmla="*/ 109 h 109"/>
                <a:gd name="T10" fmla="*/ 104 w 109"/>
                <a:gd name="T11" fmla="*/ 109 h 109"/>
                <a:gd name="T12" fmla="*/ 109 w 109"/>
                <a:gd name="T13" fmla="*/ 103 h 109"/>
                <a:gd name="T14" fmla="*/ 109 w 109"/>
                <a:gd name="T15" fmla="*/ 6 h 109"/>
                <a:gd name="T16" fmla="*/ 104 w 109"/>
                <a:gd name="T17" fmla="*/ 0 h 109"/>
                <a:gd name="T18" fmla="*/ 98 w 109"/>
                <a:gd name="T19" fmla="*/ 98 h 109"/>
                <a:gd name="T20" fmla="*/ 11 w 109"/>
                <a:gd name="T21" fmla="*/ 98 h 109"/>
                <a:gd name="T22" fmla="*/ 11 w 109"/>
                <a:gd name="T23" fmla="*/ 11 h 109"/>
                <a:gd name="T24" fmla="*/ 98 w 109"/>
                <a:gd name="T25" fmla="*/ 11 h 109"/>
                <a:gd name="T26" fmla="*/ 98 w 109"/>
                <a:gd name="T27" fmla="*/ 9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09">
                  <a:moveTo>
                    <a:pt x="10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6"/>
                    <a:pt x="3" y="109"/>
                    <a:pt x="6" y="109"/>
                  </a:cubicBezTo>
                  <a:cubicBezTo>
                    <a:pt x="104" y="109"/>
                    <a:pt x="104" y="109"/>
                    <a:pt x="104" y="109"/>
                  </a:cubicBezTo>
                  <a:cubicBezTo>
                    <a:pt x="107" y="109"/>
                    <a:pt x="109" y="106"/>
                    <a:pt x="109" y="103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3"/>
                    <a:pt x="107" y="0"/>
                    <a:pt x="104" y="0"/>
                  </a:cubicBezTo>
                  <a:close/>
                  <a:moveTo>
                    <a:pt x="98" y="98"/>
                  </a:moveTo>
                  <a:cubicBezTo>
                    <a:pt x="11" y="98"/>
                    <a:pt x="11" y="98"/>
                    <a:pt x="11" y="98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98" y="11"/>
                    <a:pt x="98" y="11"/>
                    <a:pt x="98" y="11"/>
                  </a:cubicBezTo>
                  <a:lnTo>
                    <a:pt x="98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58" name="Freeform 275">
              <a:extLst>
                <a:ext uri="{FF2B5EF4-FFF2-40B4-BE49-F238E27FC236}">
                  <a16:creationId xmlns:a16="http://schemas.microsoft.com/office/drawing/2014/main" id="{A6F5960F-95DD-4D43-94C5-578B64DBEE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" y="2411"/>
              <a:ext cx="224" cy="225"/>
            </a:xfrm>
            <a:custGeom>
              <a:avLst/>
              <a:gdLst>
                <a:gd name="T0" fmla="*/ 103 w 109"/>
                <a:gd name="T1" fmla="*/ 0 h 109"/>
                <a:gd name="T2" fmla="*/ 6 w 109"/>
                <a:gd name="T3" fmla="*/ 0 h 109"/>
                <a:gd name="T4" fmla="*/ 0 w 109"/>
                <a:gd name="T5" fmla="*/ 6 h 109"/>
                <a:gd name="T6" fmla="*/ 6 w 109"/>
                <a:gd name="T7" fmla="*/ 11 h 109"/>
                <a:gd name="T8" fmla="*/ 98 w 109"/>
                <a:gd name="T9" fmla="*/ 11 h 109"/>
                <a:gd name="T10" fmla="*/ 98 w 109"/>
                <a:gd name="T11" fmla="*/ 104 h 109"/>
                <a:gd name="T12" fmla="*/ 103 w 109"/>
                <a:gd name="T13" fmla="*/ 109 h 109"/>
                <a:gd name="T14" fmla="*/ 109 w 109"/>
                <a:gd name="T15" fmla="*/ 104 h 109"/>
                <a:gd name="T16" fmla="*/ 109 w 109"/>
                <a:gd name="T17" fmla="*/ 6 h 109"/>
                <a:gd name="T18" fmla="*/ 103 w 109"/>
                <a:gd name="T1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109">
                  <a:moveTo>
                    <a:pt x="103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9"/>
                    <a:pt x="3" y="11"/>
                    <a:pt x="6" y="11"/>
                  </a:cubicBezTo>
                  <a:cubicBezTo>
                    <a:pt x="98" y="11"/>
                    <a:pt x="98" y="11"/>
                    <a:pt x="98" y="11"/>
                  </a:cubicBezTo>
                  <a:cubicBezTo>
                    <a:pt x="98" y="104"/>
                    <a:pt x="98" y="104"/>
                    <a:pt x="98" y="104"/>
                  </a:cubicBezTo>
                  <a:cubicBezTo>
                    <a:pt x="98" y="107"/>
                    <a:pt x="100" y="109"/>
                    <a:pt x="103" y="109"/>
                  </a:cubicBezTo>
                  <a:cubicBezTo>
                    <a:pt x="106" y="109"/>
                    <a:pt x="109" y="107"/>
                    <a:pt x="109" y="104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3"/>
                    <a:pt x="106" y="0"/>
                    <a:pt x="10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59" name="Freeform 276">
              <a:extLst>
                <a:ext uri="{FF2B5EF4-FFF2-40B4-BE49-F238E27FC236}">
                  <a16:creationId xmlns:a16="http://schemas.microsoft.com/office/drawing/2014/main" id="{03312A8D-812B-4EEB-BB78-F81AC3D541E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" y="2411"/>
              <a:ext cx="70" cy="68"/>
            </a:xfrm>
            <a:custGeom>
              <a:avLst/>
              <a:gdLst>
                <a:gd name="T0" fmla="*/ 31 w 34"/>
                <a:gd name="T1" fmla="*/ 2 h 33"/>
                <a:gd name="T2" fmla="*/ 24 w 34"/>
                <a:gd name="T3" fmla="*/ 2 h 33"/>
                <a:gd name="T4" fmla="*/ 2 w 34"/>
                <a:gd name="T5" fmla="*/ 24 h 33"/>
                <a:gd name="T6" fmla="*/ 2 w 34"/>
                <a:gd name="T7" fmla="*/ 31 h 33"/>
                <a:gd name="T8" fmla="*/ 6 w 34"/>
                <a:gd name="T9" fmla="*/ 33 h 33"/>
                <a:gd name="T10" fmla="*/ 10 w 34"/>
                <a:gd name="T11" fmla="*/ 31 h 33"/>
                <a:gd name="T12" fmla="*/ 31 w 34"/>
                <a:gd name="T13" fmla="*/ 10 h 33"/>
                <a:gd name="T14" fmla="*/ 31 w 34"/>
                <a:gd name="T1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31" y="2"/>
                  </a:moveTo>
                  <a:cubicBezTo>
                    <a:pt x="29" y="0"/>
                    <a:pt x="26" y="0"/>
                    <a:pt x="24" y="2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0" y="26"/>
                    <a:pt x="0" y="29"/>
                    <a:pt x="2" y="31"/>
                  </a:cubicBezTo>
                  <a:cubicBezTo>
                    <a:pt x="3" y="32"/>
                    <a:pt x="4" y="33"/>
                    <a:pt x="6" y="33"/>
                  </a:cubicBezTo>
                  <a:cubicBezTo>
                    <a:pt x="7" y="33"/>
                    <a:pt x="9" y="32"/>
                    <a:pt x="10" y="3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4" y="8"/>
                    <a:pt x="34" y="4"/>
                    <a:pt x="3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60" name="Freeform 277">
              <a:extLst>
                <a:ext uri="{FF2B5EF4-FFF2-40B4-BE49-F238E27FC236}">
                  <a16:creationId xmlns:a16="http://schemas.microsoft.com/office/drawing/2014/main" id="{81F95A47-DBF9-4FCC-9749-13382CA0EC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" y="2613"/>
              <a:ext cx="68" cy="68"/>
            </a:xfrm>
            <a:custGeom>
              <a:avLst/>
              <a:gdLst>
                <a:gd name="T0" fmla="*/ 31 w 33"/>
                <a:gd name="T1" fmla="*/ 2 h 33"/>
                <a:gd name="T2" fmla="*/ 23 w 33"/>
                <a:gd name="T3" fmla="*/ 2 h 33"/>
                <a:gd name="T4" fmla="*/ 2 w 33"/>
                <a:gd name="T5" fmla="*/ 23 h 33"/>
                <a:gd name="T6" fmla="*/ 2 w 33"/>
                <a:gd name="T7" fmla="*/ 31 h 33"/>
                <a:gd name="T8" fmla="*/ 6 w 33"/>
                <a:gd name="T9" fmla="*/ 33 h 33"/>
                <a:gd name="T10" fmla="*/ 9 w 33"/>
                <a:gd name="T11" fmla="*/ 31 h 33"/>
                <a:gd name="T12" fmla="*/ 31 w 33"/>
                <a:gd name="T13" fmla="*/ 9 h 33"/>
                <a:gd name="T14" fmla="*/ 31 w 33"/>
                <a:gd name="T1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33">
                  <a:moveTo>
                    <a:pt x="31" y="2"/>
                  </a:moveTo>
                  <a:cubicBezTo>
                    <a:pt x="29" y="0"/>
                    <a:pt x="26" y="0"/>
                    <a:pt x="23" y="2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0" y="26"/>
                    <a:pt x="0" y="29"/>
                    <a:pt x="2" y="31"/>
                  </a:cubicBezTo>
                  <a:cubicBezTo>
                    <a:pt x="3" y="32"/>
                    <a:pt x="4" y="33"/>
                    <a:pt x="6" y="33"/>
                  </a:cubicBezTo>
                  <a:cubicBezTo>
                    <a:pt x="7" y="33"/>
                    <a:pt x="8" y="32"/>
                    <a:pt x="9" y="31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3" y="7"/>
                    <a:pt x="33" y="4"/>
                    <a:pt x="3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61" name="Freeform 278">
              <a:extLst>
                <a:ext uri="{FF2B5EF4-FFF2-40B4-BE49-F238E27FC236}">
                  <a16:creationId xmlns:a16="http://schemas.microsoft.com/office/drawing/2014/main" id="{A8C7F72D-2DE6-47B0-B442-BEE55140E9C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" y="2411"/>
              <a:ext cx="68" cy="68"/>
            </a:xfrm>
            <a:custGeom>
              <a:avLst/>
              <a:gdLst>
                <a:gd name="T0" fmla="*/ 31 w 33"/>
                <a:gd name="T1" fmla="*/ 2 h 33"/>
                <a:gd name="T2" fmla="*/ 23 w 33"/>
                <a:gd name="T3" fmla="*/ 2 h 33"/>
                <a:gd name="T4" fmla="*/ 2 w 33"/>
                <a:gd name="T5" fmla="*/ 24 h 33"/>
                <a:gd name="T6" fmla="*/ 2 w 33"/>
                <a:gd name="T7" fmla="*/ 31 h 33"/>
                <a:gd name="T8" fmla="*/ 6 w 33"/>
                <a:gd name="T9" fmla="*/ 33 h 33"/>
                <a:gd name="T10" fmla="*/ 9 w 33"/>
                <a:gd name="T11" fmla="*/ 31 h 33"/>
                <a:gd name="T12" fmla="*/ 31 w 33"/>
                <a:gd name="T13" fmla="*/ 10 h 33"/>
                <a:gd name="T14" fmla="*/ 31 w 33"/>
                <a:gd name="T1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33">
                  <a:moveTo>
                    <a:pt x="31" y="2"/>
                  </a:moveTo>
                  <a:cubicBezTo>
                    <a:pt x="29" y="0"/>
                    <a:pt x="26" y="0"/>
                    <a:pt x="23" y="2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0" y="26"/>
                    <a:pt x="0" y="29"/>
                    <a:pt x="2" y="31"/>
                  </a:cubicBezTo>
                  <a:cubicBezTo>
                    <a:pt x="3" y="32"/>
                    <a:pt x="4" y="33"/>
                    <a:pt x="6" y="33"/>
                  </a:cubicBezTo>
                  <a:cubicBezTo>
                    <a:pt x="7" y="33"/>
                    <a:pt x="8" y="32"/>
                    <a:pt x="9" y="3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3" y="8"/>
                    <a:pt x="33" y="4"/>
                    <a:pt x="3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62" name="Freeform 279">
              <a:extLst>
                <a:ext uri="{FF2B5EF4-FFF2-40B4-BE49-F238E27FC236}">
                  <a16:creationId xmlns:a16="http://schemas.microsoft.com/office/drawing/2014/main" id="{01622EE0-3917-45FA-B9F1-3F3B6A5825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" y="2903"/>
              <a:ext cx="225" cy="225"/>
            </a:xfrm>
            <a:custGeom>
              <a:avLst/>
              <a:gdLst>
                <a:gd name="T0" fmla="*/ 104 w 109"/>
                <a:gd name="T1" fmla="*/ 0 h 109"/>
                <a:gd name="T2" fmla="*/ 6 w 109"/>
                <a:gd name="T3" fmla="*/ 0 h 109"/>
                <a:gd name="T4" fmla="*/ 0 w 109"/>
                <a:gd name="T5" fmla="*/ 6 h 109"/>
                <a:gd name="T6" fmla="*/ 0 w 109"/>
                <a:gd name="T7" fmla="*/ 103 h 109"/>
                <a:gd name="T8" fmla="*/ 6 w 109"/>
                <a:gd name="T9" fmla="*/ 109 h 109"/>
                <a:gd name="T10" fmla="*/ 104 w 109"/>
                <a:gd name="T11" fmla="*/ 109 h 109"/>
                <a:gd name="T12" fmla="*/ 109 w 109"/>
                <a:gd name="T13" fmla="*/ 103 h 109"/>
                <a:gd name="T14" fmla="*/ 109 w 109"/>
                <a:gd name="T15" fmla="*/ 6 h 109"/>
                <a:gd name="T16" fmla="*/ 104 w 109"/>
                <a:gd name="T17" fmla="*/ 0 h 109"/>
                <a:gd name="T18" fmla="*/ 98 w 109"/>
                <a:gd name="T19" fmla="*/ 98 h 109"/>
                <a:gd name="T20" fmla="*/ 11 w 109"/>
                <a:gd name="T21" fmla="*/ 98 h 109"/>
                <a:gd name="T22" fmla="*/ 11 w 109"/>
                <a:gd name="T23" fmla="*/ 11 h 109"/>
                <a:gd name="T24" fmla="*/ 98 w 109"/>
                <a:gd name="T25" fmla="*/ 11 h 109"/>
                <a:gd name="T26" fmla="*/ 98 w 109"/>
                <a:gd name="T27" fmla="*/ 9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9" h="109">
                  <a:moveTo>
                    <a:pt x="104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103"/>
                    <a:pt x="0" y="103"/>
                    <a:pt x="0" y="103"/>
                  </a:cubicBezTo>
                  <a:cubicBezTo>
                    <a:pt x="0" y="106"/>
                    <a:pt x="3" y="109"/>
                    <a:pt x="6" y="109"/>
                  </a:cubicBezTo>
                  <a:cubicBezTo>
                    <a:pt x="104" y="109"/>
                    <a:pt x="104" y="109"/>
                    <a:pt x="104" y="109"/>
                  </a:cubicBezTo>
                  <a:cubicBezTo>
                    <a:pt x="107" y="109"/>
                    <a:pt x="109" y="106"/>
                    <a:pt x="109" y="103"/>
                  </a:cubicBezTo>
                  <a:cubicBezTo>
                    <a:pt x="109" y="6"/>
                    <a:pt x="109" y="6"/>
                    <a:pt x="109" y="6"/>
                  </a:cubicBezTo>
                  <a:cubicBezTo>
                    <a:pt x="109" y="3"/>
                    <a:pt x="107" y="0"/>
                    <a:pt x="104" y="0"/>
                  </a:cubicBezTo>
                  <a:close/>
                  <a:moveTo>
                    <a:pt x="98" y="98"/>
                  </a:moveTo>
                  <a:cubicBezTo>
                    <a:pt x="11" y="98"/>
                    <a:pt x="11" y="98"/>
                    <a:pt x="11" y="98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98" y="11"/>
                    <a:pt x="98" y="11"/>
                    <a:pt x="98" y="11"/>
                  </a:cubicBezTo>
                  <a:lnTo>
                    <a:pt x="98" y="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63" name="Freeform 280">
              <a:extLst>
                <a:ext uri="{FF2B5EF4-FFF2-40B4-BE49-F238E27FC236}">
                  <a16:creationId xmlns:a16="http://schemas.microsoft.com/office/drawing/2014/main" id="{B171F430-C86D-4E80-8217-EB81C7BF49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" y="2860"/>
              <a:ext cx="224" cy="223"/>
            </a:xfrm>
            <a:custGeom>
              <a:avLst/>
              <a:gdLst>
                <a:gd name="T0" fmla="*/ 103 w 109"/>
                <a:gd name="T1" fmla="*/ 0 h 108"/>
                <a:gd name="T2" fmla="*/ 6 w 109"/>
                <a:gd name="T3" fmla="*/ 0 h 108"/>
                <a:gd name="T4" fmla="*/ 0 w 109"/>
                <a:gd name="T5" fmla="*/ 5 h 108"/>
                <a:gd name="T6" fmla="*/ 6 w 109"/>
                <a:gd name="T7" fmla="*/ 10 h 108"/>
                <a:gd name="T8" fmla="*/ 98 w 109"/>
                <a:gd name="T9" fmla="*/ 10 h 108"/>
                <a:gd name="T10" fmla="*/ 98 w 109"/>
                <a:gd name="T11" fmla="*/ 103 h 108"/>
                <a:gd name="T12" fmla="*/ 103 w 109"/>
                <a:gd name="T13" fmla="*/ 108 h 108"/>
                <a:gd name="T14" fmla="*/ 109 w 109"/>
                <a:gd name="T15" fmla="*/ 103 h 108"/>
                <a:gd name="T16" fmla="*/ 109 w 109"/>
                <a:gd name="T17" fmla="*/ 5 h 108"/>
                <a:gd name="T18" fmla="*/ 103 w 109"/>
                <a:gd name="T19" fmla="*/ 0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9" h="108">
                  <a:moveTo>
                    <a:pt x="103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8"/>
                    <a:pt x="3" y="10"/>
                    <a:pt x="6" y="10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98" y="103"/>
                    <a:pt x="98" y="103"/>
                    <a:pt x="98" y="103"/>
                  </a:cubicBezTo>
                  <a:cubicBezTo>
                    <a:pt x="98" y="106"/>
                    <a:pt x="100" y="108"/>
                    <a:pt x="103" y="108"/>
                  </a:cubicBezTo>
                  <a:cubicBezTo>
                    <a:pt x="106" y="108"/>
                    <a:pt x="109" y="106"/>
                    <a:pt x="109" y="103"/>
                  </a:cubicBezTo>
                  <a:cubicBezTo>
                    <a:pt x="109" y="5"/>
                    <a:pt x="109" y="5"/>
                    <a:pt x="109" y="5"/>
                  </a:cubicBezTo>
                  <a:cubicBezTo>
                    <a:pt x="109" y="2"/>
                    <a:pt x="106" y="0"/>
                    <a:pt x="10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64" name="Freeform 281">
              <a:extLst>
                <a:ext uri="{FF2B5EF4-FFF2-40B4-BE49-F238E27FC236}">
                  <a16:creationId xmlns:a16="http://schemas.microsoft.com/office/drawing/2014/main" id="{2BF481B4-155F-4766-8357-743820C23B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" y="2858"/>
              <a:ext cx="70" cy="68"/>
            </a:xfrm>
            <a:custGeom>
              <a:avLst/>
              <a:gdLst>
                <a:gd name="T0" fmla="*/ 31 w 34"/>
                <a:gd name="T1" fmla="*/ 2 h 33"/>
                <a:gd name="T2" fmla="*/ 24 w 34"/>
                <a:gd name="T3" fmla="*/ 2 h 33"/>
                <a:gd name="T4" fmla="*/ 2 w 34"/>
                <a:gd name="T5" fmla="*/ 24 h 33"/>
                <a:gd name="T6" fmla="*/ 2 w 34"/>
                <a:gd name="T7" fmla="*/ 32 h 33"/>
                <a:gd name="T8" fmla="*/ 6 w 34"/>
                <a:gd name="T9" fmla="*/ 33 h 33"/>
                <a:gd name="T10" fmla="*/ 10 w 34"/>
                <a:gd name="T11" fmla="*/ 32 h 33"/>
                <a:gd name="T12" fmla="*/ 31 w 34"/>
                <a:gd name="T13" fmla="*/ 10 h 33"/>
                <a:gd name="T14" fmla="*/ 31 w 34"/>
                <a:gd name="T1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33">
                  <a:moveTo>
                    <a:pt x="31" y="2"/>
                  </a:moveTo>
                  <a:cubicBezTo>
                    <a:pt x="29" y="0"/>
                    <a:pt x="26" y="0"/>
                    <a:pt x="24" y="2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0" y="26"/>
                    <a:pt x="0" y="29"/>
                    <a:pt x="2" y="32"/>
                  </a:cubicBezTo>
                  <a:cubicBezTo>
                    <a:pt x="3" y="33"/>
                    <a:pt x="4" y="33"/>
                    <a:pt x="6" y="33"/>
                  </a:cubicBezTo>
                  <a:cubicBezTo>
                    <a:pt x="7" y="33"/>
                    <a:pt x="9" y="33"/>
                    <a:pt x="10" y="32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4" y="8"/>
                    <a:pt x="34" y="4"/>
                    <a:pt x="3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65" name="Freeform 282">
              <a:extLst>
                <a:ext uri="{FF2B5EF4-FFF2-40B4-BE49-F238E27FC236}">
                  <a16:creationId xmlns:a16="http://schemas.microsoft.com/office/drawing/2014/main" id="{3265E6AC-0449-47B4-90C1-55D9271D34D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" y="3060"/>
              <a:ext cx="68" cy="68"/>
            </a:xfrm>
            <a:custGeom>
              <a:avLst/>
              <a:gdLst>
                <a:gd name="T0" fmla="*/ 31 w 33"/>
                <a:gd name="T1" fmla="*/ 2 h 33"/>
                <a:gd name="T2" fmla="*/ 23 w 33"/>
                <a:gd name="T3" fmla="*/ 2 h 33"/>
                <a:gd name="T4" fmla="*/ 2 w 33"/>
                <a:gd name="T5" fmla="*/ 24 h 33"/>
                <a:gd name="T6" fmla="*/ 2 w 33"/>
                <a:gd name="T7" fmla="*/ 31 h 33"/>
                <a:gd name="T8" fmla="*/ 6 w 33"/>
                <a:gd name="T9" fmla="*/ 33 h 33"/>
                <a:gd name="T10" fmla="*/ 9 w 33"/>
                <a:gd name="T11" fmla="*/ 31 h 33"/>
                <a:gd name="T12" fmla="*/ 31 w 33"/>
                <a:gd name="T13" fmla="*/ 10 h 33"/>
                <a:gd name="T14" fmla="*/ 31 w 33"/>
                <a:gd name="T1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33">
                  <a:moveTo>
                    <a:pt x="31" y="2"/>
                  </a:moveTo>
                  <a:cubicBezTo>
                    <a:pt x="29" y="0"/>
                    <a:pt x="26" y="0"/>
                    <a:pt x="23" y="2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0" y="26"/>
                    <a:pt x="0" y="29"/>
                    <a:pt x="2" y="31"/>
                  </a:cubicBezTo>
                  <a:cubicBezTo>
                    <a:pt x="3" y="32"/>
                    <a:pt x="4" y="33"/>
                    <a:pt x="6" y="33"/>
                  </a:cubicBezTo>
                  <a:cubicBezTo>
                    <a:pt x="7" y="33"/>
                    <a:pt x="8" y="32"/>
                    <a:pt x="9" y="31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3" y="7"/>
                    <a:pt x="33" y="4"/>
                    <a:pt x="3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66" name="Freeform 283">
              <a:extLst>
                <a:ext uri="{FF2B5EF4-FFF2-40B4-BE49-F238E27FC236}">
                  <a16:creationId xmlns:a16="http://schemas.microsoft.com/office/drawing/2014/main" id="{071FB5EF-A0D0-4A76-984D-A841BAE2AD9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" y="2858"/>
              <a:ext cx="68" cy="68"/>
            </a:xfrm>
            <a:custGeom>
              <a:avLst/>
              <a:gdLst>
                <a:gd name="T0" fmla="*/ 31 w 33"/>
                <a:gd name="T1" fmla="*/ 2 h 33"/>
                <a:gd name="T2" fmla="*/ 23 w 33"/>
                <a:gd name="T3" fmla="*/ 2 h 33"/>
                <a:gd name="T4" fmla="*/ 2 w 33"/>
                <a:gd name="T5" fmla="*/ 24 h 33"/>
                <a:gd name="T6" fmla="*/ 2 w 33"/>
                <a:gd name="T7" fmla="*/ 32 h 33"/>
                <a:gd name="T8" fmla="*/ 6 w 33"/>
                <a:gd name="T9" fmla="*/ 33 h 33"/>
                <a:gd name="T10" fmla="*/ 9 w 33"/>
                <a:gd name="T11" fmla="*/ 32 h 33"/>
                <a:gd name="T12" fmla="*/ 31 w 33"/>
                <a:gd name="T13" fmla="*/ 10 h 33"/>
                <a:gd name="T14" fmla="*/ 31 w 33"/>
                <a:gd name="T15" fmla="*/ 2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3" h="33">
                  <a:moveTo>
                    <a:pt x="31" y="2"/>
                  </a:moveTo>
                  <a:cubicBezTo>
                    <a:pt x="29" y="0"/>
                    <a:pt x="26" y="0"/>
                    <a:pt x="23" y="2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0" y="26"/>
                    <a:pt x="0" y="29"/>
                    <a:pt x="2" y="32"/>
                  </a:cubicBezTo>
                  <a:cubicBezTo>
                    <a:pt x="3" y="33"/>
                    <a:pt x="4" y="33"/>
                    <a:pt x="6" y="33"/>
                  </a:cubicBezTo>
                  <a:cubicBezTo>
                    <a:pt x="7" y="33"/>
                    <a:pt x="8" y="33"/>
                    <a:pt x="9" y="32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3" y="8"/>
                    <a:pt x="33" y="4"/>
                    <a:pt x="3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67" name="Freeform 284">
              <a:extLst>
                <a:ext uri="{FF2B5EF4-FFF2-40B4-BE49-F238E27FC236}">
                  <a16:creationId xmlns:a16="http://schemas.microsoft.com/office/drawing/2014/main" id="{E55CE6BA-6164-4ED6-942C-1C4E2B3E0F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" y="2802"/>
              <a:ext cx="23" cy="101"/>
            </a:xfrm>
            <a:custGeom>
              <a:avLst/>
              <a:gdLst>
                <a:gd name="T0" fmla="*/ 6 w 11"/>
                <a:gd name="T1" fmla="*/ 0 h 49"/>
                <a:gd name="T2" fmla="*/ 0 w 11"/>
                <a:gd name="T3" fmla="*/ 6 h 49"/>
                <a:gd name="T4" fmla="*/ 0 w 11"/>
                <a:gd name="T5" fmla="*/ 44 h 49"/>
                <a:gd name="T6" fmla="*/ 6 w 11"/>
                <a:gd name="T7" fmla="*/ 49 h 49"/>
                <a:gd name="T8" fmla="*/ 11 w 11"/>
                <a:gd name="T9" fmla="*/ 44 h 49"/>
                <a:gd name="T10" fmla="*/ 11 w 11"/>
                <a:gd name="T11" fmla="*/ 6 h 49"/>
                <a:gd name="T12" fmla="*/ 6 w 1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9">
                  <a:moveTo>
                    <a:pt x="6" y="0"/>
                  </a:moveTo>
                  <a:cubicBezTo>
                    <a:pt x="3" y="0"/>
                    <a:pt x="0" y="3"/>
                    <a:pt x="0" y="6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7"/>
                    <a:pt x="3" y="49"/>
                    <a:pt x="6" y="49"/>
                  </a:cubicBezTo>
                  <a:cubicBezTo>
                    <a:pt x="9" y="49"/>
                    <a:pt x="11" y="47"/>
                    <a:pt x="11" y="44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3"/>
                    <a:pt x="9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68" name="Freeform 285">
              <a:extLst>
                <a:ext uri="{FF2B5EF4-FFF2-40B4-BE49-F238E27FC236}">
                  <a16:creationId xmlns:a16="http://schemas.microsoft.com/office/drawing/2014/main" id="{57929C08-9E1A-4B2D-B0B5-E6C5011AB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4" y="2714"/>
              <a:ext cx="88" cy="134"/>
            </a:xfrm>
            <a:custGeom>
              <a:avLst/>
              <a:gdLst>
                <a:gd name="T0" fmla="*/ 22 w 43"/>
                <a:gd name="T1" fmla="*/ 0 h 65"/>
                <a:gd name="T2" fmla="*/ 0 w 43"/>
                <a:gd name="T3" fmla="*/ 22 h 65"/>
                <a:gd name="T4" fmla="*/ 0 w 43"/>
                <a:gd name="T5" fmla="*/ 43 h 65"/>
                <a:gd name="T6" fmla="*/ 22 w 43"/>
                <a:gd name="T7" fmla="*/ 65 h 65"/>
                <a:gd name="T8" fmla="*/ 43 w 43"/>
                <a:gd name="T9" fmla="*/ 43 h 65"/>
                <a:gd name="T10" fmla="*/ 43 w 43"/>
                <a:gd name="T11" fmla="*/ 22 h 65"/>
                <a:gd name="T12" fmla="*/ 22 w 43"/>
                <a:gd name="T13" fmla="*/ 0 h 65"/>
                <a:gd name="T14" fmla="*/ 32 w 43"/>
                <a:gd name="T15" fmla="*/ 43 h 65"/>
                <a:gd name="T16" fmla="*/ 22 w 43"/>
                <a:gd name="T17" fmla="*/ 54 h 65"/>
                <a:gd name="T18" fmla="*/ 11 w 43"/>
                <a:gd name="T19" fmla="*/ 43 h 65"/>
                <a:gd name="T20" fmla="*/ 11 w 43"/>
                <a:gd name="T21" fmla="*/ 22 h 65"/>
                <a:gd name="T22" fmla="*/ 22 w 43"/>
                <a:gd name="T23" fmla="*/ 11 h 65"/>
                <a:gd name="T24" fmla="*/ 32 w 43"/>
                <a:gd name="T25" fmla="*/ 22 h 65"/>
                <a:gd name="T26" fmla="*/ 32 w 43"/>
                <a:gd name="T27" fmla="*/ 4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3" h="65">
                  <a:moveTo>
                    <a:pt x="22" y="0"/>
                  </a:moveTo>
                  <a:cubicBezTo>
                    <a:pt x="10" y="0"/>
                    <a:pt x="0" y="10"/>
                    <a:pt x="0" y="22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55"/>
                    <a:pt x="10" y="65"/>
                    <a:pt x="22" y="65"/>
                  </a:cubicBezTo>
                  <a:cubicBezTo>
                    <a:pt x="34" y="65"/>
                    <a:pt x="43" y="55"/>
                    <a:pt x="43" y="43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10"/>
                    <a:pt x="34" y="0"/>
                    <a:pt x="22" y="0"/>
                  </a:cubicBezTo>
                  <a:close/>
                  <a:moveTo>
                    <a:pt x="32" y="43"/>
                  </a:moveTo>
                  <a:cubicBezTo>
                    <a:pt x="32" y="49"/>
                    <a:pt x="28" y="54"/>
                    <a:pt x="22" y="54"/>
                  </a:cubicBezTo>
                  <a:cubicBezTo>
                    <a:pt x="16" y="54"/>
                    <a:pt x="11" y="49"/>
                    <a:pt x="11" y="43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1" y="16"/>
                    <a:pt x="16" y="11"/>
                    <a:pt x="22" y="11"/>
                  </a:cubicBezTo>
                  <a:cubicBezTo>
                    <a:pt x="28" y="11"/>
                    <a:pt x="32" y="16"/>
                    <a:pt x="32" y="22"/>
                  </a:cubicBezTo>
                  <a:lnTo>
                    <a:pt x="32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69" name="Freeform 286">
              <a:extLst>
                <a:ext uri="{FF2B5EF4-FFF2-40B4-BE49-F238E27FC236}">
                  <a16:creationId xmlns:a16="http://schemas.microsoft.com/office/drawing/2014/main" id="{22D90C36-6ADA-491A-B161-EC6F7C091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" y="2658"/>
              <a:ext cx="23" cy="101"/>
            </a:xfrm>
            <a:custGeom>
              <a:avLst/>
              <a:gdLst>
                <a:gd name="T0" fmla="*/ 6 w 11"/>
                <a:gd name="T1" fmla="*/ 0 h 49"/>
                <a:gd name="T2" fmla="*/ 0 w 11"/>
                <a:gd name="T3" fmla="*/ 5 h 49"/>
                <a:gd name="T4" fmla="*/ 0 w 11"/>
                <a:gd name="T5" fmla="*/ 43 h 49"/>
                <a:gd name="T6" fmla="*/ 6 w 11"/>
                <a:gd name="T7" fmla="*/ 49 h 49"/>
                <a:gd name="T8" fmla="*/ 11 w 11"/>
                <a:gd name="T9" fmla="*/ 43 h 49"/>
                <a:gd name="T10" fmla="*/ 11 w 11"/>
                <a:gd name="T11" fmla="*/ 5 h 49"/>
                <a:gd name="T12" fmla="*/ 6 w 11"/>
                <a:gd name="T1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9">
                  <a:moveTo>
                    <a:pt x="6" y="0"/>
                  </a:moveTo>
                  <a:cubicBezTo>
                    <a:pt x="3" y="0"/>
                    <a:pt x="0" y="2"/>
                    <a:pt x="0" y="5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6"/>
                    <a:pt x="3" y="49"/>
                    <a:pt x="6" y="49"/>
                  </a:cubicBezTo>
                  <a:cubicBezTo>
                    <a:pt x="9" y="49"/>
                    <a:pt x="11" y="46"/>
                    <a:pt x="11" y="43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1" y="2"/>
                    <a:pt x="9" y="0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170" name="Group 289">
            <a:extLst>
              <a:ext uri="{FF2B5EF4-FFF2-40B4-BE49-F238E27FC236}">
                <a16:creationId xmlns:a16="http://schemas.microsoft.com/office/drawing/2014/main" id="{38EA1864-DA4E-47F9-A4AF-9CAA9ED4FB2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1211" y="4198626"/>
            <a:ext cx="275856" cy="274320"/>
            <a:chOff x="55" y="3037"/>
            <a:chExt cx="718" cy="714"/>
          </a:xfrm>
          <a:solidFill>
            <a:schemeClr val="accent1"/>
          </a:solidFill>
        </p:grpSpPr>
        <p:sp>
          <p:nvSpPr>
            <p:cNvPr id="171" name="Freeform 290">
              <a:extLst>
                <a:ext uri="{FF2B5EF4-FFF2-40B4-BE49-F238E27FC236}">
                  <a16:creationId xmlns:a16="http://schemas.microsoft.com/office/drawing/2014/main" id="{314D5FC8-DE24-47EC-8CE9-9849912DE6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2" y="3276"/>
              <a:ext cx="35" cy="33"/>
            </a:xfrm>
            <a:custGeom>
              <a:avLst/>
              <a:gdLst>
                <a:gd name="T0" fmla="*/ 17 w 17"/>
                <a:gd name="T1" fmla="*/ 10 h 16"/>
                <a:gd name="T2" fmla="*/ 10 w 17"/>
                <a:gd name="T3" fmla="*/ 0 h 16"/>
                <a:gd name="T4" fmla="*/ 0 w 17"/>
                <a:gd name="T5" fmla="*/ 8 h 16"/>
                <a:gd name="T6" fmla="*/ 8 w 17"/>
                <a:gd name="T7" fmla="*/ 16 h 16"/>
                <a:gd name="T8" fmla="*/ 17 w 17"/>
                <a:gd name="T9" fmla="*/ 1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6">
                  <a:moveTo>
                    <a:pt x="17" y="1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7" y="2"/>
                    <a:pt x="3" y="5"/>
                    <a:pt x="0" y="8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11" y="14"/>
                    <a:pt x="14" y="12"/>
                    <a:pt x="1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72" name="Freeform 291">
              <a:extLst>
                <a:ext uri="{FF2B5EF4-FFF2-40B4-BE49-F238E27FC236}">
                  <a16:creationId xmlns:a16="http://schemas.microsoft.com/office/drawing/2014/main" id="{E53C32B5-B773-4775-BD2D-0AF497CBFA17}"/>
                </a:ext>
              </a:extLst>
            </p:cNvPr>
            <p:cNvSpPr>
              <a:spLocks/>
            </p:cNvSpPr>
            <p:nvPr/>
          </p:nvSpPr>
          <p:spPr bwMode="auto">
            <a:xfrm>
              <a:off x="283" y="3313"/>
              <a:ext cx="33" cy="31"/>
            </a:xfrm>
            <a:custGeom>
              <a:avLst/>
              <a:gdLst>
                <a:gd name="T0" fmla="*/ 16 w 16"/>
                <a:gd name="T1" fmla="*/ 6 h 15"/>
                <a:gd name="T2" fmla="*/ 6 w 16"/>
                <a:gd name="T3" fmla="*/ 0 h 15"/>
                <a:gd name="T4" fmla="*/ 0 w 16"/>
                <a:gd name="T5" fmla="*/ 11 h 15"/>
                <a:gd name="T6" fmla="*/ 10 w 16"/>
                <a:gd name="T7" fmla="*/ 15 h 15"/>
                <a:gd name="T8" fmla="*/ 16 w 16"/>
                <a:gd name="T9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5">
                  <a:moveTo>
                    <a:pt x="16" y="6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4" y="3"/>
                    <a:pt x="2" y="7"/>
                    <a:pt x="0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2" y="12"/>
                    <a:pt x="14" y="9"/>
                    <a:pt x="1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73" name="Freeform 292">
              <a:extLst>
                <a:ext uri="{FF2B5EF4-FFF2-40B4-BE49-F238E27FC236}">
                  <a16:creationId xmlns:a16="http://schemas.microsoft.com/office/drawing/2014/main" id="{A45835DD-094F-44DE-A664-333336880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" y="3407"/>
              <a:ext cx="29" cy="29"/>
            </a:xfrm>
            <a:custGeom>
              <a:avLst/>
              <a:gdLst>
                <a:gd name="T0" fmla="*/ 11 w 14"/>
                <a:gd name="T1" fmla="*/ 0 h 14"/>
                <a:gd name="T2" fmla="*/ 0 w 14"/>
                <a:gd name="T3" fmla="*/ 2 h 14"/>
                <a:gd name="T4" fmla="*/ 3 w 14"/>
                <a:gd name="T5" fmla="*/ 14 h 14"/>
                <a:gd name="T6" fmla="*/ 14 w 14"/>
                <a:gd name="T7" fmla="*/ 10 h 14"/>
                <a:gd name="T8" fmla="*/ 11 w 14"/>
                <a:gd name="T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11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6"/>
                    <a:pt x="1" y="10"/>
                    <a:pt x="3" y="14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3" y="7"/>
                    <a:pt x="12" y="4"/>
                    <a:pt x="1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74" name="Freeform 293">
              <a:extLst>
                <a:ext uri="{FF2B5EF4-FFF2-40B4-BE49-F238E27FC236}">
                  <a16:creationId xmlns:a16="http://schemas.microsoft.com/office/drawing/2014/main" id="{6A13FB58-AD6E-4617-904C-B8D371FE3DB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" y="3506"/>
              <a:ext cx="28" cy="29"/>
            </a:xfrm>
            <a:custGeom>
              <a:avLst/>
              <a:gdLst>
                <a:gd name="T0" fmla="*/ 0 w 14"/>
                <a:gd name="T1" fmla="*/ 10 h 14"/>
                <a:gd name="T2" fmla="*/ 12 w 14"/>
                <a:gd name="T3" fmla="*/ 14 h 14"/>
                <a:gd name="T4" fmla="*/ 14 w 14"/>
                <a:gd name="T5" fmla="*/ 2 h 14"/>
                <a:gd name="T6" fmla="*/ 4 w 14"/>
                <a:gd name="T7" fmla="*/ 0 h 14"/>
                <a:gd name="T8" fmla="*/ 0 w 14"/>
                <a:gd name="T9" fmla="*/ 1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4">
                  <a:moveTo>
                    <a:pt x="0" y="10"/>
                  </a:moveTo>
                  <a:cubicBezTo>
                    <a:pt x="4" y="12"/>
                    <a:pt x="8" y="13"/>
                    <a:pt x="12" y="14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1" y="2"/>
                    <a:pt x="8" y="1"/>
                    <a:pt x="4" y="0"/>
                  </a:cubicBezTo>
                  <a:lnTo>
                    <a:pt x="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75" name="Freeform 294">
              <a:extLst>
                <a:ext uri="{FF2B5EF4-FFF2-40B4-BE49-F238E27FC236}">
                  <a16:creationId xmlns:a16="http://schemas.microsoft.com/office/drawing/2014/main" id="{6BA3DF56-184E-4517-B14E-AD96911A2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" y="3255"/>
              <a:ext cx="31" cy="29"/>
            </a:xfrm>
            <a:custGeom>
              <a:avLst/>
              <a:gdLst>
                <a:gd name="T0" fmla="*/ 15 w 15"/>
                <a:gd name="T1" fmla="*/ 11 h 14"/>
                <a:gd name="T2" fmla="*/ 12 w 15"/>
                <a:gd name="T3" fmla="*/ 0 h 14"/>
                <a:gd name="T4" fmla="*/ 0 w 15"/>
                <a:gd name="T5" fmla="*/ 4 h 14"/>
                <a:gd name="T6" fmla="*/ 5 w 15"/>
                <a:gd name="T7" fmla="*/ 14 h 14"/>
                <a:gd name="T8" fmla="*/ 15 w 15"/>
                <a:gd name="T9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15" y="11"/>
                  </a:moveTo>
                  <a:cubicBezTo>
                    <a:pt x="12" y="0"/>
                    <a:pt x="12" y="0"/>
                    <a:pt x="12" y="0"/>
                  </a:cubicBezTo>
                  <a:cubicBezTo>
                    <a:pt x="8" y="1"/>
                    <a:pt x="4" y="2"/>
                    <a:pt x="0" y="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8" y="13"/>
                    <a:pt x="11" y="12"/>
                    <a:pt x="15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76" name="Freeform 295">
              <a:extLst>
                <a:ext uri="{FF2B5EF4-FFF2-40B4-BE49-F238E27FC236}">
                  <a16:creationId xmlns:a16="http://schemas.microsoft.com/office/drawing/2014/main" id="{2BD83C59-1A0C-4D77-A8C3-7AD13E88C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" y="3484"/>
              <a:ext cx="33" cy="32"/>
            </a:xfrm>
            <a:custGeom>
              <a:avLst/>
              <a:gdLst>
                <a:gd name="T0" fmla="*/ 0 w 16"/>
                <a:gd name="T1" fmla="*/ 8 h 16"/>
                <a:gd name="T2" fmla="*/ 10 w 16"/>
                <a:gd name="T3" fmla="*/ 16 h 16"/>
                <a:gd name="T4" fmla="*/ 16 w 16"/>
                <a:gd name="T5" fmla="*/ 6 h 16"/>
                <a:gd name="T6" fmla="*/ 7 w 16"/>
                <a:gd name="T7" fmla="*/ 0 h 16"/>
                <a:gd name="T8" fmla="*/ 0 w 16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0" y="8"/>
                  </a:moveTo>
                  <a:cubicBezTo>
                    <a:pt x="3" y="11"/>
                    <a:pt x="6" y="14"/>
                    <a:pt x="10" y="1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3" y="4"/>
                    <a:pt x="10" y="2"/>
                    <a:pt x="7" y="0"/>
                  </a:cubicBez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77" name="Freeform 296">
              <a:extLst>
                <a:ext uri="{FF2B5EF4-FFF2-40B4-BE49-F238E27FC236}">
                  <a16:creationId xmlns:a16="http://schemas.microsoft.com/office/drawing/2014/main" id="{A032EB62-0532-4F7D-B685-30BF93C2273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5" y="3449"/>
              <a:ext cx="33" cy="32"/>
            </a:xfrm>
            <a:custGeom>
              <a:avLst/>
              <a:gdLst>
                <a:gd name="T0" fmla="*/ 11 w 16"/>
                <a:gd name="T1" fmla="*/ 0 h 16"/>
                <a:gd name="T2" fmla="*/ 0 w 16"/>
                <a:gd name="T3" fmla="*/ 6 h 16"/>
                <a:gd name="T4" fmla="*/ 7 w 16"/>
                <a:gd name="T5" fmla="*/ 16 h 16"/>
                <a:gd name="T6" fmla="*/ 16 w 16"/>
                <a:gd name="T7" fmla="*/ 9 h 16"/>
                <a:gd name="T8" fmla="*/ 11 w 16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6">
                  <a:moveTo>
                    <a:pt x="11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2" y="9"/>
                    <a:pt x="5" y="13"/>
                    <a:pt x="7" y="16"/>
                  </a:cubicBezTo>
                  <a:cubicBezTo>
                    <a:pt x="16" y="9"/>
                    <a:pt x="16" y="9"/>
                    <a:pt x="16" y="9"/>
                  </a:cubicBezTo>
                  <a:cubicBezTo>
                    <a:pt x="14" y="6"/>
                    <a:pt x="12" y="3"/>
                    <a:pt x="1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78" name="Freeform 297">
              <a:extLst>
                <a:ext uri="{FF2B5EF4-FFF2-40B4-BE49-F238E27FC236}">
                  <a16:creationId xmlns:a16="http://schemas.microsoft.com/office/drawing/2014/main" id="{E1E25428-0DA1-4A4E-9A3D-11D816131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" y="3358"/>
              <a:ext cx="27" cy="29"/>
            </a:xfrm>
            <a:custGeom>
              <a:avLst/>
              <a:gdLst>
                <a:gd name="T0" fmla="*/ 13 w 13"/>
                <a:gd name="T1" fmla="*/ 3 h 14"/>
                <a:gd name="T2" fmla="*/ 2 w 13"/>
                <a:gd name="T3" fmla="*/ 0 h 14"/>
                <a:gd name="T4" fmla="*/ 0 w 13"/>
                <a:gd name="T5" fmla="*/ 13 h 14"/>
                <a:gd name="T6" fmla="*/ 11 w 13"/>
                <a:gd name="T7" fmla="*/ 14 h 14"/>
                <a:gd name="T8" fmla="*/ 13 w 13"/>
                <a:gd name="T9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4">
                  <a:moveTo>
                    <a:pt x="13" y="3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5"/>
                    <a:pt x="0" y="9"/>
                    <a:pt x="0" y="13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0"/>
                    <a:pt x="12" y="7"/>
                    <a:pt x="1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79" name="Freeform 298">
              <a:extLst>
                <a:ext uri="{FF2B5EF4-FFF2-40B4-BE49-F238E27FC236}">
                  <a16:creationId xmlns:a16="http://schemas.microsoft.com/office/drawing/2014/main" id="{7CB64CB1-508C-48DF-8A53-1E3B395D1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" y="3251"/>
              <a:ext cx="144" cy="286"/>
            </a:xfrm>
            <a:custGeom>
              <a:avLst/>
              <a:gdLst>
                <a:gd name="T0" fmla="*/ 0 w 70"/>
                <a:gd name="T1" fmla="*/ 0 h 139"/>
                <a:gd name="T2" fmla="*/ 0 w 70"/>
                <a:gd name="T3" fmla="*/ 12 h 139"/>
                <a:gd name="T4" fmla="*/ 58 w 70"/>
                <a:gd name="T5" fmla="*/ 70 h 139"/>
                <a:gd name="T6" fmla="*/ 0 w 70"/>
                <a:gd name="T7" fmla="*/ 127 h 139"/>
                <a:gd name="T8" fmla="*/ 0 w 70"/>
                <a:gd name="T9" fmla="*/ 139 h 139"/>
                <a:gd name="T10" fmla="*/ 70 w 70"/>
                <a:gd name="T11" fmla="*/ 70 h 139"/>
                <a:gd name="T12" fmla="*/ 0 w 70"/>
                <a:gd name="T13" fmla="*/ 0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39">
                  <a:moveTo>
                    <a:pt x="0" y="0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32" y="12"/>
                    <a:pt x="58" y="38"/>
                    <a:pt x="58" y="70"/>
                  </a:cubicBezTo>
                  <a:cubicBezTo>
                    <a:pt x="58" y="101"/>
                    <a:pt x="32" y="127"/>
                    <a:pt x="0" y="127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38" y="139"/>
                    <a:pt x="70" y="108"/>
                    <a:pt x="70" y="70"/>
                  </a:cubicBezTo>
                  <a:cubicBezTo>
                    <a:pt x="70" y="31"/>
                    <a:pt x="38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80" name="Freeform 299">
              <a:extLst>
                <a:ext uri="{FF2B5EF4-FFF2-40B4-BE49-F238E27FC236}">
                  <a16:creationId xmlns:a16="http://schemas.microsoft.com/office/drawing/2014/main" id="{1CD38D3E-2443-4815-8F94-79EA39E41C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" y="3358"/>
              <a:ext cx="70" cy="72"/>
            </a:xfrm>
            <a:custGeom>
              <a:avLst/>
              <a:gdLst>
                <a:gd name="T0" fmla="*/ 17 w 34"/>
                <a:gd name="T1" fmla="*/ 35 h 35"/>
                <a:gd name="T2" fmla="*/ 34 w 34"/>
                <a:gd name="T3" fmla="*/ 18 h 35"/>
                <a:gd name="T4" fmla="*/ 17 w 34"/>
                <a:gd name="T5" fmla="*/ 0 h 35"/>
                <a:gd name="T6" fmla="*/ 0 w 34"/>
                <a:gd name="T7" fmla="*/ 18 h 35"/>
                <a:gd name="T8" fmla="*/ 17 w 34"/>
                <a:gd name="T9" fmla="*/ 35 h 35"/>
                <a:gd name="T10" fmla="*/ 17 w 34"/>
                <a:gd name="T11" fmla="*/ 12 h 35"/>
                <a:gd name="T12" fmla="*/ 23 w 34"/>
                <a:gd name="T13" fmla="*/ 18 h 35"/>
                <a:gd name="T14" fmla="*/ 17 w 34"/>
                <a:gd name="T15" fmla="*/ 23 h 35"/>
                <a:gd name="T16" fmla="*/ 11 w 34"/>
                <a:gd name="T17" fmla="*/ 18 h 35"/>
                <a:gd name="T18" fmla="*/ 17 w 34"/>
                <a:gd name="T19" fmla="*/ 1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5">
                  <a:moveTo>
                    <a:pt x="17" y="35"/>
                  </a:moveTo>
                  <a:cubicBezTo>
                    <a:pt x="27" y="35"/>
                    <a:pt x="34" y="27"/>
                    <a:pt x="34" y="18"/>
                  </a:cubicBezTo>
                  <a:cubicBezTo>
                    <a:pt x="34" y="8"/>
                    <a:pt x="27" y="0"/>
                    <a:pt x="17" y="0"/>
                  </a:cubicBezTo>
                  <a:cubicBezTo>
                    <a:pt x="7" y="0"/>
                    <a:pt x="0" y="8"/>
                    <a:pt x="0" y="18"/>
                  </a:cubicBezTo>
                  <a:cubicBezTo>
                    <a:pt x="0" y="27"/>
                    <a:pt x="7" y="35"/>
                    <a:pt x="17" y="35"/>
                  </a:cubicBezTo>
                  <a:close/>
                  <a:moveTo>
                    <a:pt x="17" y="12"/>
                  </a:moveTo>
                  <a:cubicBezTo>
                    <a:pt x="20" y="12"/>
                    <a:pt x="23" y="14"/>
                    <a:pt x="23" y="18"/>
                  </a:cubicBezTo>
                  <a:cubicBezTo>
                    <a:pt x="23" y="21"/>
                    <a:pt x="20" y="23"/>
                    <a:pt x="17" y="23"/>
                  </a:cubicBezTo>
                  <a:cubicBezTo>
                    <a:pt x="14" y="23"/>
                    <a:pt x="11" y="21"/>
                    <a:pt x="11" y="18"/>
                  </a:cubicBezTo>
                  <a:cubicBezTo>
                    <a:pt x="11" y="14"/>
                    <a:pt x="14" y="12"/>
                    <a:pt x="1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81" name="Freeform 300">
              <a:extLst>
                <a:ext uri="{FF2B5EF4-FFF2-40B4-BE49-F238E27FC236}">
                  <a16:creationId xmlns:a16="http://schemas.microsoft.com/office/drawing/2014/main" id="{8D4AB711-1661-4551-AC7A-394AA613E6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8" y="3298"/>
              <a:ext cx="190" cy="192"/>
            </a:xfrm>
            <a:custGeom>
              <a:avLst/>
              <a:gdLst>
                <a:gd name="T0" fmla="*/ 92 w 92"/>
                <a:gd name="T1" fmla="*/ 47 h 93"/>
                <a:gd name="T2" fmla="*/ 46 w 92"/>
                <a:gd name="T3" fmla="*/ 0 h 93"/>
                <a:gd name="T4" fmla="*/ 0 w 92"/>
                <a:gd name="T5" fmla="*/ 47 h 93"/>
                <a:gd name="T6" fmla="*/ 46 w 92"/>
                <a:gd name="T7" fmla="*/ 93 h 93"/>
                <a:gd name="T8" fmla="*/ 92 w 92"/>
                <a:gd name="T9" fmla="*/ 47 h 93"/>
                <a:gd name="T10" fmla="*/ 12 w 92"/>
                <a:gd name="T11" fmla="*/ 52 h 93"/>
                <a:gd name="T12" fmla="*/ 17 w 92"/>
                <a:gd name="T13" fmla="*/ 52 h 93"/>
                <a:gd name="T14" fmla="*/ 23 w 92"/>
                <a:gd name="T15" fmla="*/ 47 h 93"/>
                <a:gd name="T16" fmla="*/ 17 w 92"/>
                <a:gd name="T17" fmla="*/ 41 h 93"/>
                <a:gd name="T18" fmla="*/ 12 w 92"/>
                <a:gd name="T19" fmla="*/ 41 h 93"/>
                <a:gd name="T20" fmla="*/ 40 w 92"/>
                <a:gd name="T21" fmla="*/ 12 h 93"/>
                <a:gd name="T22" fmla="*/ 40 w 92"/>
                <a:gd name="T23" fmla="*/ 18 h 93"/>
                <a:gd name="T24" fmla="*/ 46 w 92"/>
                <a:gd name="T25" fmla="*/ 23 h 93"/>
                <a:gd name="T26" fmla="*/ 52 w 92"/>
                <a:gd name="T27" fmla="*/ 18 h 93"/>
                <a:gd name="T28" fmla="*/ 52 w 92"/>
                <a:gd name="T29" fmla="*/ 12 h 93"/>
                <a:gd name="T30" fmla="*/ 80 w 92"/>
                <a:gd name="T31" fmla="*/ 41 h 93"/>
                <a:gd name="T32" fmla="*/ 75 w 92"/>
                <a:gd name="T33" fmla="*/ 41 h 93"/>
                <a:gd name="T34" fmla="*/ 69 w 92"/>
                <a:gd name="T35" fmla="*/ 47 h 93"/>
                <a:gd name="T36" fmla="*/ 75 w 92"/>
                <a:gd name="T37" fmla="*/ 52 h 93"/>
                <a:gd name="T38" fmla="*/ 80 w 92"/>
                <a:gd name="T39" fmla="*/ 52 h 93"/>
                <a:gd name="T40" fmla="*/ 52 w 92"/>
                <a:gd name="T41" fmla="*/ 81 h 93"/>
                <a:gd name="T42" fmla="*/ 52 w 92"/>
                <a:gd name="T43" fmla="*/ 75 h 93"/>
                <a:gd name="T44" fmla="*/ 46 w 92"/>
                <a:gd name="T45" fmla="*/ 70 h 93"/>
                <a:gd name="T46" fmla="*/ 40 w 92"/>
                <a:gd name="T47" fmla="*/ 75 h 93"/>
                <a:gd name="T48" fmla="*/ 40 w 92"/>
                <a:gd name="T49" fmla="*/ 81 h 93"/>
                <a:gd name="T50" fmla="*/ 12 w 92"/>
                <a:gd name="T51" fmla="*/ 5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2" h="93">
                  <a:moveTo>
                    <a:pt x="92" y="47"/>
                  </a:moveTo>
                  <a:cubicBezTo>
                    <a:pt x="92" y="21"/>
                    <a:pt x="72" y="0"/>
                    <a:pt x="46" y="0"/>
                  </a:cubicBezTo>
                  <a:cubicBezTo>
                    <a:pt x="20" y="0"/>
                    <a:pt x="0" y="21"/>
                    <a:pt x="0" y="47"/>
                  </a:cubicBezTo>
                  <a:cubicBezTo>
                    <a:pt x="0" y="72"/>
                    <a:pt x="20" y="93"/>
                    <a:pt x="46" y="93"/>
                  </a:cubicBezTo>
                  <a:cubicBezTo>
                    <a:pt x="72" y="93"/>
                    <a:pt x="92" y="72"/>
                    <a:pt x="92" y="47"/>
                  </a:cubicBezTo>
                  <a:close/>
                  <a:moveTo>
                    <a:pt x="12" y="52"/>
                  </a:moveTo>
                  <a:cubicBezTo>
                    <a:pt x="17" y="52"/>
                    <a:pt x="17" y="52"/>
                    <a:pt x="17" y="52"/>
                  </a:cubicBezTo>
                  <a:cubicBezTo>
                    <a:pt x="20" y="52"/>
                    <a:pt x="23" y="50"/>
                    <a:pt x="23" y="47"/>
                  </a:cubicBezTo>
                  <a:cubicBezTo>
                    <a:pt x="23" y="43"/>
                    <a:pt x="20" y="41"/>
                    <a:pt x="17" y="41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4" y="26"/>
                    <a:pt x="26" y="15"/>
                    <a:pt x="40" y="12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0" y="21"/>
                    <a:pt x="43" y="23"/>
                    <a:pt x="46" y="23"/>
                  </a:cubicBezTo>
                  <a:cubicBezTo>
                    <a:pt x="49" y="23"/>
                    <a:pt x="52" y="21"/>
                    <a:pt x="52" y="18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66" y="15"/>
                    <a:pt x="78" y="26"/>
                    <a:pt x="80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2" y="41"/>
                    <a:pt x="69" y="43"/>
                    <a:pt x="69" y="47"/>
                  </a:cubicBezTo>
                  <a:cubicBezTo>
                    <a:pt x="69" y="50"/>
                    <a:pt x="72" y="52"/>
                    <a:pt x="75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78" y="67"/>
                    <a:pt x="66" y="78"/>
                    <a:pt x="52" y="81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2"/>
                    <a:pt x="49" y="70"/>
                    <a:pt x="46" y="70"/>
                  </a:cubicBezTo>
                  <a:cubicBezTo>
                    <a:pt x="43" y="70"/>
                    <a:pt x="40" y="72"/>
                    <a:pt x="40" y="75"/>
                  </a:cubicBezTo>
                  <a:cubicBezTo>
                    <a:pt x="40" y="81"/>
                    <a:pt x="40" y="81"/>
                    <a:pt x="40" y="81"/>
                  </a:cubicBezTo>
                  <a:cubicBezTo>
                    <a:pt x="26" y="78"/>
                    <a:pt x="14" y="67"/>
                    <a:pt x="12" y="5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82" name="Freeform 301">
              <a:extLst>
                <a:ext uri="{FF2B5EF4-FFF2-40B4-BE49-F238E27FC236}">
                  <a16:creationId xmlns:a16="http://schemas.microsoft.com/office/drawing/2014/main" id="{F58F8033-516E-4D80-81D8-95A238BFF6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" y="3183"/>
              <a:ext cx="718" cy="416"/>
            </a:xfrm>
            <a:custGeom>
              <a:avLst/>
              <a:gdLst>
                <a:gd name="T0" fmla="*/ 345 w 349"/>
                <a:gd name="T1" fmla="*/ 98 h 202"/>
                <a:gd name="T2" fmla="*/ 246 w 349"/>
                <a:gd name="T3" fmla="*/ 30 h 202"/>
                <a:gd name="T4" fmla="*/ 102 w 349"/>
                <a:gd name="T5" fmla="*/ 30 h 202"/>
                <a:gd name="T6" fmla="*/ 3 w 349"/>
                <a:gd name="T7" fmla="*/ 98 h 202"/>
                <a:gd name="T8" fmla="*/ 1 w 349"/>
                <a:gd name="T9" fmla="*/ 106 h 202"/>
                <a:gd name="T10" fmla="*/ 3 w 349"/>
                <a:gd name="T11" fmla="*/ 107 h 202"/>
                <a:gd name="T12" fmla="*/ 104 w 349"/>
                <a:gd name="T13" fmla="*/ 174 h 202"/>
                <a:gd name="T14" fmla="*/ 244 w 349"/>
                <a:gd name="T15" fmla="*/ 174 h 202"/>
                <a:gd name="T16" fmla="*/ 345 w 349"/>
                <a:gd name="T17" fmla="*/ 107 h 202"/>
                <a:gd name="T18" fmla="*/ 347 w 349"/>
                <a:gd name="T19" fmla="*/ 99 h 202"/>
                <a:gd name="T20" fmla="*/ 345 w 349"/>
                <a:gd name="T21" fmla="*/ 98 h 202"/>
                <a:gd name="T22" fmla="*/ 237 w 349"/>
                <a:gd name="T23" fmla="*/ 164 h 202"/>
                <a:gd name="T24" fmla="*/ 111 w 349"/>
                <a:gd name="T25" fmla="*/ 164 h 202"/>
                <a:gd name="T26" fmla="*/ 16 w 349"/>
                <a:gd name="T27" fmla="*/ 102 h 202"/>
                <a:gd name="T28" fmla="*/ 108 w 349"/>
                <a:gd name="T29" fmla="*/ 39 h 202"/>
                <a:gd name="T30" fmla="*/ 240 w 349"/>
                <a:gd name="T31" fmla="*/ 39 h 202"/>
                <a:gd name="T32" fmla="*/ 332 w 349"/>
                <a:gd name="T33" fmla="*/ 102 h 202"/>
                <a:gd name="T34" fmla="*/ 237 w 349"/>
                <a:gd name="T35" fmla="*/ 164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49" h="202">
                  <a:moveTo>
                    <a:pt x="345" y="98"/>
                  </a:moveTo>
                  <a:cubicBezTo>
                    <a:pt x="246" y="30"/>
                    <a:pt x="246" y="30"/>
                    <a:pt x="246" y="30"/>
                  </a:cubicBezTo>
                  <a:cubicBezTo>
                    <a:pt x="203" y="0"/>
                    <a:pt x="145" y="0"/>
                    <a:pt x="102" y="30"/>
                  </a:cubicBezTo>
                  <a:cubicBezTo>
                    <a:pt x="3" y="98"/>
                    <a:pt x="3" y="98"/>
                    <a:pt x="3" y="98"/>
                  </a:cubicBezTo>
                  <a:cubicBezTo>
                    <a:pt x="0" y="100"/>
                    <a:pt x="0" y="103"/>
                    <a:pt x="1" y="106"/>
                  </a:cubicBezTo>
                  <a:cubicBezTo>
                    <a:pt x="2" y="106"/>
                    <a:pt x="2" y="107"/>
                    <a:pt x="3" y="107"/>
                  </a:cubicBezTo>
                  <a:cubicBezTo>
                    <a:pt x="104" y="174"/>
                    <a:pt x="104" y="174"/>
                    <a:pt x="104" y="174"/>
                  </a:cubicBezTo>
                  <a:cubicBezTo>
                    <a:pt x="147" y="202"/>
                    <a:pt x="201" y="202"/>
                    <a:pt x="244" y="174"/>
                  </a:cubicBezTo>
                  <a:cubicBezTo>
                    <a:pt x="345" y="107"/>
                    <a:pt x="345" y="107"/>
                    <a:pt x="345" y="107"/>
                  </a:cubicBezTo>
                  <a:cubicBezTo>
                    <a:pt x="348" y="106"/>
                    <a:pt x="349" y="102"/>
                    <a:pt x="347" y="99"/>
                  </a:cubicBezTo>
                  <a:cubicBezTo>
                    <a:pt x="346" y="99"/>
                    <a:pt x="346" y="98"/>
                    <a:pt x="345" y="98"/>
                  </a:cubicBezTo>
                  <a:close/>
                  <a:moveTo>
                    <a:pt x="237" y="164"/>
                  </a:moveTo>
                  <a:cubicBezTo>
                    <a:pt x="199" y="189"/>
                    <a:pt x="149" y="189"/>
                    <a:pt x="111" y="164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48" y="12"/>
                    <a:pt x="200" y="12"/>
                    <a:pt x="240" y="39"/>
                  </a:cubicBezTo>
                  <a:cubicBezTo>
                    <a:pt x="332" y="102"/>
                    <a:pt x="332" y="102"/>
                    <a:pt x="332" y="102"/>
                  </a:cubicBezTo>
                  <a:lnTo>
                    <a:pt x="237" y="1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83" name="Freeform 302">
              <a:extLst>
                <a:ext uri="{FF2B5EF4-FFF2-40B4-BE49-F238E27FC236}">
                  <a16:creationId xmlns:a16="http://schemas.microsoft.com/office/drawing/2014/main" id="{12518639-EB99-4A87-B9AE-9FD080C888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" y="3037"/>
              <a:ext cx="97" cy="95"/>
            </a:xfrm>
            <a:custGeom>
              <a:avLst/>
              <a:gdLst>
                <a:gd name="T0" fmla="*/ 6 w 47"/>
                <a:gd name="T1" fmla="*/ 46 h 46"/>
                <a:gd name="T2" fmla="*/ 12 w 47"/>
                <a:gd name="T3" fmla="*/ 40 h 46"/>
                <a:gd name="T4" fmla="*/ 12 w 47"/>
                <a:gd name="T5" fmla="*/ 11 h 46"/>
                <a:gd name="T6" fmla="*/ 41 w 47"/>
                <a:gd name="T7" fmla="*/ 11 h 46"/>
                <a:gd name="T8" fmla="*/ 47 w 47"/>
                <a:gd name="T9" fmla="*/ 6 h 46"/>
                <a:gd name="T10" fmla="*/ 41 w 47"/>
                <a:gd name="T11" fmla="*/ 0 h 46"/>
                <a:gd name="T12" fmla="*/ 6 w 47"/>
                <a:gd name="T13" fmla="*/ 0 h 46"/>
                <a:gd name="T14" fmla="*/ 0 w 47"/>
                <a:gd name="T15" fmla="*/ 6 h 46"/>
                <a:gd name="T16" fmla="*/ 0 w 47"/>
                <a:gd name="T17" fmla="*/ 40 h 46"/>
                <a:gd name="T18" fmla="*/ 6 w 47"/>
                <a:gd name="T1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6">
                  <a:moveTo>
                    <a:pt x="6" y="46"/>
                  </a:moveTo>
                  <a:cubicBezTo>
                    <a:pt x="9" y="46"/>
                    <a:pt x="12" y="44"/>
                    <a:pt x="12" y="40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4" y="11"/>
                    <a:pt x="47" y="9"/>
                    <a:pt x="47" y="6"/>
                  </a:cubicBezTo>
                  <a:cubicBezTo>
                    <a:pt x="47" y="2"/>
                    <a:pt x="44" y="0"/>
                    <a:pt x="41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4"/>
                    <a:pt x="3" y="46"/>
                    <a:pt x="6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84" name="Freeform 303">
              <a:extLst>
                <a:ext uri="{FF2B5EF4-FFF2-40B4-BE49-F238E27FC236}">
                  <a16:creationId xmlns:a16="http://schemas.microsoft.com/office/drawing/2014/main" id="{7324D0A7-C57C-403C-B1EE-47EF02813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" y="3656"/>
              <a:ext cx="97" cy="95"/>
            </a:xfrm>
            <a:custGeom>
              <a:avLst/>
              <a:gdLst>
                <a:gd name="T0" fmla="*/ 41 w 47"/>
                <a:gd name="T1" fmla="*/ 0 h 46"/>
                <a:gd name="T2" fmla="*/ 35 w 47"/>
                <a:gd name="T3" fmla="*/ 6 h 46"/>
                <a:gd name="T4" fmla="*/ 35 w 47"/>
                <a:gd name="T5" fmla="*/ 35 h 46"/>
                <a:gd name="T6" fmla="*/ 6 w 47"/>
                <a:gd name="T7" fmla="*/ 35 h 46"/>
                <a:gd name="T8" fmla="*/ 0 w 47"/>
                <a:gd name="T9" fmla="*/ 40 h 46"/>
                <a:gd name="T10" fmla="*/ 6 w 47"/>
                <a:gd name="T11" fmla="*/ 46 h 46"/>
                <a:gd name="T12" fmla="*/ 41 w 47"/>
                <a:gd name="T13" fmla="*/ 46 h 46"/>
                <a:gd name="T14" fmla="*/ 47 w 47"/>
                <a:gd name="T15" fmla="*/ 40 h 46"/>
                <a:gd name="T16" fmla="*/ 47 w 47"/>
                <a:gd name="T17" fmla="*/ 6 h 46"/>
                <a:gd name="T18" fmla="*/ 41 w 47"/>
                <a:gd name="T1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6">
                  <a:moveTo>
                    <a:pt x="41" y="0"/>
                  </a:moveTo>
                  <a:cubicBezTo>
                    <a:pt x="38" y="0"/>
                    <a:pt x="35" y="2"/>
                    <a:pt x="35" y="6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3" y="35"/>
                    <a:pt x="0" y="37"/>
                    <a:pt x="0" y="40"/>
                  </a:cubicBezTo>
                  <a:cubicBezTo>
                    <a:pt x="0" y="44"/>
                    <a:pt x="3" y="46"/>
                    <a:pt x="6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4" y="46"/>
                    <a:pt x="47" y="44"/>
                    <a:pt x="47" y="40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2"/>
                    <a:pt x="44" y="0"/>
                    <a:pt x="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85" name="Freeform 304">
              <a:extLst>
                <a:ext uri="{FF2B5EF4-FFF2-40B4-BE49-F238E27FC236}">
                  <a16:creationId xmlns:a16="http://schemas.microsoft.com/office/drawing/2014/main" id="{67433314-3B8D-4226-8009-59777832B5A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" y="3656"/>
              <a:ext cx="97" cy="95"/>
            </a:xfrm>
            <a:custGeom>
              <a:avLst/>
              <a:gdLst>
                <a:gd name="T0" fmla="*/ 41 w 47"/>
                <a:gd name="T1" fmla="*/ 46 h 46"/>
                <a:gd name="T2" fmla="*/ 47 w 47"/>
                <a:gd name="T3" fmla="*/ 40 h 46"/>
                <a:gd name="T4" fmla="*/ 41 w 47"/>
                <a:gd name="T5" fmla="*/ 35 h 46"/>
                <a:gd name="T6" fmla="*/ 12 w 47"/>
                <a:gd name="T7" fmla="*/ 35 h 46"/>
                <a:gd name="T8" fmla="*/ 12 w 47"/>
                <a:gd name="T9" fmla="*/ 6 h 46"/>
                <a:gd name="T10" fmla="*/ 6 w 47"/>
                <a:gd name="T11" fmla="*/ 0 h 46"/>
                <a:gd name="T12" fmla="*/ 0 w 47"/>
                <a:gd name="T13" fmla="*/ 6 h 46"/>
                <a:gd name="T14" fmla="*/ 0 w 47"/>
                <a:gd name="T15" fmla="*/ 40 h 46"/>
                <a:gd name="T16" fmla="*/ 6 w 47"/>
                <a:gd name="T17" fmla="*/ 46 h 46"/>
                <a:gd name="T18" fmla="*/ 41 w 47"/>
                <a:gd name="T19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6">
                  <a:moveTo>
                    <a:pt x="41" y="46"/>
                  </a:moveTo>
                  <a:cubicBezTo>
                    <a:pt x="44" y="46"/>
                    <a:pt x="47" y="44"/>
                    <a:pt x="47" y="40"/>
                  </a:cubicBezTo>
                  <a:cubicBezTo>
                    <a:pt x="47" y="37"/>
                    <a:pt x="44" y="35"/>
                    <a:pt x="41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6"/>
                    <a:pt x="12" y="6"/>
                    <a:pt x="12" y="6"/>
                  </a:cubicBezTo>
                  <a:cubicBezTo>
                    <a:pt x="12" y="2"/>
                    <a:pt x="9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4"/>
                    <a:pt x="3" y="46"/>
                    <a:pt x="6" y="46"/>
                  </a:cubicBezTo>
                  <a:lnTo>
                    <a:pt x="41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86" name="Freeform 305">
              <a:extLst>
                <a:ext uri="{FF2B5EF4-FFF2-40B4-BE49-F238E27FC236}">
                  <a16:creationId xmlns:a16="http://schemas.microsoft.com/office/drawing/2014/main" id="{7CD5DF6B-0AD8-4117-B113-2AA6BBDCF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" y="3037"/>
              <a:ext cx="97" cy="95"/>
            </a:xfrm>
            <a:custGeom>
              <a:avLst/>
              <a:gdLst>
                <a:gd name="T0" fmla="*/ 41 w 47"/>
                <a:gd name="T1" fmla="*/ 0 h 46"/>
                <a:gd name="T2" fmla="*/ 6 w 47"/>
                <a:gd name="T3" fmla="*/ 0 h 46"/>
                <a:gd name="T4" fmla="*/ 0 w 47"/>
                <a:gd name="T5" fmla="*/ 6 h 46"/>
                <a:gd name="T6" fmla="*/ 6 w 47"/>
                <a:gd name="T7" fmla="*/ 11 h 46"/>
                <a:gd name="T8" fmla="*/ 35 w 47"/>
                <a:gd name="T9" fmla="*/ 11 h 46"/>
                <a:gd name="T10" fmla="*/ 35 w 47"/>
                <a:gd name="T11" fmla="*/ 40 h 46"/>
                <a:gd name="T12" fmla="*/ 41 w 47"/>
                <a:gd name="T13" fmla="*/ 46 h 46"/>
                <a:gd name="T14" fmla="*/ 47 w 47"/>
                <a:gd name="T15" fmla="*/ 40 h 46"/>
                <a:gd name="T16" fmla="*/ 47 w 47"/>
                <a:gd name="T17" fmla="*/ 6 h 46"/>
                <a:gd name="T18" fmla="*/ 41 w 47"/>
                <a:gd name="T1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46">
                  <a:moveTo>
                    <a:pt x="41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9"/>
                    <a:pt x="3" y="11"/>
                    <a:pt x="6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35" y="44"/>
                    <a:pt x="38" y="46"/>
                    <a:pt x="41" y="46"/>
                  </a:cubicBezTo>
                  <a:cubicBezTo>
                    <a:pt x="44" y="46"/>
                    <a:pt x="47" y="44"/>
                    <a:pt x="47" y="40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2"/>
                    <a:pt x="44" y="0"/>
                    <a:pt x="4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87" name="Rectangle 306">
              <a:extLst>
                <a:ext uri="{FF2B5EF4-FFF2-40B4-BE49-F238E27FC236}">
                  <a16:creationId xmlns:a16="http://schemas.microsoft.com/office/drawing/2014/main" id="{779BC732-2496-4B69-AD87-D9C935E7A6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" y="3669"/>
              <a:ext cx="24" cy="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88" name="Rectangle 307">
              <a:extLst>
                <a:ext uri="{FF2B5EF4-FFF2-40B4-BE49-F238E27FC236}">
                  <a16:creationId xmlns:a16="http://schemas.microsoft.com/office/drawing/2014/main" id="{97CAA6EB-DD1B-4480-A9AF-0BCAF38774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" y="3669"/>
              <a:ext cx="22" cy="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89" name="Rectangle 308">
              <a:extLst>
                <a:ext uri="{FF2B5EF4-FFF2-40B4-BE49-F238E27FC236}">
                  <a16:creationId xmlns:a16="http://schemas.microsoft.com/office/drawing/2014/main" id="{E04E59CC-E486-42A9-8074-ABEA637127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8" y="3669"/>
              <a:ext cx="22" cy="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90" name="Rectangle 309">
              <a:extLst>
                <a:ext uri="{FF2B5EF4-FFF2-40B4-BE49-F238E27FC236}">
                  <a16:creationId xmlns:a16="http://schemas.microsoft.com/office/drawing/2014/main" id="{6C88EBD4-1868-45C3-8519-46C9A1FA6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8" y="3669"/>
              <a:ext cx="24" cy="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191" name="Group 313">
            <a:extLst>
              <a:ext uri="{FF2B5EF4-FFF2-40B4-BE49-F238E27FC236}">
                <a16:creationId xmlns:a16="http://schemas.microsoft.com/office/drawing/2014/main" id="{E35B76D1-47D5-4091-9A89-95051E49AF8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52183" y="4611035"/>
            <a:ext cx="273912" cy="274320"/>
            <a:chOff x="281" y="3285"/>
            <a:chExt cx="671" cy="672"/>
          </a:xfrm>
          <a:solidFill>
            <a:schemeClr val="accent1"/>
          </a:solidFill>
        </p:grpSpPr>
        <p:sp>
          <p:nvSpPr>
            <p:cNvPr id="192" name="Freeform 314">
              <a:extLst>
                <a:ext uri="{FF2B5EF4-FFF2-40B4-BE49-F238E27FC236}">
                  <a16:creationId xmlns:a16="http://schemas.microsoft.com/office/drawing/2014/main" id="{E4391072-5AAF-45F7-8CE1-8E3F605D1F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1" y="3330"/>
              <a:ext cx="115" cy="157"/>
            </a:xfrm>
            <a:custGeom>
              <a:avLst/>
              <a:gdLst>
                <a:gd name="T0" fmla="*/ 53 w 56"/>
                <a:gd name="T1" fmla="*/ 44 h 76"/>
                <a:gd name="T2" fmla="*/ 50 w 56"/>
                <a:gd name="T3" fmla="*/ 38 h 76"/>
                <a:gd name="T4" fmla="*/ 48 w 56"/>
                <a:gd name="T5" fmla="*/ 15 h 76"/>
                <a:gd name="T6" fmla="*/ 43 w 56"/>
                <a:gd name="T7" fmla="*/ 12 h 76"/>
                <a:gd name="T8" fmla="*/ 43 w 56"/>
                <a:gd name="T9" fmla="*/ 0 h 76"/>
                <a:gd name="T10" fmla="*/ 32 w 56"/>
                <a:gd name="T11" fmla="*/ 0 h 76"/>
                <a:gd name="T12" fmla="*/ 32 w 56"/>
                <a:gd name="T13" fmla="*/ 11 h 76"/>
                <a:gd name="T14" fmla="*/ 21 w 56"/>
                <a:gd name="T15" fmla="*/ 11 h 76"/>
                <a:gd name="T16" fmla="*/ 21 w 56"/>
                <a:gd name="T17" fmla="*/ 0 h 76"/>
                <a:gd name="T18" fmla="*/ 10 w 56"/>
                <a:gd name="T19" fmla="*/ 0 h 76"/>
                <a:gd name="T20" fmla="*/ 10 w 56"/>
                <a:gd name="T21" fmla="*/ 11 h 76"/>
                <a:gd name="T22" fmla="*/ 5 w 56"/>
                <a:gd name="T23" fmla="*/ 11 h 76"/>
                <a:gd name="T24" fmla="*/ 0 w 56"/>
                <a:gd name="T25" fmla="*/ 16 h 76"/>
                <a:gd name="T26" fmla="*/ 0 w 56"/>
                <a:gd name="T27" fmla="*/ 60 h 76"/>
                <a:gd name="T28" fmla="*/ 5 w 56"/>
                <a:gd name="T29" fmla="*/ 65 h 76"/>
                <a:gd name="T30" fmla="*/ 10 w 56"/>
                <a:gd name="T31" fmla="*/ 65 h 76"/>
                <a:gd name="T32" fmla="*/ 10 w 56"/>
                <a:gd name="T33" fmla="*/ 76 h 76"/>
                <a:gd name="T34" fmla="*/ 21 w 56"/>
                <a:gd name="T35" fmla="*/ 76 h 76"/>
                <a:gd name="T36" fmla="*/ 21 w 56"/>
                <a:gd name="T37" fmla="*/ 65 h 76"/>
                <a:gd name="T38" fmla="*/ 32 w 56"/>
                <a:gd name="T39" fmla="*/ 65 h 76"/>
                <a:gd name="T40" fmla="*/ 32 w 56"/>
                <a:gd name="T41" fmla="*/ 76 h 76"/>
                <a:gd name="T42" fmla="*/ 43 w 56"/>
                <a:gd name="T43" fmla="*/ 76 h 76"/>
                <a:gd name="T44" fmla="*/ 43 w 56"/>
                <a:gd name="T45" fmla="*/ 64 h 76"/>
                <a:gd name="T46" fmla="*/ 53 w 56"/>
                <a:gd name="T47" fmla="*/ 44 h 76"/>
                <a:gd name="T48" fmla="*/ 38 w 56"/>
                <a:gd name="T49" fmla="*/ 54 h 76"/>
                <a:gd name="T50" fmla="*/ 10 w 56"/>
                <a:gd name="T51" fmla="*/ 54 h 76"/>
                <a:gd name="T52" fmla="*/ 10 w 56"/>
                <a:gd name="T53" fmla="*/ 44 h 76"/>
                <a:gd name="T54" fmla="*/ 38 w 56"/>
                <a:gd name="T55" fmla="*/ 44 h 76"/>
                <a:gd name="T56" fmla="*/ 43 w 56"/>
                <a:gd name="T57" fmla="*/ 49 h 76"/>
                <a:gd name="T58" fmla="*/ 38 w 56"/>
                <a:gd name="T59" fmla="*/ 54 h 76"/>
                <a:gd name="T60" fmla="*/ 38 w 56"/>
                <a:gd name="T61" fmla="*/ 33 h 76"/>
                <a:gd name="T62" fmla="*/ 10 w 56"/>
                <a:gd name="T63" fmla="*/ 33 h 76"/>
                <a:gd name="T64" fmla="*/ 10 w 56"/>
                <a:gd name="T65" fmla="*/ 22 h 76"/>
                <a:gd name="T66" fmla="*/ 38 w 56"/>
                <a:gd name="T67" fmla="*/ 22 h 76"/>
                <a:gd name="T68" fmla="*/ 43 w 56"/>
                <a:gd name="T69" fmla="*/ 27 h 76"/>
                <a:gd name="T70" fmla="*/ 38 w 56"/>
                <a:gd name="T71" fmla="*/ 33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6" h="76">
                  <a:moveTo>
                    <a:pt x="53" y="44"/>
                  </a:moveTo>
                  <a:cubicBezTo>
                    <a:pt x="52" y="42"/>
                    <a:pt x="51" y="40"/>
                    <a:pt x="50" y="38"/>
                  </a:cubicBezTo>
                  <a:cubicBezTo>
                    <a:pt x="56" y="32"/>
                    <a:pt x="55" y="21"/>
                    <a:pt x="48" y="15"/>
                  </a:cubicBezTo>
                  <a:cubicBezTo>
                    <a:pt x="47" y="14"/>
                    <a:pt x="45" y="13"/>
                    <a:pt x="43" y="12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14"/>
                    <a:pt x="0" y="16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3"/>
                    <a:pt x="2" y="65"/>
                    <a:pt x="5" y="65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10" y="76"/>
                    <a:pt x="10" y="76"/>
                    <a:pt x="10" y="76"/>
                  </a:cubicBezTo>
                  <a:cubicBezTo>
                    <a:pt x="21" y="76"/>
                    <a:pt x="21" y="76"/>
                    <a:pt x="21" y="76"/>
                  </a:cubicBezTo>
                  <a:cubicBezTo>
                    <a:pt x="21" y="65"/>
                    <a:pt x="21" y="65"/>
                    <a:pt x="21" y="65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43" y="76"/>
                    <a:pt x="43" y="76"/>
                    <a:pt x="43" y="76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51" y="61"/>
                    <a:pt x="56" y="52"/>
                    <a:pt x="53" y="44"/>
                  </a:cubicBezTo>
                  <a:close/>
                  <a:moveTo>
                    <a:pt x="38" y="54"/>
                  </a:moveTo>
                  <a:cubicBezTo>
                    <a:pt x="10" y="54"/>
                    <a:pt x="10" y="54"/>
                    <a:pt x="10" y="54"/>
                  </a:cubicBezTo>
                  <a:cubicBezTo>
                    <a:pt x="10" y="44"/>
                    <a:pt x="10" y="44"/>
                    <a:pt x="10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41" y="44"/>
                    <a:pt x="43" y="46"/>
                    <a:pt x="43" y="49"/>
                  </a:cubicBezTo>
                  <a:cubicBezTo>
                    <a:pt x="43" y="52"/>
                    <a:pt x="41" y="54"/>
                    <a:pt x="38" y="54"/>
                  </a:cubicBezTo>
                  <a:close/>
                  <a:moveTo>
                    <a:pt x="38" y="33"/>
                  </a:moveTo>
                  <a:cubicBezTo>
                    <a:pt x="10" y="33"/>
                    <a:pt x="10" y="33"/>
                    <a:pt x="10" y="33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41" y="22"/>
                    <a:pt x="43" y="24"/>
                    <a:pt x="43" y="27"/>
                  </a:cubicBezTo>
                  <a:cubicBezTo>
                    <a:pt x="43" y="30"/>
                    <a:pt x="41" y="33"/>
                    <a:pt x="38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93" name="Freeform 315">
              <a:extLst>
                <a:ext uri="{FF2B5EF4-FFF2-40B4-BE49-F238E27FC236}">
                  <a16:creationId xmlns:a16="http://schemas.microsoft.com/office/drawing/2014/main" id="{0E58D5B7-1AFF-4ECC-8C3E-DE58320A42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3" y="3285"/>
              <a:ext cx="245" cy="247"/>
            </a:xfrm>
            <a:custGeom>
              <a:avLst/>
              <a:gdLst>
                <a:gd name="T0" fmla="*/ 60 w 119"/>
                <a:gd name="T1" fmla="*/ 0 h 120"/>
                <a:gd name="T2" fmla="*/ 0 w 119"/>
                <a:gd name="T3" fmla="*/ 60 h 120"/>
                <a:gd name="T4" fmla="*/ 60 w 119"/>
                <a:gd name="T5" fmla="*/ 120 h 120"/>
                <a:gd name="T6" fmla="*/ 119 w 119"/>
                <a:gd name="T7" fmla="*/ 60 h 120"/>
                <a:gd name="T8" fmla="*/ 60 w 119"/>
                <a:gd name="T9" fmla="*/ 0 h 120"/>
                <a:gd name="T10" fmla="*/ 60 w 119"/>
                <a:gd name="T11" fmla="*/ 109 h 120"/>
                <a:gd name="T12" fmla="*/ 11 w 119"/>
                <a:gd name="T13" fmla="*/ 60 h 120"/>
                <a:gd name="T14" fmla="*/ 60 w 119"/>
                <a:gd name="T15" fmla="*/ 11 h 120"/>
                <a:gd name="T16" fmla="*/ 109 w 119"/>
                <a:gd name="T17" fmla="*/ 60 h 120"/>
                <a:gd name="T18" fmla="*/ 60 w 119"/>
                <a:gd name="T19" fmla="*/ 109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120">
                  <a:moveTo>
                    <a:pt x="60" y="0"/>
                  </a:moveTo>
                  <a:cubicBezTo>
                    <a:pt x="27" y="1"/>
                    <a:pt x="0" y="27"/>
                    <a:pt x="0" y="60"/>
                  </a:cubicBezTo>
                  <a:cubicBezTo>
                    <a:pt x="0" y="93"/>
                    <a:pt x="27" y="120"/>
                    <a:pt x="60" y="120"/>
                  </a:cubicBezTo>
                  <a:cubicBezTo>
                    <a:pt x="93" y="120"/>
                    <a:pt x="119" y="93"/>
                    <a:pt x="119" y="60"/>
                  </a:cubicBezTo>
                  <a:cubicBezTo>
                    <a:pt x="119" y="27"/>
                    <a:pt x="93" y="0"/>
                    <a:pt x="60" y="0"/>
                  </a:cubicBezTo>
                  <a:close/>
                  <a:moveTo>
                    <a:pt x="60" y="109"/>
                  </a:moveTo>
                  <a:cubicBezTo>
                    <a:pt x="33" y="109"/>
                    <a:pt x="11" y="87"/>
                    <a:pt x="11" y="60"/>
                  </a:cubicBezTo>
                  <a:cubicBezTo>
                    <a:pt x="11" y="33"/>
                    <a:pt x="33" y="11"/>
                    <a:pt x="60" y="11"/>
                  </a:cubicBezTo>
                  <a:cubicBezTo>
                    <a:pt x="87" y="11"/>
                    <a:pt x="108" y="33"/>
                    <a:pt x="109" y="60"/>
                  </a:cubicBezTo>
                  <a:cubicBezTo>
                    <a:pt x="109" y="87"/>
                    <a:pt x="87" y="109"/>
                    <a:pt x="60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94" name="Freeform 316">
              <a:extLst>
                <a:ext uri="{FF2B5EF4-FFF2-40B4-BE49-F238E27FC236}">
                  <a16:creationId xmlns:a16="http://schemas.microsoft.com/office/drawing/2014/main" id="{78E8B0A9-6D50-4A89-A895-7ACBB6604F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" y="3454"/>
              <a:ext cx="247" cy="245"/>
            </a:xfrm>
            <a:custGeom>
              <a:avLst/>
              <a:gdLst>
                <a:gd name="T0" fmla="*/ 60 w 120"/>
                <a:gd name="T1" fmla="*/ 0 h 119"/>
                <a:gd name="T2" fmla="*/ 0 w 120"/>
                <a:gd name="T3" fmla="*/ 60 h 119"/>
                <a:gd name="T4" fmla="*/ 60 w 120"/>
                <a:gd name="T5" fmla="*/ 119 h 119"/>
                <a:gd name="T6" fmla="*/ 120 w 120"/>
                <a:gd name="T7" fmla="*/ 60 h 119"/>
                <a:gd name="T8" fmla="*/ 60 w 120"/>
                <a:gd name="T9" fmla="*/ 0 h 119"/>
                <a:gd name="T10" fmla="*/ 60 w 120"/>
                <a:gd name="T11" fmla="*/ 109 h 119"/>
                <a:gd name="T12" fmla="*/ 11 w 120"/>
                <a:gd name="T13" fmla="*/ 60 h 119"/>
                <a:gd name="T14" fmla="*/ 60 w 120"/>
                <a:gd name="T15" fmla="*/ 11 h 119"/>
                <a:gd name="T16" fmla="*/ 109 w 120"/>
                <a:gd name="T17" fmla="*/ 60 h 119"/>
                <a:gd name="T18" fmla="*/ 60 w 120"/>
                <a:gd name="T19" fmla="*/ 10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119">
                  <a:moveTo>
                    <a:pt x="60" y="0"/>
                  </a:moveTo>
                  <a:cubicBezTo>
                    <a:pt x="27" y="0"/>
                    <a:pt x="0" y="27"/>
                    <a:pt x="0" y="60"/>
                  </a:cubicBezTo>
                  <a:cubicBezTo>
                    <a:pt x="0" y="93"/>
                    <a:pt x="27" y="119"/>
                    <a:pt x="60" y="119"/>
                  </a:cubicBezTo>
                  <a:cubicBezTo>
                    <a:pt x="93" y="119"/>
                    <a:pt x="120" y="93"/>
                    <a:pt x="120" y="60"/>
                  </a:cubicBezTo>
                  <a:cubicBezTo>
                    <a:pt x="119" y="27"/>
                    <a:pt x="93" y="0"/>
                    <a:pt x="60" y="0"/>
                  </a:cubicBezTo>
                  <a:close/>
                  <a:moveTo>
                    <a:pt x="60" y="109"/>
                  </a:moveTo>
                  <a:cubicBezTo>
                    <a:pt x="33" y="109"/>
                    <a:pt x="11" y="87"/>
                    <a:pt x="11" y="60"/>
                  </a:cubicBezTo>
                  <a:cubicBezTo>
                    <a:pt x="11" y="33"/>
                    <a:pt x="33" y="11"/>
                    <a:pt x="60" y="11"/>
                  </a:cubicBezTo>
                  <a:cubicBezTo>
                    <a:pt x="87" y="11"/>
                    <a:pt x="109" y="33"/>
                    <a:pt x="109" y="60"/>
                  </a:cubicBezTo>
                  <a:cubicBezTo>
                    <a:pt x="109" y="87"/>
                    <a:pt x="87" y="108"/>
                    <a:pt x="60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95" name="Freeform 317">
              <a:extLst>
                <a:ext uri="{FF2B5EF4-FFF2-40B4-BE49-F238E27FC236}">
                  <a16:creationId xmlns:a16="http://schemas.microsoft.com/office/drawing/2014/main" id="{04BD1BB3-D658-4080-BD0E-5E2DEF1863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" y="3506"/>
              <a:ext cx="131" cy="131"/>
            </a:xfrm>
            <a:custGeom>
              <a:avLst/>
              <a:gdLst>
                <a:gd name="T0" fmla="*/ 61 w 64"/>
                <a:gd name="T1" fmla="*/ 39 h 64"/>
                <a:gd name="T2" fmla="*/ 46 w 64"/>
                <a:gd name="T3" fmla="*/ 29 h 64"/>
                <a:gd name="T4" fmla="*/ 43 w 64"/>
                <a:gd name="T5" fmla="*/ 30 h 64"/>
                <a:gd name="T6" fmla="*/ 42 w 64"/>
                <a:gd name="T7" fmla="*/ 7 h 64"/>
                <a:gd name="T8" fmla="*/ 19 w 64"/>
                <a:gd name="T9" fmla="*/ 7 h 64"/>
                <a:gd name="T10" fmla="*/ 19 w 64"/>
                <a:gd name="T11" fmla="*/ 30 h 64"/>
                <a:gd name="T12" fmla="*/ 16 w 64"/>
                <a:gd name="T13" fmla="*/ 29 h 64"/>
                <a:gd name="T14" fmla="*/ 0 w 64"/>
                <a:gd name="T15" fmla="*/ 45 h 64"/>
                <a:gd name="T16" fmla="*/ 16 w 64"/>
                <a:gd name="T17" fmla="*/ 62 h 64"/>
                <a:gd name="T18" fmla="*/ 31 w 64"/>
                <a:gd name="T19" fmla="*/ 52 h 64"/>
                <a:gd name="T20" fmla="*/ 52 w 64"/>
                <a:gd name="T21" fmla="*/ 60 h 64"/>
                <a:gd name="T22" fmla="*/ 61 w 64"/>
                <a:gd name="T23" fmla="*/ 39 h 64"/>
                <a:gd name="T24" fmla="*/ 16 w 64"/>
                <a:gd name="T25" fmla="*/ 51 h 64"/>
                <a:gd name="T26" fmla="*/ 11 w 64"/>
                <a:gd name="T27" fmla="*/ 46 h 64"/>
                <a:gd name="T28" fmla="*/ 16 w 64"/>
                <a:gd name="T29" fmla="*/ 40 h 64"/>
                <a:gd name="T30" fmla="*/ 21 w 64"/>
                <a:gd name="T31" fmla="*/ 46 h 64"/>
                <a:gd name="T32" fmla="*/ 16 w 64"/>
                <a:gd name="T33" fmla="*/ 51 h 64"/>
                <a:gd name="T34" fmla="*/ 31 w 64"/>
                <a:gd name="T35" fmla="*/ 39 h 64"/>
                <a:gd name="T36" fmla="*/ 28 w 64"/>
                <a:gd name="T37" fmla="*/ 34 h 64"/>
                <a:gd name="T38" fmla="*/ 31 w 64"/>
                <a:gd name="T39" fmla="*/ 35 h 64"/>
                <a:gd name="T40" fmla="*/ 34 w 64"/>
                <a:gd name="T41" fmla="*/ 34 h 64"/>
                <a:gd name="T42" fmla="*/ 31 w 64"/>
                <a:gd name="T43" fmla="*/ 39 h 64"/>
                <a:gd name="T44" fmla="*/ 31 w 64"/>
                <a:gd name="T45" fmla="*/ 24 h 64"/>
                <a:gd name="T46" fmla="*/ 25 w 64"/>
                <a:gd name="T47" fmla="*/ 18 h 64"/>
                <a:gd name="T48" fmla="*/ 31 w 64"/>
                <a:gd name="T49" fmla="*/ 13 h 64"/>
                <a:gd name="T50" fmla="*/ 36 w 64"/>
                <a:gd name="T51" fmla="*/ 18 h 64"/>
                <a:gd name="T52" fmla="*/ 31 w 64"/>
                <a:gd name="T53" fmla="*/ 24 h 64"/>
                <a:gd name="T54" fmla="*/ 46 w 64"/>
                <a:gd name="T55" fmla="*/ 51 h 64"/>
                <a:gd name="T56" fmla="*/ 40 w 64"/>
                <a:gd name="T57" fmla="*/ 46 h 64"/>
                <a:gd name="T58" fmla="*/ 46 w 64"/>
                <a:gd name="T59" fmla="*/ 40 h 64"/>
                <a:gd name="T60" fmla="*/ 51 w 64"/>
                <a:gd name="T61" fmla="*/ 46 h 64"/>
                <a:gd name="T62" fmla="*/ 46 w 64"/>
                <a:gd name="T63" fmla="*/ 51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4" h="64">
                  <a:moveTo>
                    <a:pt x="61" y="39"/>
                  </a:moveTo>
                  <a:cubicBezTo>
                    <a:pt x="58" y="33"/>
                    <a:pt x="52" y="29"/>
                    <a:pt x="46" y="29"/>
                  </a:cubicBezTo>
                  <a:cubicBezTo>
                    <a:pt x="45" y="29"/>
                    <a:pt x="44" y="29"/>
                    <a:pt x="43" y="30"/>
                  </a:cubicBezTo>
                  <a:cubicBezTo>
                    <a:pt x="49" y="23"/>
                    <a:pt x="49" y="13"/>
                    <a:pt x="42" y="7"/>
                  </a:cubicBezTo>
                  <a:cubicBezTo>
                    <a:pt x="36" y="0"/>
                    <a:pt x="25" y="1"/>
                    <a:pt x="19" y="7"/>
                  </a:cubicBezTo>
                  <a:cubicBezTo>
                    <a:pt x="13" y="13"/>
                    <a:pt x="13" y="23"/>
                    <a:pt x="19" y="30"/>
                  </a:cubicBezTo>
                  <a:cubicBezTo>
                    <a:pt x="18" y="29"/>
                    <a:pt x="17" y="29"/>
                    <a:pt x="16" y="29"/>
                  </a:cubicBezTo>
                  <a:cubicBezTo>
                    <a:pt x="7" y="29"/>
                    <a:pt x="0" y="36"/>
                    <a:pt x="0" y="45"/>
                  </a:cubicBezTo>
                  <a:cubicBezTo>
                    <a:pt x="0" y="54"/>
                    <a:pt x="7" y="62"/>
                    <a:pt x="16" y="62"/>
                  </a:cubicBezTo>
                  <a:cubicBezTo>
                    <a:pt x="22" y="62"/>
                    <a:pt x="28" y="58"/>
                    <a:pt x="31" y="52"/>
                  </a:cubicBezTo>
                  <a:cubicBezTo>
                    <a:pt x="35" y="60"/>
                    <a:pt x="44" y="64"/>
                    <a:pt x="52" y="60"/>
                  </a:cubicBezTo>
                  <a:cubicBezTo>
                    <a:pt x="61" y="57"/>
                    <a:pt x="64" y="47"/>
                    <a:pt x="61" y="39"/>
                  </a:cubicBezTo>
                  <a:close/>
                  <a:moveTo>
                    <a:pt x="16" y="51"/>
                  </a:moveTo>
                  <a:cubicBezTo>
                    <a:pt x="13" y="51"/>
                    <a:pt x="11" y="48"/>
                    <a:pt x="11" y="46"/>
                  </a:cubicBezTo>
                  <a:cubicBezTo>
                    <a:pt x="11" y="43"/>
                    <a:pt x="13" y="40"/>
                    <a:pt x="16" y="40"/>
                  </a:cubicBezTo>
                  <a:cubicBezTo>
                    <a:pt x="19" y="40"/>
                    <a:pt x="21" y="43"/>
                    <a:pt x="21" y="46"/>
                  </a:cubicBezTo>
                  <a:cubicBezTo>
                    <a:pt x="21" y="48"/>
                    <a:pt x="19" y="51"/>
                    <a:pt x="16" y="51"/>
                  </a:cubicBezTo>
                  <a:close/>
                  <a:moveTo>
                    <a:pt x="31" y="39"/>
                  </a:moveTo>
                  <a:cubicBezTo>
                    <a:pt x="30" y="37"/>
                    <a:pt x="29" y="36"/>
                    <a:pt x="28" y="34"/>
                  </a:cubicBezTo>
                  <a:cubicBezTo>
                    <a:pt x="29" y="35"/>
                    <a:pt x="30" y="35"/>
                    <a:pt x="31" y="35"/>
                  </a:cubicBezTo>
                  <a:cubicBezTo>
                    <a:pt x="32" y="35"/>
                    <a:pt x="33" y="35"/>
                    <a:pt x="34" y="34"/>
                  </a:cubicBezTo>
                  <a:cubicBezTo>
                    <a:pt x="33" y="36"/>
                    <a:pt x="32" y="37"/>
                    <a:pt x="31" y="39"/>
                  </a:cubicBezTo>
                  <a:close/>
                  <a:moveTo>
                    <a:pt x="31" y="24"/>
                  </a:moveTo>
                  <a:cubicBezTo>
                    <a:pt x="28" y="24"/>
                    <a:pt x="25" y="21"/>
                    <a:pt x="25" y="18"/>
                  </a:cubicBezTo>
                  <a:cubicBezTo>
                    <a:pt x="25" y="15"/>
                    <a:pt x="28" y="13"/>
                    <a:pt x="31" y="13"/>
                  </a:cubicBezTo>
                  <a:cubicBezTo>
                    <a:pt x="34" y="13"/>
                    <a:pt x="36" y="15"/>
                    <a:pt x="36" y="18"/>
                  </a:cubicBezTo>
                  <a:cubicBezTo>
                    <a:pt x="36" y="21"/>
                    <a:pt x="34" y="24"/>
                    <a:pt x="31" y="24"/>
                  </a:cubicBezTo>
                  <a:close/>
                  <a:moveTo>
                    <a:pt x="46" y="51"/>
                  </a:moveTo>
                  <a:cubicBezTo>
                    <a:pt x="43" y="51"/>
                    <a:pt x="40" y="48"/>
                    <a:pt x="40" y="46"/>
                  </a:cubicBezTo>
                  <a:cubicBezTo>
                    <a:pt x="40" y="43"/>
                    <a:pt x="43" y="40"/>
                    <a:pt x="46" y="40"/>
                  </a:cubicBezTo>
                  <a:cubicBezTo>
                    <a:pt x="49" y="40"/>
                    <a:pt x="51" y="43"/>
                    <a:pt x="51" y="46"/>
                  </a:cubicBezTo>
                  <a:cubicBezTo>
                    <a:pt x="51" y="48"/>
                    <a:pt x="49" y="51"/>
                    <a:pt x="46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96" name="Freeform 318">
              <a:extLst>
                <a:ext uri="{FF2B5EF4-FFF2-40B4-BE49-F238E27FC236}">
                  <a16:creationId xmlns:a16="http://schemas.microsoft.com/office/drawing/2014/main" id="{586B0CD8-0AC5-428F-9294-3C3A6FF380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7" y="3712"/>
              <a:ext cx="245" cy="245"/>
            </a:xfrm>
            <a:custGeom>
              <a:avLst/>
              <a:gdLst>
                <a:gd name="T0" fmla="*/ 60 w 119"/>
                <a:gd name="T1" fmla="*/ 0 h 119"/>
                <a:gd name="T2" fmla="*/ 0 w 119"/>
                <a:gd name="T3" fmla="*/ 60 h 119"/>
                <a:gd name="T4" fmla="*/ 60 w 119"/>
                <a:gd name="T5" fmla="*/ 119 h 119"/>
                <a:gd name="T6" fmla="*/ 119 w 119"/>
                <a:gd name="T7" fmla="*/ 60 h 119"/>
                <a:gd name="T8" fmla="*/ 60 w 119"/>
                <a:gd name="T9" fmla="*/ 0 h 119"/>
                <a:gd name="T10" fmla="*/ 60 w 119"/>
                <a:gd name="T11" fmla="*/ 108 h 119"/>
                <a:gd name="T12" fmla="*/ 11 w 119"/>
                <a:gd name="T13" fmla="*/ 60 h 119"/>
                <a:gd name="T14" fmla="*/ 60 w 119"/>
                <a:gd name="T15" fmla="*/ 11 h 119"/>
                <a:gd name="T16" fmla="*/ 109 w 119"/>
                <a:gd name="T17" fmla="*/ 60 h 119"/>
                <a:gd name="T18" fmla="*/ 60 w 119"/>
                <a:gd name="T19" fmla="*/ 10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119">
                  <a:moveTo>
                    <a:pt x="60" y="0"/>
                  </a:moveTo>
                  <a:cubicBezTo>
                    <a:pt x="27" y="0"/>
                    <a:pt x="0" y="27"/>
                    <a:pt x="0" y="60"/>
                  </a:cubicBezTo>
                  <a:cubicBezTo>
                    <a:pt x="0" y="92"/>
                    <a:pt x="27" y="119"/>
                    <a:pt x="60" y="119"/>
                  </a:cubicBezTo>
                  <a:cubicBezTo>
                    <a:pt x="93" y="119"/>
                    <a:pt x="119" y="92"/>
                    <a:pt x="119" y="60"/>
                  </a:cubicBezTo>
                  <a:cubicBezTo>
                    <a:pt x="119" y="27"/>
                    <a:pt x="93" y="0"/>
                    <a:pt x="60" y="0"/>
                  </a:cubicBezTo>
                  <a:close/>
                  <a:moveTo>
                    <a:pt x="60" y="108"/>
                  </a:moveTo>
                  <a:cubicBezTo>
                    <a:pt x="33" y="108"/>
                    <a:pt x="11" y="86"/>
                    <a:pt x="11" y="60"/>
                  </a:cubicBezTo>
                  <a:cubicBezTo>
                    <a:pt x="11" y="33"/>
                    <a:pt x="33" y="11"/>
                    <a:pt x="60" y="11"/>
                  </a:cubicBezTo>
                  <a:cubicBezTo>
                    <a:pt x="87" y="11"/>
                    <a:pt x="109" y="33"/>
                    <a:pt x="109" y="60"/>
                  </a:cubicBezTo>
                  <a:cubicBezTo>
                    <a:pt x="108" y="86"/>
                    <a:pt x="87" y="108"/>
                    <a:pt x="60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97" name="Freeform 319">
              <a:extLst>
                <a:ext uri="{FF2B5EF4-FFF2-40B4-BE49-F238E27FC236}">
                  <a16:creationId xmlns:a16="http://schemas.microsoft.com/office/drawing/2014/main" id="{AFED45F0-DADC-4189-B282-C5D7D4C1BBA1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" y="3763"/>
              <a:ext cx="101" cy="116"/>
            </a:xfrm>
            <a:custGeom>
              <a:avLst/>
              <a:gdLst>
                <a:gd name="T0" fmla="*/ 14 w 49"/>
                <a:gd name="T1" fmla="*/ 45 h 56"/>
                <a:gd name="T2" fmla="*/ 19 w 49"/>
                <a:gd name="T3" fmla="*/ 35 h 56"/>
                <a:gd name="T4" fmla="*/ 39 w 49"/>
                <a:gd name="T5" fmla="*/ 35 h 56"/>
                <a:gd name="T6" fmla="*/ 39 w 49"/>
                <a:gd name="T7" fmla="*/ 24 h 56"/>
                <a:gd name="T8" fmla="*/ 24 w 49"/>
                <a:gd name="T9" fmla="*/ 24 h 56"/>
                <a:gd name="T10" fmla="*/ 33 w 49"/>
                <a:gd name="T11" fmla="*/ 4 h 56"/>
                <a:gd name="T12" fmla="*/ 23 w 49"/>
                <a:gd name="T13" fmla="*/ 0 h 56"/>
                <a:gd name="T14" fmla="*/ 12 w 49"/>
                <a:gd name="T15" fmla="*/ 24 h 56"/>
                <a:gd name="T16" fmla="*/ 1 w 49"/>
                <a:gd name="T17" fmla="*/ 24 h 56"/>
                <a:gd name="T18" fmla="*/ 1 w 49"/>
                <a:gd name="T19" fmla="*/ 35 h 56"/>
                <a:gd name="T20" fmla="*/ 7 w 49"/>
                <a:gd name="T21" fmla="*/ 35 h 56"/>
                <a:gd name="T22" fmla="*/ 1 w 49"/>
                <a:gd name="T23" fmla="*/ 49 h 56"/>
                <a:gd name="T24" fmla="*/ 4 w 49"/>
                <a:gd name="T25" fmla="*/ 56 h 56"/>
                <a:gd name="T26" fmla="*/ 6 w 49"/>
                <a:gd name="T27" fmla="*/ 56 h 56"/>
                <a:gd name="T28" fmla="*/ 49 w 49"/>
                <a:gd name="T29" fmla="*/ 56 h 56"/>
                <a:gd name="T30" fmla="*/ 49 w 49"/>
                <a:gd name="T31" fmla="*/ 45 h 56"/>
                <a:gd name="T32" fmla="*/ 14 w 49"/>
                <a:gd name="T33" fmla="*/ 4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9" h="56">
                  <a:moveTo>
                    <a:pt x="14" y="45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35"/>
                    <a:pt x="1" y="35"/>
                    <a:pt x="1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51"/>
                    <a:pt x="1" y="55"/>
                    <a:pt x="4" y="56"/>
                  </a:cubicBezTo>
                  <a:cubicBezTo>
                    <a:pt x="4" y="56"/>
                    <a:pt x="5" y="56"/>
                    <a:pt x="6" y="56"/>
                  </a:cubicBezTo>
                  <a:cubicBezTo>
                    <a:pt x="49" y="56"/>
                    <a:pt x="49" y="56"/>
                    <a:pt x="49" y="56"/>
                  </a:cubicBezTo>
                  <a:cubicBezTo>
                    <a:pt x="49" y="45"/>
                    <a:pt x="49" y="45"/>
                    <a:pt x="49" y="45"/>
                  </a:cubicBezTo>
                  <a:lnTo>
                    <a:pt x="14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98" name="Freeform 320">
              <a:extLst>
                <a:ext uri="{FF2B5EF4-FFF2-40B4-BE49-F238E27FC236}">
                  <a16:creationId xmlns:a16="http://schemas.microsoft.com/office/drawing/2014/main" id="{3B859751-6EEC-4D35-8380-43BDD0A978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" y="3712"/>
              <a:ext cx="245" cy="245"/>
            </a:xfrm>
            <a:custGeom>
              <a:avLst/>
              <a:gdLst>
                <a:gd name="T0" fmla="*/ 60 w 119"/>
                <a:gd name="T1" fmla="*/ 0 h 119"/>
                <a:gd name="T2" fmla="*/ 0 w 119"/>
                <a:gd name="T3" fmla="*/ 60 h 119"/>
                <a:gd name="T4" fmla="*/ 60 w 119"/>
                <a:gd name="T5" fmla="*/ 119 h 119"/>
                <a:gd name="T6" fmla="*/ 119 w 119"/>
                <a:gd name="T7" fmla="*/ 60 h 119"/>
                <a:gd name="T8" fmla="*/ 60 w 119"/>
                <a:gd name="T9" fmla="*/ 0 h 119"/>
                <a:gd name="T10" fmla="*/ 60 w 119"/>
                <a:gd name="T11" fmla="*/ 108 h 119"/>
                <a:gd name="T12" fmla="*/ 11 w 119"/>
                <a:gd name="T13" fmla="*/ 60 h 119"/>
                <a:gd name="T14" fmla="*/ 60 w 119"/>
                <a:gd name="T15" fmla="*/ 11 h 119"/>
                <a:gd name="T16" fmla="*/ 109 w 119"/>
                <a:gd name="T17" fmla="*/ 60 h 119"/>
                <a:gd name="T18" fmla="*/ 60 w 119"/>
                <a:gd name="T19" fmla="*/ 108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119">
                  <a:moveTo>
                    <a:pt x="60" y="0"/>
                  </a:moveTo>
                  <a:cubicBezTo>
                    <a:pt x="27" y="0"/>
                    <a:pt x="0" y="27"/>
                    <a:pt x="0" y="60"/>
                  </a:cubicBezTo>
                  <a:cubicBezTo>
                    <a:pt x="0" y="92"/>
                    <a:pt x="27" y="119"/>
                    <a:pt x="60" y="119"/>
                  </a:cubicBezTo>
                  <a:cubicBezTo>
                    <a:pt x="93" y="119"/>
                    <a:pt x="119" y="92"/>
                    <a:pt x="119" y="60"/>
                  </a:cubicBezTo>
                  <a:cubicBezTo>
                    <a:pt x="119" y="27"/>
                    <a:pt x="93" y="0"/>
                    <a:pt x="60" y="0"/>
                  </a:cubicBezTo>
                  <a:close/>
                  <a:moveTo>
                    <a:pt x="60" y="108"/>
                  </a:moveTo>
                  <a:cubicBezTo>
                    <a:pt x="33" y="108"/>
                    <a:pt x="11" y="86"/>
                    <a:pt x="11" y="60"/>
                  </a:cubicBezTo>
                  <a:cubicBezTo>
                    <a:pt x="11" y="33"/>
                    <a:pt x="33" y="11"/>
                    <a:pt x="60" y="11"/>
                  </a:cubicBezTo>
                  <a:cubicBezTo>
                    <a:pt x="87" y="11"/>
                    <a:pt x="109" y="33"/>
                    <a:pt x="109" y="60"/>
                  </a:cubicBezTo>
                  <a:cubicBezTo>
                    <a:pt x="108" y="86"/>
                    <a:pt x="87" y="108"/>
                    <a:pt x="60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99" name="Freeform 321">
              <a:extLst>
                <a:ext uri="{FF2B5EF4-FFF2-40B4-BE49-F238E27FC236}">
                  <a16:creationId xmlns:a16="http://schemas.microsoft.com/office/drawing/2014/main" id="{67F4753D-3C0D-48AB-B0C7-77BF7E0AD8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" y="3454"/>
              <a:ext cx="245" cy="245"/>
            </a:xfrm>
            <a:custGeom>
              <a:avLst/>
              <a:gdLst>
                <a:gd name="T0" fmla="*/ 60 w 119"/>
                <a:gd name="T1" fmla="*/ 0 h 119"/>
                <a:gd name="T2" fmla="*/ 0 w 119"/>
                <a:gd name="T3" fmla="*/ 60 h 119"/>
                <a:gd name="T4" fmla="*/ 60 w 119"/>
                <a:gd name="T5" fmla="*/ 119 h 119"/>
                <a:gd name="T6" fmla="*/ 119 w 119"/>
                <a:gd name="T7" fmla="*/ 60 h 119"/>
                <a:gd name="T8" fmla="*/ 60 w 119"/>
                <a:gd name="T9" fmla="*/ 0 h 119"/>
                <a:gd name="T10" fmla="*/ 60 w 119"/>
                <a:gd name="T11" fmla="*/ 109 h 119"/>
                <a:gd name="T12" fmla="*/ 11 w 119"/>
                <a:gd name="T13" fmla="*/ 60 h 119"/>
                <a:gd name="T14" fmla="*/ 60 w 119"/>
                <a:gd name="T15" fmla="*/ 11 h 119"/>
                <a:gd name="T16" fmla="*/ 108 w 119"/>
                <a:gd name="T17" fmla="*/ 60 h 119"/>
                <a:gd name="T18" fmla="*/ 60 w 119"/>
                <a:gd name="T19" fmla="*/ 10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9" h="119">
                  <a:moveTo>
                    <a:pt x="60" y="0"/>
                  </a:moveTo>
                  <a:cubicBezTo>
                    <a:pt x="27" y="0"/>
                    <a:pt x="0" y="27"/>
                    <a:pt x="0" y="60"/>
                  </a:cubicBezTo>
                  <a:cubicBezTo>
                    <a:pt x="0" y="93"/>
                    <a:pt x="27" y="119"/>
                    <a:pt x="60" y="119"/>
                  </a:cubicBezTo>
                  <a:cubicBezTo>
                    <a:pt x="92" y="119"/>
                    <a:pt x="119" y="93"/>
                    <a:pt x="119" y="60"/>
                  </a:cubicBezTo>
                  <a:cubicBezTo>
                    <a:pt x="119" y="27"/>
                    <a:pt x="92" y="0"/>
                    <a:pt x="60" y="0"/>
                  </a:cubicBezTo>
                  <a:close/>
                  <a:moveTo>
                    <a:pt x="60" y="109"/>
                  </a:moveTo>
                  <a:cubicBezTo>
                    <a:pt x="33" y="109"/>
                    <a:pt x="11" y="87"/>
                    <a:pt x="11" y="60"/>
                  </a:cubicBezTo>
                  <a:cubicBezTo>
                    <a:pt x="11" y="33"/>
                    <a:pt x="33" y="11"/>
                    <a:pt x="60" y="11"/>
                  </a:cubicBezTo>
                  <a:cubicBezTo>
                    <a:pt x="86" y="11"/>
                    <a:pt x="108" y="33"/>
                    <a:pt x="108" y="60"/>
                  </a:cubicBezTo>
                  <a:cubicBezTo>
                    <a:pt x="108" y="87"/>
                    <a:pt x="86" y="109"/>
                    <a:pt x="60" y="1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00" name="Freeform 322">
              <a:extLst>
                <a:ext uri="{FF2B5EF4-FFF2-40B4-BE49-F238E27FC236}">
                  <a16:creationId xmlns:a16="http://schemas.microsoft.com/office/drawing/2014/main" id="{82ED81BC-4896-40BC-9D76-D7CC0B49CF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" y="3522"/>
              <a:ext cx="121" cy="111"/>
            </a:xfrm>
            <a:custGeom>
              <a:avLst/>
              <a:gdLst>
                <a:gd name="T0" fmla="*/ 48 w 59"/>
                <a:gd name="T1" fmla="*/ 0 h 54"/>
                <a:gd name="T2" fmla="*/ 45 w 59"/>
                <a:gd name="T3" fmla="*/ 0 h 54"/>
                <a:gd name="T4" fmla="*/ 6 w 59"/>
                <a:gd name="T5" fmla="*/ 0 h 54"/>
                <a:gd name="T6" fmla="*/ 6 w 59"/>
                <a:gd name="T7" fmla="*/ 10 h 54"/>
                <a:gd name="T8" fmla="*/ 45 w 59"/>
                <a:gd name="T9" fmla="*/ 10 h 54"/>
                <a:gd name="T10" fmla="*/ 47 w 59"/>
                <a:gd name="T11" fmla="*/ 11 h 54"/>
                <a:gd name="T12" fmla="*/ 47 w 59"/>
                <a:gd name="T13" fmla="*/ 13 h 54"/>
                <a:gd name="T14" fmla="*/ 40 w 59"/>
                <a:gd name="T15" fmla="*/ 41 h 54"/>
                <a:gd name="T16" fmla="*/ 38 w 59"/>
                <a:gd name="T17" fmla="*/ 43 h 54"/>
                <a:gd name="T18" fmla="*/ 0 w 59"/>
                <a:gd name="T19" fmla="*/ 43 h 54"/>
                <a:gd name="T20" fmla="*/ 0 w 59"/>
                <a:gd name="T21" fmla="*/ 54 h 54"/>
                <a:gd name="T22" fmla="*/ 38 w 59"/>
                <a:gd name="T23" fmla="*/ 54 h 54"/>
                <a:gd name="T24" fmla="*/ 51 w 59"/>
                <a:gd name="T25" fmla="*/ 44 h 54"/>
                <a:gd name="T26" fmla="*/ 58 w 59"/>
                <a:gd name="T27" fmla="*/ 16 h 54"/>
                <a:gd name="T28" fmla="*/ 48 w 59"/>
                <a:gd name="T29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54">
                  <a:moveTo>
                    <a:pt x="48" y="0"/>
                  </a:moveTo>
                  <a:cubicBezTo>
                    <a:pt x="47" y="0"/>
                    <a:pt x="46" y="0"/>
                    <a:pt x="45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5" y="10"/>
                    <a:pt x="46" y="11"/>
                    <a:pt x="47" y="11"/>
                  </a:cubicBezTo>
                  <a:cubicBezTo>
                    <a:pt x="47" y="12"/>
                    <a:pt x="47" y="13"/>
                    <a:pt x="47" y="13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40" y="42"/>
                    <a:pt x="39" y="43"/>
                    <a:pt x="38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44" y="54"/>
                    <a:pt x="49" y="50"/>
                    <a:pt x="51" y="44"/>
                  </a:cubicBezTo>
                  <a:cubicBezTo>
                    <a:pt x="58" y="16"/>
                    <a:pt x="58" y="16"/>
                    <a:pt x="58" y="16"/>
                  </a:cubicBezTo>
                  <a:cubicBezTo>
                    <a:pt x="59" y="9"/>
                    <a:pt x="55" y="2"/>
                    <a:pt x="4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01" name="Rectangle 323">
              <a:extLst>
                <a:ext uri="{FF2B5EF4-FFF2-40B4-BE49-F238E27FC236}">
                  <a16:creationId xmlns:a16="http://schemas.microsoft.com/office/drawing/2014/main" id="{C8FF484E-737C-42F2-86E8-80969C920E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" y="3565"/>
              <a:ext cx="55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02" name="Freeform 324">
              <a:extLst>
                <a:ext uri="{FF2B5EF4-FFF2-40B4-BE49-F238E27FC236}">
                  <a16:creationId xmlns:a16="http://schemas.microsoft.com/office/drawing/2014/main" id="{F57B72A3-9E3A-42FF-BD82-8C5FD0E98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95" y="3778"/>
              <a:ext cx="156" cy="90"/>
            </a:xfrm>
            <a:custGeom>
              <a:avLst/>
              <a:gdLst>
                <a:gd name="T0" fmla="*/ 65 w 76"/>
                <a:gd name="T1" fmla="*/ 33 h 44"/>
                <a:gd name="T2" fmla="*/ 65 w 76"/>
                <a:gd name="T3" fmla="*/ 6 h 44"/>
                <a:gd name="T4" fmla="*/ 59 w 76"/>
                <a:gd name="T5" fmla="*/ 0 h 44"/>
                <a:gd name="T6" fmla="*/ 56 w 76"/>
                <a:gd name="T7" fmla="*/ 1 h 44"/>
                <a:gd name="T8" fmla="*/ 38 w 76"/>
                <a:gd name="T9" fmla="*/ 15 h 44"/>
                <a:gd name="T10" fmla="*/ 19 w 76"/>
                <a:gd name="T11" fmla="*/ 1 h 44"/>
                <a:gd name="T12" fmla="*/ 12 w 76"/>
                <a:gd name="T13" fmla="*/ 3 h 44"/>
                <a:gd name="T14" fmla="*/ 11 w 76"/>
                <a:gd name="T15" fmla="*/ 6 h 44"/>
                <a:gd name="T16" fmla="*/ 11 w 76"/>
                <a:gd name="T17" fmla="*/ 33 h 44"/>
                <a:gd name="T18" fmla="*/ 0 w 76"/>
                <a:gd name="T19" fmla="*/ 33 h 44"/>
                <a:gd name="T20" fmla="*/ 0 w 76"/>
                <a:gd name="T21" fmla="*/ 44 h 44"/>
                <a:gd name="T22" fmla="*/ 16 w 76"/>
                <a:gd name="T23" fmla="*/ 44 h 44"/>
                <a:gd name="T24" fmla="*/ 21 w 76"/>
                <a:gd name="T25" fmla="*/ 38 h 44"/>
                <a:gd name="T26" fmla="*/ 21 w 76"/>
                <a:gd name="T27" fmla="*/ 17 h 44"/>
                <a:gd name="T28" fmla="*/ 34 w 76"/>
                <a:gd name="T29" fmla="*/ 26 h 44"/>
                <a:gd name="T30" fmla="*/ 41 w 76"/>
                <a:gd name="T31" fmla="*/ 26 h 44"/>
                <a:gd name="T32" fmla="*/ 54 w 76"/>
                <a:gd name="T33" fmla="*/ 17 h 44"/>
                <a:gd name="T34" fmla="*/ 54 w 76"/>
                <a:gd name="T35" fmla="*/ 38 h 44"/>
                <a:gd name="T36" fmla="*/ 59 w 76"/>
                <a:gd name="T37" fmla="*/ 44 h 44"/>
                <a:gd name="T38" fmla="*/ 76 w 76"/>
                <a:gd name="T39" fmla="*/ 44 h 44"/>
                <a:gd name="T40" fmla="*/ 76 w 76"/>
                <a:gd name="T41" fmla="*/ 33 h 44"/>
                <a:gd name="T42" fmla="*/ 65 w 76"/>
                <a:gd name="T43" fmla="*/ 3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6" h="44">
                  <a:moveTo>
                    <a:pt x="65" y="33"/>
                  </a:moveTo>
                  <a:cubicBezTo>
                    <a:pt x="65" y="6"/>
                    <a:pt x="65" y="6"/>
                    <a:pt x="65" y="6"/>
                  </a:cubicBezTo>
                  <a:cubicBezTo>
                    <a:pt x="65" y="3"/>
                    <a:pt x="62" y="0"/>
                    <a:pt x="59" y="0"/>
                  </a:cubicBezTo>
                  <a:cubicBezTo>
                    <a:pt x="58" y="0"/>
                    <a:pt x="57" y="1"/>
                    <a:pt x="56" y="1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19" y="1"/>
                    <a:pt x="19" y="1"/>
                    <a:pt x="19" y="1"/>
                  </a:cubicBezTo>
                  <a:cubicBezTo>
                    <a:pt x="17" y="0"/>
                    <a:pt x="13" y="0"/>
                    <a:pt x="12" y="3"/>
                  </a:cubicBezTo>
                  <a:cubicBezTo>
                    <a:pt x="11" y="3"/>
                    <a:pt x="11" y="5"/>
                    <a:pt x="11" y="6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9" y="44"/>
                    <a:pt x="21" y="41"/>
                    <a:pt x="21" y="38"/>
                  </a:cubicBezTo>
                  <a:cubicBezTo>
                    <a:pt x="21" y="17"/>
                    <a:pt x="21" y="17"/>
                    <a:pt x="21" y="17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6" y="28"/>
                    <a:pt x="39" y="28"/>
                    <a:pt x="41" y="26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4" y="38"/>
                    <a:pt x="54" y="38"/>
                    <a:pt x="54" y="38"/>
                  </a:cubicBezTo>
                  <a:cubicBezTo>
                    <a:pt x="54" y="41"/>
                    <a:pt x="56" y="44"/>
                    <a:pt x="59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33"/>
                    <a:pt x="76" y="33"/>
                    <a:pt x="76" y="33"/>
                  </a:cubicBezTo>
                  <a:lnTo>
                    <a:pt x="65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03" name="Rectangle 325">
              <a:extLst>
                <a:ext uri="{FF2B5EF4-FFF2-40B4-BE49-F238E27FC236}">
                  <a16:creationId xmlns:a16="http://schemas.microsoft.com/office/drawing/2014/main" id="{F0CB4AE7-82C4-4D18-9776-5F1F969182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2" y="3353"/>
              <a:ext cx="22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04" name="Rectangle 326">
              <a:extLst>
                <a:ext uri="{FF2B5EF4-FFF2-40B4-BE49-F238E27FC236}">
                  <a16:creationId xmlns:a16="http://schemas.microsoft.com/office/drawing/2014/main" id="{709A8982-72AA-4D81-B3B1-4ABDB2B085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" y="3343"/>
              <a:ext cx="22" cy="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05" name="Rectangle 327">
              <a:extLst>
                <a:ext uri="{FF2B5EF4-FFF2-40B4-BE49-F238E27FC236}">
                  <a16:creationId xmlns:a16="http://schemas.microsoft.com/office/drawing/2014/main" id="{B392ADCB-65ED-4EF5-A2F6-596AB3609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9" y="3409"/>
              <a:ext cx="23" cy="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06" name="Rectangle 328">
              <a:extLst>
                <a:ext uri="{FF2B5EF4-FFF2-40B4-BE49-F238E27FC236}">
                  <a16:creationId xmlns:a16="http://schemas.microsoft.com/office/drawing/2014/main" id="{FF4C7893-78C0-42B5-B1DB-7EC7575ED7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" y="3745"/>
              <a:ext cx="23" cy="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07" name="Rectangle 329">
              <a:extLst>
                <a:ext uri="{FF2B5EF4-FFF2-40B4-BE49-F238E27FC236}">
                  <a16:creationId xmlns:a16="http://schemas.microsoft.com/office/drawing/2014/main" id="{B3D0CD78-6B93-415C-B4F7-1F1C7E2FCA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" y="3689"/>
              <a:ext cx="22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08" name="Rectangle 330">
              <a:extLst>
                <a:ext uri="{FF2B5EF4-FFF2-40B4-BE49-F238E27FC236}">
                  <a16:creationId xmlns:a16="http://schemas.microsoft.com/office/drawing/2014/main" id="{DFC7C436-99E3-4403-9153-51A8113D36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" y="3800"/>
              <a:ext cx="23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09" name="Rectangle 331">
              <a:extLst>
                <a:ext uri="{FF2B5EF4-FFF2-40B4-BE49-F238E27FC236}">
                  <a16:creationId xmlns:a16="http://schemas.microsoft.com/office/drawing/2014/main" id="{11419A84-9AAC-4954-B382-80DBACF029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" y="3934"/>
              <a:ext cx="23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10" name="Rectangle 332">
              <a:extLst>
                <a:ext uri="{FF2B5EF4-FFF2-40B4-BE49-F238E27FC236}">
                  <a16:creationId xmlns:a16="http://schemas.microsoft.com/office/drawing/2014/main" id="{2EB726B1-21C0-4D8B-8222-2BAA2682C6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1" y="3914"/>
              <a:ext cx="23" cy="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11" name="Rectangle 333">
              <a:extLst>
                <a:ext uri="{FF2B5EF4-FFF2-40B4-BE49-F238E27FC236}">
                  <a16:creationId xmlns:a16="http://schemas.microsoft.com/office/drawing/2014/main" id="{3623F0DE-19EE-4DC1-A77E-376810836C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9" y="3914"/>
              <a:ext cx="21" cy="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12" name="Rectangle 334">
              <a:extLst>
                <a:ext uri="{FF2B5EF4-FFF2-40B4-BE49-F238E27FC236}">
                  <a16:creationId xmlns:a16="http://schemas.microsoft.com/office/drawing/2014/main" id="{3CFE9458-3B88-42DD-8F40-6701FD9507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9" y="3343"/>
              <a:ext cx="23" cy="2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13" name="Rectangle 335">
              <a:extLst>
                <a:ext uri="{FF2B5EF4-FFF2-40B4-BE49-F238E27FC236}">
                  <a16:creationId xmlns:a16="http://schemas.microsoft.com/office/drawing/2014/main" id="{97F14C81-756B-4837-AFF0-C49EAEDBDB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2" y="3409"/>
              <a:ext cx="22" cy="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14" name="Rectangle 336">
              <a:extLst>
                <a:ext uri="{FF2B5EF4-FFF2-40B4-BE49-F238E27FC236}">
                  <a16:creationId xmlns:a16="http://schemas.microsoft.com/office/drawing/2014/main" id="{CD0EA2F6-1413-44FD-BD84-AB13FFB14C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" y="3330"/>
              <a:ext cx="22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15" name="Rectangle 337">
              <a:extLst>
                <a:ext uri="{FF2B5EF4-FFF2-40B4-BE49-F238E27FC236}">
                  <a16:creationId xmlns:a16="http://schemas.microsoft.com/office/drawing/2014/main" id="{8ECC5859-5D43-4C2C-8FA0-ABBFE56812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7" y="3689"/>
              <a:ext cx="22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16" name="Rectangle 338">
              <a:extLst>
                <a:ext uri="{FF2B5EF4-FFF2-40B4-BE49-F238E27FC236}">
                  <a16:creationId xmlns:a16="http://schemas.microsoft.com/office/drawing/2014/main" id="{02BD5126-B5DE-4B9B-8789-AE5A582A13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7" y="3790"/>
              <a:ext cx="22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17" name="Rectangle 339">
              <a:extLst>
                <a:ext uri="{FF2B5EF4-FFF2-40B4-BE49-F238E27FC236}">
                  <a16:creationId xmlns:a16="http://schemas.microsoft.com/office/drawing/2014/main" id="{C69E88DD-47DB-4F73-881A-BDFFF5E8B8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9" y="3734"/>
              <a:ext cx="23" cy="2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F6D1C4B5-4074-4B95-9096-3A47E7492642}"/>
              </a:ext>
            </a:extLst>
          </p:cNvPr>
          <p:cNvGrpSpPr>
            <a:grpSpLocks noChangeAspect="1"/>
          </p:cNvGrpSpPr>
          <p:nvPr/>
        </p:nvGrpSpPr>
        <p:grpSpPr bwMode="auto">
          <a:xfrm rot="16200000">
            <a:off x="3627801" y="2529956"/>
            <a:ext cx="320040" cy="320040"/>
            <a:chOff x="2840" y="1976"/>
            <a:chExt cx="368" cy="368"/>
          </a:xfrm>
          <a:solidFill>
            <a:srgbClr val="EE2D67"/>
          </a:solidFill>
        </p:grpSpPr>
        <p:sp>
          <p:nvSpPr>
            <p:cNvPr id="219" name="Freeform 5">
              <a:extLst>
                <a:ext uri="{FF2B5EF4-FFF2-40B4-BE49-F238E27FC236}">
                  <a16:creationId xmlns:a16="http://schemas.microsoft.com/office/drawing/2014/main" id="{FD470FA8-CA0D-4C9F-A808-C3E77CAE71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0" y="1976"/>
              <a:ext cx="368" cy="368"/>
            </a:xfrm>
            <a:custGeom>
              <a:avLst/>
              <a:gdLst>
                <a:gd name="T0" fmla="*/ 88 w 177"/>
                <a:gd name="T1" fmla="*/ 177 h 177"/>
                <a:gd name="T2" fmla="*/ 0 w 177"/>
                <a:gd name="T3" fmla="*/ 89 h 177"/>
                <a:gd name="T4" fmla="*/ 88 w 177"/>
                <a:gd name="T5" fmla="*/ 0 h 177"/>
                <a:gd name="T6" fmla="*/ 177 w 177"/>
                <a:gd name="T7" fmla="*/ 89 h 177"/>
                <a:gd name="T8" fmla="*/ 88 w 177"/>
                <a:gd name="T9" fmla="*/ 177 h 177"/>
                <a:gd name="T10" fmla="*/ 88 w 177"/>
                <a:gd name="T11" fmla="*/ 6 h 177"/>
                <a:gd name="T12" fmla="*/ 6 w 177"/>
                <a:gd name="T13" fmla="*/ 89 h 177"/>
                <a:gd name="T14" fmla="*/ 88 w 177"/>
                <a:gd name="T15" fmla="*/ 171 h 177"/>
                <a:gd name="T16" fmla="*/ 171 w 177"/>
                <a:gd name="T17" fmla="*/ 89 h 177"/>
                <a:gd name="T18" fmla="*/ 88 w 177"/>
                <a:gd name="T19" fmla="*/ 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7">
                  <a:moveTo>
                    <a:pt x="88" y="177"/>
                  </a:moveTo>
                  <a:cubicBezTo>
                    <a:pt x="40" y="177"/>
                    <a:pt x="0" y="137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7"/>
                    <a:pt x="137" y="177"/>
                    <a:pt x="88" y="177"/>
                  </a:cubicBezTo>
                  <a:close/>
                  <a:moveTo>
                    <a:pt x="88" y="6"/>
                  </a:moveTo>
                  <a:cubicBezTo>
                    <a:pt x="43" y="6"/>
                    <a:pt x="6" y="43"/>
                    <a:pt x="6" y="89"/>
                  </a:cubicBezTo>
                  <a:cubicBezTo>
                    <a:pt x="6" y="134"/>
                    <a:pt x="43" y="171"/>
                    <a:pt x="88" y="171"/>
                  </a:cubicBezTo>
                  <a:cubicBezTo>
                    <a:pt x="134" y="171"/>
                    <a:pt x="171" y="134"/>
                    <a:pt x="171" y="89"/>
                  </a:cubicBezTo>
                  <a:cubicBezTo>
                    <a:pt x="171" y="43"/>
                    <a:pt x="134" y="6"/>
                    <a:pt x="88" y="6"/>
                  </a:cubicBezTo>
                  <a:close/>
                </a:path>
              </a:pathLst>
            </a:custGeom>
            <a:grpFill/>
            <a:ln w="9525">
              <a:solidFill>
                <a:srgbClr val="EE2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20" name="Freeform 6">
              <a:extLst>
                <a:ext uri="{FF2B5EF4-FFF2-40B4-BE49-F238E27FC236}">
                  <a16:creationId xmlns:a16="http://schemas.microsoft.com/office/drawing/2014/main" id="{632840C9-FCB5-447B-97D9-347A081146A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" y="2090"/>
              <a:ext cx="75" cy="136"/>
            </a:xfrm>
            <a:custGeom>
              <a:avLst/>
              <a:gdLst>
                <a:gd name="T0" fmla="*/ 3 w 36"/>
                <a:gd name="T1" fmla="*/ 65 h 65"/>
                <a:gd name="T2" fmla="*/ 1 w 36"/>
                <a:gd name="T3" fmla="*/ 64 h 65"/>
                <a:gd name="T4" fmla="*/ 1 w 36"/>
                <a:gd name="T5" fmla="*/ 59 h 65"/>
                <a:gd name="T6" fmla="*/ 28 w 36"/>
                <a:gd name="T7" fmla="*/ 32 h 65"/>
                <a:gd name="T8" fmla="*/ 1 w 36"/>
                <a:gd name="T9" fmla="*/ 5 h 65"/>
                <a:gd name="T10" fmla="*/ 1 w 36"/>
                <a:gd name="T11" fmla="*/ 1 h 65"/>
                <a:gd name="T12" fmla="*/ 5 w 36"/>
                <a:gd name="T13" fmla="*/ 1 h 65"/>
                <a:gd name="T14" fmla="*/ 35 w 36"/>
                <a:gd name="T15" fmla="*/ 30 h 65"/>
                <a:gd name="T16" fmla="*/ 35 w 36"/>
                <a:gd name="T17" fmla="*/ 34 h 65"/>
                <a:gd name="T18" fmla="*/ 5 w 36"/>
                <a:gd name="T19" fmla="*/ 64 h 65"/>
                <a:gd name="T20" fmla="*/ 3 w 36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65">
                  <a:moveTo>
                    <a:pt x="3" y="65"/>
                  </a:moveTo>
                  <a:cubicBezTo>
                    <a:pt x="3" y="65"/>
                    <a:pt x="2" y="64"/>
                    <a:pt x="1" y="64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1"/>
                    <a:pt x="36" y="33"/>
                    <a:pt x="35" y="3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64"/>
                    <a:pt x="4" y="65"/>
                    <a:pt x="3" y="65"/>
                  </a:cubicBezTo>
                  <a:close/>
                </a:path>
              </a:pathLst>
            </a:custGeom>
            <a:grpFill/>
            <a:ln w="9525">
              <a:solidFill>
                <a:srgbClr val="EE2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02576B61-26C5-48EE-AEC5-EDA26C43C29A}"/>
              </a:ext>
            </a:extLst>
          </p:cNvPr>
          <p:cNvGrpSpPr>
            <a:grpSpLocks noChangeAspect="1"/>
          </p:cNvGrpSpPr>
          <p:nvPr/>
        </p:nvGrpSpPr>
        <p:grpSpPr bwMode="auto">
          <a:xfrm rot="16200000">
            <a:off x="3627800" y="2115967"/>
            <a:ext cx="320040" cy="320040"/>
            <a:chOff x="2840" y="1976"/>
            <a:chExt cx="368" cy="368"/>
          </a:xfrm>
          <a:solidFill>
            <a:srgbClr val="EE2D67"/>
          </a:solidFill>
        </p:grpSpPr>
        <p:sp>
          <p:nvSpPr>
            <p:cNvPr id="222" name="Freeform 5">
              <a:extLst>
                <a:ext uri="{FF2B5EF4-FFF2-40B4-BE49-F238E27FC236}">
                  <a16:creationId xmlns:a16="http://schemas.microsoft.com/office/drawing/2014/main" id="{2734EE83-39EA-4ED4-8703-B2EB07A066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0" y="1976"/>
              <a:ext cx="368" cy="368"/>
            </a:xfrm>
            <a:custGeom>
              <a:avLst/>
              <a:gdLst>
                <a:gd name="T0" fmla="*/ 88 w 177"/>
                <a:gd name="T1" fmla="*/ 177 h 177"/>
                <a:gd name="T2" fmla="*/ 0 w 177"/>
                <a:gd name="T3" fmla="*/ 89 h 177"/>
                <a:gd name="T4" fmla="*/ 88 w 177"/>
                <a:gd name="T5" fmla="*/ 0 h 177"/>
                <a:gd name="T6" fmla="*/ 177 w 177"/>
                <a:gd name="T7" fmla="*/ 89 h 177"/>
                <a:gd name="T8" fmla="*/ 88 w 177"/>
                <a:gd name="T9" fmla="*/ 177 h 177"/>
                <a:gd name="T10" fmla="*/ 88 w 177"/>
                <a:gd name="T11" fmla="*/ 6 h 177"/>
                <a:gd name="T12" fmla="*/ 6 w 177"/>
                <a:gd name="T13" fmla="*/ 89 h 177"/>
                <a:gd name="T14" fmla="*/ 88 w 177"/>
                <a:gd name="T15" fmla="*/ 171 h 177"/>
                <a:gd name="T16" fmla="*/ 171 w 177"/>
                <a:gd name="T17" fmla="*/ 89 h 177"/>
                <a:gd name="T18" fmla="*/ 88 w 177"/>
                <a:gd name="T19" fmla="*/ 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7">
                  <a:moveTo>
                    <a:pt x="88" y="177"/>
                  </a:moveTo>
                  <a:cubicBezTo>
                    <a:pt x="40" y="177"/>
                    <a:pt x="0" y="137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7"/>
                    <a:pt x="137" y="177"/>
                    <a:pt x="88" y="177"/>
                  </a:cubicBezTo>
                  <a:close/>
                  <a:moveTo>
                    <a:pt x="88" y="6"/>
                  </a:moveTo>
                  <a:cubicBezTo>
                    <a:pt x="43" y="6"/>
                    <a:pt x="6" y="43"/>
                    <a:pt x="6" y="89"/>
                  </a:cubicBezTo>
                  <a:cubicBezTo>
                    <a:pt x="6" y="134"/>
                    <a:pt x="43" y="171"/>
                    <a:pt x="88" y="171"/>
                  </a:cubicBezTo>
                  <a:cubicBezTo>
                    <a:pt x="134" y="171"/>
                    <a:pt x="171" y="134"/>
                    <a:pt x="171" y="89"/>
                  </a:cubicBezTo>
                  <a:cubicBezTo>
                    <a:pt x="171" y="43"/>
                    <a:pt x="134" y="6"/>
                    <a:pt x="88" y="6"/>
                  </a:cubicBezTo>
                  <a:close/>
                </a:path>
              </a:pathLst>
            </a:custGeom>
            <a:grpFill/>
            <a:ln w="9525">
              <a:solidFill>
                <a:srgbClr val="EE2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23" name="Freeform 6">
              <a:extLst>
                <a:ext uri="{FF2B5EF4-FFF2-40B4-BE49-F238E27FC236}">
                  <a16:creationId xmlns:a16="http://schemas.microsoft.com/office/drawing/2014/main" id="{1B332384-CED6-48FC-98BC-F18342417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" y="2090"/>
              <a:ext cx="75" cy="136"/>
            </a:xfrm>
            <a:custGeom>
              <a:avLst/>
              <a:gdLst>
                <a:gd name="T0" fmla="*/ 3 w 36"/>
                <a:gd name="T1" fmla="*/ 65 h 65"/>
                <a:gd name="T2" fmla="*/ 1 w 36"/>
                <a:gd name="T3" fmla="*/ 64 h 65"/>
                <a:gd name="T4" fmla="*/ 1 w 36"/>
                <a:gd name="T5" fmla="*/ 59 h 65"/>
                <a:gd name="T6" fmla="*/ 28 w 36"/>
                <a:gd name="T7" fmla="*/ 32 h 65"/>
                <a:gd name="T8" fmla="*/ 1 w 36"/>
                <a:gd name="T9" fmla="*/ 5 h 65"/>
                <a:gd name="T10" fmla="*/ 1 w 36"/>
                <a:gd name="T11" fmla="*/ 1 h 65"/>
                <a:gd name="T12" fmla="*/ 5 w 36"/>
                <a:gd name="T13" fmla="*/ 1 h 65"/>
                <a:gd name="T14" fmla="*/ 35 w 36"/>
                <a:gd name="T15" fmla="*/ 30 h 65"/>
                <a:gd name="T16" fmla="*/ 35 w 36"/>
                <a:gd name="T17" fmla="*/ 34 h 65"/>
                <a:gd name="T18" fmla="*/ 5 w 36"/>
                <a:gd name="T19" fmla="*/ 64 h 65"/>
                <a:gd name="T20" fmla="*/ 3 w 36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65">
                  <a:moveTo>
                    <a:pt x="3" y="65"/>
                  </a:moveTo>
                  <a:cubicBezTo>
                    <a:pt x="3" y="65"/>
                    <a:pt x="2" y="64"/>
                    <a:pt x="1" y="64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1"/>
                    <a:pt x="36" y="33"/>
                    <a:pt x="35" y="3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64"/>
                    <a:pt x="4" y="65"/>
                    <a:pt x="3" y="65"/>
                  </a:cubicBezTo>
                  <a:close/>
                </a:path>
              </a:pathLst>
            </a:custGeom>
            <a:grpFill/>
            <a:ln w="9525">
              <a:solidFill>
                <a:srgbClr val="EE2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801FB89C-CCA5-4669-95A9-62FE5DDFA734}"/>
              </a:ext>
            </a:extLst>
          </p:cNvPr>
          <p:cNvGrpSpPr>
            <a:grpSpLocks noChangeAspect="1"/>
          </p:cNvGrpSpPr>
          <p:nvPr/>
        </p:nvGrpSpPr>
        <p:grpSpPr bwMode="auto">
          <a:xfrm rot="16200000">
            <a:off x="3627800" y="1701978"/>
            <a:ext cx="320040" cy="320040"/>
            <a:chOff x="2840" y="1976"/>
            <a:chExt cx="368" cy="368"/>
          </a:xfrm>
          <a:solidFill>
            <a:srgbClr val="EE2D67"/>
          </a:solidFill>
        </p:grpSpPr>
        <p:sp>
          <p:nvSpPr>
            <p:cNvPr id="225" name="Freeform 5">
              <a:extLst>
                <a:ext uri="{FF2B5EF4-FFF2-40B4-BE49-F238E27FC236}">
                  <a16:creationId xmlns:a16="http://schemas.microsoft.com/office/drawing/2014/main" id="{4DA24276-34D6-4C8F-805C-0117244917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0" y="1976"/>
              <a:ext cx="368" cy="368"/>
            </a:xfrm>
            <a:custGeom>
              <a:avLst/>
              <a:gdLst>
                <a:gd name="T0" fmla="*/ 88 w 177"/>
                <a:gd name="T1" fmla="*/ 177 h 177"/>
                <a:gd name="T2" fmla="*/ 0 w 177"/>
                <a:gd name="T3" fmla="*/ 89 h 177"/>
                <a:gd name="T4" fmla="*/ 88 w 177"/>
                <a:gd name="T5" fmla="*/ 0 h 177"/>
                <a:gd name="T6" fmla="*/ 177 w 177"/>
                <a:gd name="T7" fmla="*/ 89 h 177"/>
                <a:gd name="T8" fmla="*/ 88 w 177"/>
                <a:gd name="T9" fmla="*/ 177 h 177"/>
                <a:gd name="T10" fmla="*/ 88 w 177"/>
                <a:gd name="T11" fmla="*/ 6 h 177"/>
                <a:gd name="T12" fmla="*/ 6 w 177"/>
                <a:gd name="T13" fmla="*/ 89 h 177"/>
                <a:gd name="T14" fmla="*/ 88 w 177"/>
                <a:gd name="T15" fmla="*/ 171 h 177"/>
                <a:gd name="T16" fmla="*/ 171 w 177"/>
                <a:gd name="T17" fmla="*/ 89 h 177"/>
                <a:gd name="T18" fmla="*/ 88 w 177"/>
                <a:gd name="T19" fmla="*/ 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7">
                  <a:moveTo>
                    <a:pt x="88" y="177"/>
                  </a:moveTo>
                  <a:cubicBezTo>
                    <a:pt x="40" y="177"/>
                    <a:pt x="0" y="137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7"/>
                    <a:pt x="137" y="177"/>
                    <a:pt x="88" y="177"/>
                  </a:cubicBezTo>
                  <a:close/>
                  <a:moveTo>
                    <a:pt x="88" y="6"/>
                  </a:moveTo>
                  <a:cubicBezTo>
                    <a:pt x="43" y="6"/>
                    <a:pt x="6" y="43"/>
                    <a:pt x="6" y="89"/>
                  </a:cubicBezTo>
                  <a:cubicBezTo>
                    <a:pt x="6" y="134"/>
                    <a:pt x="43" y="171"/>
                    <a:pt x="88" y="171"/>
                  </a:cubicBezTo>
                  <a:cubicBezTo>
                    <a:pt x="134" y="171"/>
                    <a:pt x="171" y="134"/>
                    <a:pt x="171" y="89"/>
                  </a:cubicBezTo>
                  <a:cubicBezTo>
                    <a:pt x="171" y="43"/>
                    <a:pt x="134" y="6"/>
                    <a:pt x="88" y="6"/>
                  </a:cubicBezTo>
                  <a:close/>
                </a:path>
              </a:pathLst>
            </a:custGeom>
            <a:grpFill/>
            <a:ln w="9525">
              <a:solidFill>
                <a:srgbClr val="EE2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26" name="Freeform 6">
              <a:extLst>
                <a:ext uri="{FF2B5EF4-FFF2-40B4-BE49-F238E27FC236}">
                  <a16:creationId xmlns:a16="http://schemas.microsoft.com/office/drawing/2014/main" id="{1B94484C-5E7F-4C1A-A549-3175D4003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" y="2090"/>
              <a:ext cx="75" cy="136"/>
            </a:xfrm>
            <a:custGeom>
              <a:avLst/>
              <a:gdLst>
                <a:gd name="T0" fmla="*/ 3 w 36"/>
                <a:gd name="T1" fmla="*/ 65 h 65"/>
                <a:gd name="T2" fmla="*/ 1 w 36"/>
                <a:gd name="T3" fmla="*/ 64 h 65"/>
                <a:gd name="T4" fmla="*/ 1 w 36"/>
                <a:gd name="T5" fmla="*/ 59 h 65"/>
                <a:gd name="T6" fmla="*/ 28 w 36"/>
                <a:gd name="T7" fmla="*/ 32 h 65"/>
                <a:gd name="T8" fmla="*/ 1 w 36"/>
                <a:gd name="T9" fmla="*/ 5 h 65"/>
                <a:gd name="T10" fmla="*/ 1 w 36"/>
                <a:gd name="T11" fmla="*/ 1 h 65"/>
                <a:gd name="T12" fmla="*/ 5 w 36"/>
                <a:gd name="T13" fmla="*/ 1 h 65"/>
                <a:gd name="T14" fmla="*/ 35 w 36"/>
                <a:gd name="T15" fmla="*/ 30 h 65"/>
                <a:gd name="T16" fmla="*/ 35 w 36"/>
                <a:gd name="T17" fmla="*/ 34 h 65"/>
                <a:gd name="T18" fmla="*/ 5 w 36"/>
                <a:gd name="T19" fmla="*/ 64 h 65"/>
                <a:gd name="T20" fmla="*/ 3 w 36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65">
                  <a:moveTo>
                    <a:pt x="3" y="65"/>
                  </a:moveTo>
                  <a:cubicBezTo>
                    <a:pt x="3" y="65"/>
                    <a:pt x="2" y="64"/>
                    <a:pt x="1" y="64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1"/>
                    <a:pt x="36" y="33"/>
                    <a:pt x="35" y="3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64"/>
                    <a:pt x="4" y="65"/>
                    <a:pt x="3" y="65"/>
                  </a:cubicBezTo>
                  <a:close/>
                </a:path>
              </a:pathLst>
            </a:custGeom>
            <a:grpFill/>
            <a:ln w="9525">
              <a:solidFill>
                <a:srgbClr val="EE2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1C74CE5C-2053-4A14-8BC2-5E11A2B7B166}"/>
              </a:ext>
            </a:extLst>
          </p:cNvPr>
          <p:cNvGrpSpPr>
            <a:grpSpLocks noChangeAspect="1"/>
          </p:cNvGrpSpPr>
          <p:nvPr/>
        </p:nvGrpSpPr>
        <p:grpSpPr bwMode="auto">
          <a:xfrm rot="16200000">
            <a:off x="3627800" y="1287989"/>
            <a:ext cx="320040" cy="320040"/>
            <a:chOff x="2840" y="1976"/>
            <a:chExt cx="368" cy="368"/>
          </a:xfrm>
          <a:solidFill>
            <a:srgbClr val="EE2D67"/>
          </a:solidFill>
        </p:grpSpPr>
        <p:sp>
          <p:nvSpPr>
            <p:cNvPr id="228" name="Freeform 5">
              <a:extLst>
                <a:ext uri="{FF2B5EF4-FFF2-40B4-BE49-F238E27FC236}">
                  <a16:creationId xmlns:a16="http://schemas.microsoft.com/office/drawing/2014/main" id="{E90A0901-0FA3-418D-86D2-6F0E0F8D32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0" y="1976"/>
              <a:ext cx="368" cy="368"/>
            </a:xfrm>
            <a:custGeom>
              <a:avLst/>
              <a:gdLst>
                <a:gd name="T0" fmla="*/ 88 w 177"/>
                <a:gd name="T1" fmla="*/ 177 h 177"/>
                <a:gd name="T2" fmla="*/ 0 w 177"/>
                <a:gd name="T3" fmla="*/ 89 h 177"/>
                <a:gd name="T4" fmla="*/ 88 w 177"/>
                <a:gd name="T5" fmla="*/ 0 h 177"/>
                <a:gd name="T6" fmla="*/ 177 w 177"/>
                <a:gd name="T7" fmla="*/ 89 h 177"/>
                <a:gd name="T8" fmla="*/ 88 w 177"/>
                <a:gd name="T9" fmla="*/ 177 h 177"/>
                <a:gd name="T10" fmla="*/ 88 w 177"/>
                <a:gd name="T11" fmla="*/ 6 h 177"/>
                <a:gd name="T12" fmla="*/ 6 w 177"/>
                <a:gd name="T13" fmla="*/ 89 h 177"/>
                <a:gd name="T14" fmla="*/ 88 w 177"/>
                <a:gd name="T15" fmla="*/ 171 h 177"/>
                <a:gd name="T16" fmla="*/ 171 w 177"/>
                <a:gd name="T17" fmla="*/ 89 h 177"/>
                <a:gd name="T18" fmla="*/ 88 w 177"/>
                <a:gd name="T19" fmla="*/ 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7">
                  <a:moveTo>
                    <a:pt x="88" y="177"/>
                  </a:moveTo>
                  <a:cubicBezTo>
                    <a:pt x="40" y="177"/>
                    <a:pt x="0" y="137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7"/>
                    <a:pt x="137" y="177"/>
                    <a:pt x="88" y="177"/>
                  </a:cubicBezTo>
                  <a:close/>
                  <a:moveTo>
                    <a:pt x="88" y="6"/>
                  </a:moveTo>
                  <a:cubicBezTo>
                    <a:pt x="43" y="6"/>
                    <a:pt x="6" y="43"/>
                    <a:pt x="6" y="89"/>
                  </a:cubicBezTo>
                  <a:cubicBezTo>
                    <a:pt x="6" y="134"/>
                    <a:pt x="43" y="171"/>
                    <a:pt x="88" y="171"/>
                  </a:cubicBezTo>
                  <a:cubicBezTo>
                    <a:pt x="134" y="171"/>
                    <a:pt x="171" y="134"/>
                    <a:pt x="171" y="89"/>
                  </a:cubicBezTo>
                  <a:cubicBezTo>
                    <a:pt x="171" y="43"/>
                    <a:pt x="134" y="6"/>
                    <a:pt x="88" y="6"/>
                  </a:cubicBezTo>
                  <a:close/>
                </a:path>
              </a:pathLst>
            </a:custGeom>
            <a:grpFill/>
            <a:ln w="9525">
              <a:solidFill>
                <a:srgbClr val="EE2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29" name="Freeform 6">
              <a:extLst>
                <a:ext uri="{FF2B5EF4-FFF2-40B4-BE49-F238E27FC236}">
                  <a16:creationId xmlns:a16="http://schemas.microsoft.com/office/drawing/2014/main" id="{02A52096-8224-4E35-B73C-63339E8F987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" y="2090"/>
              <a:ext cx="75" cy="136"/>
            </a:xfrm>
            <a:custGeom>
              <a:avLst/>
              <a:gdLst>
                <a:gd name="T0" fmla="*/ 3 w 36"/>
                <a:gd name="T1" fmla="*/ 65 h 65"/>
                <a:gd name="T2" fmla="*/ 1 w 36"/>
                <a:gd name="T3" fmla="*/ 64 h 65"/>
                <a:gd name="T4" fmla="*/ 1 w 36"/>
                <a:gd name="T5" fmla="*/ 59 h 65"/>
                <a:gd name="T6" fmla="*/ 28 w 36"/>
                <a:gd name="T7" fmla="*/ 32 h 65"/>
                <a:gd name="T8" fmla="*/ 1 w 36"/>
                <a:gd name="T9" fmla="*/ 5 h 65"/>
                <a:gd name="T10" fmla="*/ 1 w 36"/>
                <a:gd name="T11" fmla="*/ 1 h 65"/>
                <a:gd name="T12" fmla="*/ 5 w 36"/>
                <a:gd name="T13" fmla="*/ 1 h 65"/>
                <a:gd name="T14" fmla="*/ 35 w 36"/>
                <a:gd name="T15" fmla="*/ 30 h 65"/>
                <a:gd name="T16" fmla="*/ 35 w 36"/>
                <a:gd name="T17" fmla="*/ 34 h 65"/>
                <a:gd name="T18" fmla="*/ 5 w 36"/>
                <a:gd name="T19" fmla="*/ 64 h 65"/>
                <a:gd name="T20" fmla="*/ 3 w 36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65">
                  <a:moveTo>
                    <a:pt x="3" y="65"/>
                  </a:moveTo>
                  <a:cubicBezTo>
                    <a:pt x="3" y="65"/>
                    <a:pt x="2" y="64"/>
                    <a:pt x="1" y="64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1"/>
                    <a:pt x="36" y="33"/>
                    <a:pt x="35" y="3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64"/>
                    <a:pt x="4" y="65"/>
                    <a:pt x="3" y="65"/>
                  </a:cubicBezTo>
                  <a:close/>
                </a:path>
              </a:pathLst>
            </a:custGeom>
            <a:grpFill/>
            <a:ln w="9525">
              <a:solidFill>
                <a:srgbClr val="EE2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FED6BB78-095F-4D0F-A3D1-4150D3757B07}"/>
              </a:ext>
            </a:extLst>
          </p:cNvPr>
          <p:cNvGrpSpPr>
            <a:grpSpLocks noChangeAspect="1"/>
          </p:cNvGrpSpPr>
          <p:nvPr/>
        </p:nvGrpSpPr>
        <p:grpSpPr bwMode="auto">
          <a:xfrm rot="16200000">
            <a:off x="3627801" y="2943945"/>
            <a:ext cx="320040" cy="320040"/>
            <a:chOff x="2840" y="1976"/>
            <a:chExt cx="368" cy="368"/>
          </a:xfrm>
          <a:solidFill>
            <a:srgbClr val="EE2D67"/>
          </a:solidFill>
        </p:grpSpPr>
        <p:sp>
          <p:nvSpPr>
            <p:cNvPr id="231" name="Freeform 5">
              <a:extLst>
                <a:ext uri="{FF2B5EF4-FFF2-40B4-BE49-F238E27FC236}">
                  <a16:creationId xmlns:a16="http://schemas.microsoft.com/office/drawing/2014/main" id="{AA898D3D-51C2-4F17-9426-1FCF4CFBBC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0" y="1976"/>
              <a:ext cx="368" cy="368"/>
            </a:xfrm>
            <a:custGeom>
              <a:avLst/>
              <a:gdLst>
                <a:gd name="T0" fmla="*/ 88 w 177"/>
                <a:gd name="T1" fmla="*/ 177 h 177"/>
                <a:gd name="T2" fmla="*/ 0 w 177"/>
                <a:gd name="T3" fmla="*/ 89 h 177"/>
                <a:gd name="T4" fmla="*/ 88 w 177"/>
                <a:gd name="T5" fmla="*/ 0 h 177"/>
                <a:gd name="T6" fmla="*/ 177 w 177"/>
                <a:gd name="T7" fmla="*/ 89 h 177"/>
                <a:gd name="T8" fmla="*/ 88 w 177"/>
                <a:gd name="T9" fmla="*/ 177 h 177"/>
                <a:gd name="T10" fmla="*/ 88 w 177"/>
                <a:gd name="T11" fmla="*/ 6 h 177"/>
                <a:gd name="T12" fmla="*/ 6 w 177"/>
                <a:gd name="T13" fmla="*/ 89 h 177"/>
                <a:gd name="T14" fmla="*/ 88 w 177"/>
                <a:gd name="T15" fmla="*/ 171 h 177"/>
                <a:gd name="T16" fmla="*/ 171 w 177"/>
                <a:gd name="T17" fmla="*/ 89 h 177"/>
                <a:gd name="T18" fmla="*/ 88 w 177"/>
                <a:gd name="T19" fmla="*/ 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7">
                  <a:moveTo>
                    <a:pt x="88" y="177"/>
                  </a:moveTo>
                  <a:cubicBezTo>
                    <a:pt x="40" y="177"/>
                    <a:pt x="0" y="137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7"/>
                    <a:pt x="137" y="177"/>
                    <a:pt x="88" y="177"/>
                  </a:cubicBezTo>
                  <a:close/>
                  <a:moveTo>
                    <a:pt x="88" y="6"/>
                  </a:moveTo>
                  <a:cubicBezTo>
                    <a:pt x="43" y="6"/>
                    <a:pt x="6" y="43"/>
                    <a:pt x="6" y="89"/>
                  </a:cubicBezTo>
                  <a:cubicBezTo>
                    <a:pt x="6" y="134"/>
                    <a:pt x="43" y="171"/>
                    <a:pt x="88" y="171"/>
                  </a:cubicBezTo>
                  <a:cubicBezTo>
                    <a:pt x="134" y="171"/>
                    <a:pt x="171" y="134"/>
                    <a:pt x="171" y="89"/>
                  </a:cubicBezTo>
                  <a:cubicBezTo>
                    <a:pt x="171" y="43"/>
                    <a:pt x="134" y="6"/>
                    <a:pt x="88" y="6"/>
                  </a:cubicBezTo>
                  <a:close/>
                </a:path>
              </a:pathLst>
            </a:custGeom>
            <a:grpFill/>
            <a:ln w="9525">
              <a:solidFill>
                <a:srgbClr val="EE2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32" name="Freeform 6">
              <a:extLst>
                <a:ext uri="{FF2B5EF4-FFF2-40B4-BE49-F238E27FC236}">
                  <a16:creationId xmlns:a16="http://schemas.microsoft.com/office/drawing/2014/main" id="{4A350F68-5E67-4FEA-8347-F3FDE57108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" y="2090"/>
              <a:ext cx="75" cy="136"/>
            </a:xfrm>
            <a:custGeom>
              <a:avLst/>
              <a:gdLst>
                <a:gd name="T0" fmla="*/ 3 w 36"/>
                <a:gd name="T1" fmla="*/ 65 h 65"/>
                <a:gd name="T2" fmla="*/ 1 w 36"/>
                <a:gd name="T3" fmla="*/ 64 h 65"/>
                <a:gd name="T4" fmla="*/ 1 w 36"/>
                <a:gd name="T5" fmla="*/ 59 h 65"/>
                <a:gd name="T6" fmla="*/ 28 w 36"/>
                <a:gd name="T7" fmla="*/ 32 h 65"/>
                <a:gd name="T8" fmla="*/ 1 w 36"/>
                <a:gd name="T9" fmla="*/ 5 h 65"/>
                <a:gd name="T10" fmla="*/ 1 w 36"/>
                <a:gd name="T11" fmla="*/ 1 h 65"/>
                <a:gd name="T12" fmla="*/ 5 w 36"/>
                <a:gd name="T13" fmla="*/ 1 h 65"/>
                <a:gd name="T14" fmla="*/ 35 w 36"/>
                <a:gd name="T15" fmla="*/ 30 h 65"/>
                <a:gd name="T16" fmla="*/ 35 w 36"/>
                <a:gd name="T17" fmla="*/ 34 h 65"/>
                <a:gd name="T18" fmla="*/ 5 w 36"/>
                <a:gd name="T19" fmla="*/ 64 h 65"/>
                <a:gd name="T20" fmla="*/ 3 w 36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65">
                  <a:moveTo>
                    <a:pt x="3" y="65"/>
                  </a:moveTo>
                  <a:cubicBezTo>
                    <a:pt x="3" y="65"/>
                    <a:pt x="2" y="64"/>
                    <a:pt x="1" y="64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1"/>
                    <a:pt x="36" y="33"/>
                    <a:pt x="35" y="3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64"/>
                    <a:pt x="4" y="65"/>
                    <a:pt x="3" y="65"/>
                  </a:cubicBezTo>
                  <a:close/>
                </a:path>
              </a:pathLst>
            </a:custGeom>
            <a:grpFill/>
            <a:ln w="9525">
              <a:solidFill>
                <a:srgbClr val="EE2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233" name="Group 232">
            <a:extLst>
              <a:ext uri="{FF2B5EF4-FFF2-40B4-BE49-F238E27FC236}">
                <a16:creationId xmlns:a16="http://schemas.microsoft.com/office/drawing/2014/main" id="{C9CE644B-DEBA-4F9D-87F6-DA8E4FC10C6A}"/>
              </a:ext>
            </a:extLst>
          </p:cNvPr>
          <p:cNvGrpSpPr>
            <a:grpSpLocks noChangeAspect="1"/>
          </p:cNvGrpSpPr>
          <p:nvPr/>
        </p:nvGrpSpPr>
        <p:grpSpPr bwMode="auto">
          <a:xfrm rot="16200000">
            <a:off x="3627801" y="3357934"/>
            <a:ext cx="320040" cy="320040"/>
            <a:chOff x="2840" y="1976"/>
            <a:chExt cx="368" cy="368"/>
          </a:xfrm>
          <a:solidFill>
            <a:srgbClr val="EE2D67"/>
          </a:solidFill>
        </p:grpSpPr>
        <p:sp>
          <p:nvSpPr>
            <p:cNvPr id="234" name="Freeform 5">
              <a:extLst>
                <a:ext uri="{FF2B5EF4-FFF2-40B4-BE49-F238E27FC236}">
                  <a16:creationId xmlns:a16="http://schemas.microsoft.com/office/drawing/2014/main" id="{6B0F339D-6ACD-424F-9786-0943E72B30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0" y="1976"/>
              <a:ext cx="368" cy="368"/>
            </a:xfrm>
            <a:custGeom>
              <a:avLst/>
              <a:gdLst>
                <a:gd name="T0" fmla="*/ 88 w 177"/>
                <a:gd name="T1" fmla="*/ 177 h 177"/>
                <a:gd name="T2" fmla="*/ 0 w 177"/>
                <a:gd name="T3" fmla="*/ 89 h 177"/>
                <a:gd name="T4" fmla="*/ 88 w 177"/>
                <a:gd name="T5" fmla="*/ 0 h 177"/>
                <a:gd name="T6" fmla="*/ 177 w 177"/>
                <a:gd name="T7" fmla="*/ 89 h 177"/>
                <a:gd name="T8" fmla="*/ 88 w 177"/>
                <a:gd name="T9" fmla="*/ 177 h 177"/>
                <a:gd name="T10" fmla="*/ 88 w 177"/>
                <a:gd name="T11" fmla="*/ 6 h 177"/>
                <a:gd name="T12" fmla="*/ 6 w 177"/>
                <a:gd name="T13" fmla="*/ 89 h 177"/>
                <a:gd name="T14" fmla="*/ 88 w 177"/>
                <a:gd name="T15" fmla="*/ 171 h 177"/>
                <a:gd name="T16" fmla="*/ 171 w 177"/>
                <a:gd name="T17" fmla="*/ 89 h 177"/>
                <a:gd name="T18" fmla="*/ 88 w 177"/>
                <a:gd name="T19" fmla="*/ 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7">
                  <a:moveTo>
                    <a:pt x="88" y="177"/>
                  </a:moveTo>
                  <a:cubicBezTo>
                    <a:pt x="40" y="177"/>
                    <a:pt x="0" y="137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7"/>
                    <a:pt x="137" y="177"/>
                    <a:pt x="88" y="177"/>
                  </a:cubicBezTo>
                  <a:close/>
                  <a:moveTo>
                    <a:pt x="88" y="6"/>
                  </a:moveTo>
                  <a:cubicBezTo>
                    <a:pt x="43" y="6"/>
                    <a:pt x="6" y="43"/>
                    <a:pt x="6" y="89"/>
                  </a:cubicBezTo>
                  <a:cubicBezTo>
                    <a:pt x="6" y="134"/>
                    <a:pt x="43" y="171"/>
                    <a:pt x="88" y="171"/>
                  </a:cubicBezTo>
                  <a:cubicBezTo>
                    <a:pt x="134" y="171"/>
                    <a:pt x="171" y="134"/>
                    <a:pt x="171" y="89"/>
                  </a:cubicBezTo>
                  <a:cubicBezTo>
                    <a:pt x="171" y="43"/>
                    <a:pt x="134" y="6"/>
                    <a:pt x="88" y="6"/>
                  </a:cubicBezTo>
                  <a:close/>
                </a:path>
              </a:pathLst>
            </a:custGeom>
            <a:grpFill/>
            <a:ln w="9525">
              <a:solidFill>
                <a:srgbClr val="EE2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35" name="Freeform 6">
              <a:extLst>
                <a:ext uri="{FF2B5EF4-FFF2-40B4-BE49-F238E27FC236}">
                  <a16:creationId xmlns:a16="http://schemas.microsoft.com/office/drawing/2014/main" id="{B9041692-CCA7-4930-8A71-F41B6DF9C7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" y="2090"/>
              <a:ext cx="75" cy="136"/>
            </a:xfrm>
            <a:custGeom>
              <a:avLst/>
              <a:gdLst>
                <a:gd name="T0" fmla="*/ 3 w 36"/>
                <a:gd name="T1" fmla="*/ 65 h 65"/>
                <a:gd name="T2" fmla="*/ 1 w 36"/>
                <a:gd name="T3" fmla="*/ 64 h 65"/>
                <a:gd name="T4" fmla="*/ 1 w 36"/>
                <a:gd name="T5" fmla="*/ 59 h 65"/>
                <a:gd name="T6" fmla="*/ 28 w 36"/>
                <a:gd name="T7" fmla="*/ 32 h 65"/>
                <a:gd name="T8" fmla="*/ 1 w 36"/>
                <a:gd name="T9" fmla="*/ 5 h 65"/>
                <a:gd name="T10" fmla="*/ 1 w 36"/>
                <a:gd name="T11" fmla="*/ 1 h 65"/>
                <a:gd name="T12" fmla="*/ 5 w 36"/>
                <a:gd name="T13" fmla="*/ 1 h 65"/>
                <a:gd name="T14" fmla="*/ 35 w 36"/>
                <a:gd name="T15" fmla="*/ 30 h 65"/>
                <a:gd name="T16" fmla="*/ 35 w 36"/>
                <a:gd name="T17" fmla="*/ 34 h 65"/>
                <a:gd name="T18" fmla="*/ 5 w 36"/>
                <a:gd name="T19" fmla="*/ 64 h 65"/>
                <a:gd name="T20" fmla="*/ 3 w 36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65">
                  <a:moveTo>
                    <a:pt x="3" y="65"/>
                  </a:moveTo>
                  <a:cubicBezTo>
                    <a:pt x="3" y="65"/>
                    <a:pt x="2" y="64"/>
                    <a:pt x="1" y="64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1"/>
                    <a:pt x="36" y="33"/>
                    <a:pt x="35" y="3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64"/>
                    <a:pt x="4" y="65"/>
                    <a:pt x="3" y="65"/>
                  </a:cubicBezTo>
                  <a:close/>
                </a:path>
              </a:pathLst>
            </a:custGeom>
            <a:grpFill/>
            <a:ln w="9525">
              <a:solidFill>
                <a:srgbClr val="EE2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23C44C9E-FABD-4249-A1F6-BB38D6D7A864}"/>
              </a:ext>
            </a:extLst>
          </p:cNvPr>
          <p:cNvGrpSpPr>
            <a:grpSpLocks noChangeAspect="1"/>
          </p:cNvGrpSpPr>
          <p:nvPr/>
        </p:nvGrpSpPr>
        <p:grpSpPr bwMode="auto">
          <a:xfrm rot="16200000">
            <a:off x="3627800" y="4185912"/>
            <a:ext cx="320040" cy="320040"/>
            <a:chOff x="2840" y="1976"/>
            <a:chExt cx="368" cy="368"/>
          </a:xfrm>
          <a:solidFill>
            <a:srgbClr val="EE2D67"/>
          </a:solidFill>
        </p:grpSpPr>
        <p:sp>
          <p:nvSpPr>
            <p:cNvPr id="237" name="Freeform 5">
              <a:extLst>
                <a:ext uri="{FF2B5EF4-FFF2-40B4-BE49-F238E27FC236}">
                  <a16:creationId xmlns:a16="http://schemas.microsoft.com/office/drawing/2014/main" id="{85FC5A4A-B17E-4F20-98A7-F4132ADDDC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0" y="1976"/>
              <a:ext cx="368" cy="368"/>
            </a:xfrm>
            <a:custGeom>
              <a:avLst/>
              <a:gdLst>
                <a:gd name="T0" fmla="*/ 88 w 177"/>
                <a:gd name="T1" fmla="*/ 177 h 177"/>
                <a:gd name="T2" fmla="*/ 0 w 177"/>
                <a:gd name="T3" fmla="*/ 89 h 177"/>
                <a:gd name="T4" fmla="*/ 88 w 177"/>
                <a:gd name="T5" fmla="*/ 0 h 177"/>
                <a:gd name="T6" fmla="*/ 177 w 177"/>
                <a:gd name="T7" fmla="*/ 89 h 177"/>
                <a:gd name="T8" fmla="*/ 88 w 177"/>
                <a:gd name="T9" fmla="*/ 177 h 177"/>
                <a:gd name="T10" fmla="*/ 88 w 177"/>
                <a:gd name="T11" fmla="*/ 6 h 177"/>
                <a:gd name="T12" fmla="*/ 6 w 177"/>
                <a:gd name="T13" fmla="*/ 89 h 177"/>
                <a:gd name="T14" fmla="*/ 88 w 177"/>
                <a:gd name="T15" fmla="*/ 171 h 177"/>
                <a:gd name="T16" fmla="*/ 171 w 177"/>
                <a:gd name="T17" fmla="*/ 89 h 177"/>
                <a:gd name="T18" fmla="*/ 88 w 177"/>
                <a:gd name="T19" fmla="*/ 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7">
                  <a:moveTo>
                    <a:pt x="88" y="177"/>
                  </a:moveTo>
                  <a:cubicBezTo>
                    <a:pt x="40" y="177"/>
                    <a:pt x="0" y="137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7"/>
                    <a:pt x="137" y="177"/>
                    <a:pt x="88" y="177"/>
                  </a:cubicBezTo>
                  <a:close/>
                  <a:moveTo>
                    <a:pt x="88" y="6"/>
                  </a:moveTo>
                  <a:cubicBezTo>
                    <a:pt x="43" y="6"/>
                    <a:pt x="6" y="43"/>
                    <a:pt x="6" y="89"/>
                  </a:cubicBezTo>
                  <a:cubicBezTo>
                    <a:pt x="6" y="134"/>
                    <a:pt x="43" y="171"/>
                    <a:pt x="88" y="171"/>
                  </a:cubicBezTo>
                  <a:cubicBezTo>
                    <a:pt x="134" y="171"/>
                    <a:pt x="171" y="134"/>
                    <a:pt x="171" y="89"/>
                  </a:cubicBezTo>
                  <a:cubicBezTo>
                    <a:pt x="171" y="43"/>
                    <a:pt x="134" y="6"/>
                    <a:pt x="88" y="6"/>
                  </a:cubicBezTo>
                  <a:close/>
                </a:path>
              </a:pathLst>
            </a:custGeom>
            <a:grpFill/>
            <a:ln w="9525">
              <a:solidFill>
                <a:srgbClr val="EE2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38" name="Freeform 6">
              <a:extLst>
                <a:ext uri="{FF2B5EF4-FFF2-40B4-BE49-F238E27FC236}">
                  <a16:creationId xmlns:a16="http://schemas.microsoft.com/office/drawing/2014/main" id="{B15E2EE4-65F0-4168-94AC-45893BFD4E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" y="2090"/>
              <a:ext cx="75" cy="136"/>
            </a:xfrm>
            <a:custGeom>
              <a:avLst/>
              <a:gdLst>
                <a:gd name="T0" fmla="*/ 3 w 36"/>
                <a:gd name="T1" fmla="*/ 65 h 65"/>
                <a:gd name="T2" fmla="*/ 1 w 36"/>
                <a:gd name="T3" fmla="*/ 64 h 65"/>
                <a:gd name="T4" fmla="*/ 1 w 36"/>
                <a:gd name="T5" fmla="*/ 59 h 65"/>
                <a:gd name="T6" fmla="*/ 28 w 36"/>
                <a:gd name="T7" fmla="*/ 32 h 65"/>
                <a:gd name="T8" fmla="*/ 1 w 36"/>
                <a:gd name="T9" fmla="*/ 5 h 65"/>
                <a:gd name="T10" fmla="*/ 1 w 36"/>
                <a:gd name="T11" fmla="*/ 1 h 65"/>
                <a:gd name="T12" fmla="*/ 5 w 36"/>
                <a:gd name="T13" fmla="*/ 1 h 65"/>
                <a:gd name="T14" fmla="*/ 35 w 36"/>
                <a:gd name="T15" fmla="*/ 30 h 65"/>
                <a:gd name="T16" fmla="*/ 35 w 36"/>
                <a:gd name="T17" fmla="*/ 34 h 65"/>
                <a:gd name="T18" fmla="*/ 5 w 36"/>
                <a:gd name="T19" fmla="*/ 64 h 65"/>
                <a:gd name="T20" fmla="*/ 3 w 36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65">
                  <a:moveTo>
                    <a:pt x="3" y="65"/>
                  </a:moveTo>
                  <a:cubicBezTo>
                    <a:pt x="3" y="65"/>
                    <a:pt x="2" y="64"/>
                    <a:pt x="1" y="64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1"/>
                    <a:pt x="36" y="33"/>
                    <a:pt x="35" y="3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64"/>
                    <a:pt x="4" y="65"/>
                    <a:pt x="3" y="65"/>
                  </a:cubicBezTo>
                  <a:close/>
                </a:path>
              </a:pathLst>
            </a:custGeom>
            <a:grpFill/>
            <a:ln w="9525">
              <a:solidFill>
                <a:srgbClr val="EE2D6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239" name="Group 238">
            <a:extLst>
              <a:ext uri="{FF2B5EF4-FFF2-40B4-BE49-F238E27FC236}">
                <a16:creationId xmlns:a16="http://schemas.microsoft.com/office/drawing/2014/main" id="{E9733412-C3EF-4C98-9E74-1CE79AD5BA24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3627800" y="3771923"/>
            <a:ext cx="320040" cy="320040"/>
            <a:chOff x="2840" y="1976"/>
            <a:chExt cx="368" cy="368"/>
          </a:xfrm>
          <a:solidFill>
            <a:srgbClr val="72BE44"/>
          </a:solidFill>
        </p:grpSpPr>
        <p:sp>
          <p:nvSpPr>
            <p:cNvPr id="240" name="Freeform 5">
              <a:extLst>
                <a:ext uri="{FF2B5EF4-FFF2-40B4-BE49-F238E27FC236}">
                  <a16:creationId xmlns:a16="http://schemas.microsoft.com/office/drawing/2014/main" id="{67C2F9C9-C12F-4139-96F3-2B3B5274ED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0" y="1976"/>
              <a:ext cx="368" cy="368"/>
            </a:xfrm>
            <a:custGeom>
              <a:avLst/>
              <a:gdLst>
                <a:gd name="T0" fmla="*/ 88 w 177"/>
                <a:gd name="T1" fmla="*/ 177 h 177"/>
                <a:gd name="T2" fmla="*/ 0 w 177"/>
                <a:gd name="T3" fmla="*/ 89 h 177"/>
                <a:gd name="T4" fmla="*/ 88 w 177"/>
                <a:gd name="T5" fmla="*/ 0 h 177"/>
                <a:gd name="T6" fmla="*/ 177 w 177"/>
                <a:gd name="T7" fmla="*/ 89 h 177"/>
                <a:gd name="T8" fmla="*/ 88 w 177"/>
                <a:gd name="T9" fmla="*/ 177 h 177"/>
                <a:gd name="T10" fmla="*/ 88 w 177"/>
                <a:gd name="T11" fmla="*/ 6 h 177"/>
                <a:gd name="T12" fmla="*/ 6 w 177"/>
                <a:gd name="T13" fmla="*/ 89 h 177"/>
                <a:gd name="T14" fmla="*/ 88 w 177"/>
                <a:gd name="T15" fmla="*/ 171 h 177"/>
                <a:gd name="T16" fmla="*/ 171 w 177"/>
                <a:gd name="T17" fmla="*/ 89 h 177"/>
                <a:gd name="T18" fmla="*/ 88 w 177"/>
                <a:gd name="T19" fmla="*/ 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7">
                  <a:moveTo>
                    <a:pt x="88" y="177"/>
                  </a:moveTo>
                  <a:cubicBezTo>
                    <a:pt x="40" y="177"/>
                    <a:pt x="0" y="137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7"/>
                    <a:pt x="137" y="177"/>
                    <a:pt x="88" y="177"/>
                  </a:cubicBezTo>
                  <a:close/>
                  <a:moveTo>
                    <a:pt x="88" y="6"/>
                  </a:moveTo>
                  <a:cubicBezTo>
                    <a:pt x="43" y="6"/>
                    <a:pt x="6" y="43"/>
                    <a:pt x="6" y="89"/>
                  </a:cubicBezTo>
                  <a:cubicBezTo>
                    <a:pt x="6" y="134"/>
                    <a:pt x="43" y="171"/>
                    <a:pt x="88" y="171"/>
                  </a:cubicBezTo>
                  <a:cubicBezTo>
                    <a:pt x="134" y="171"/>
                    <a:pt x="171" y="134"/>
                    <a:pt x="171" y="89"/>
                  </a:cubicBezTo>
                  <a:cubicBezTo>
                    <a:pt x="171" y="43"/>
                    <a:pt x="134" y="6"/>
                    <a:pt x="88" y="6"/>
                  </a:cubicBezTo>
                  <a:close/>
                </a:path>
              </a:pathLst>
            </a:custGeom>
            <a:grpFill/>
            <a:ln w="9525">
              <a:solidFill>
                <a:srgbClr val="72BE44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41" name="Freeform 6">
              <a:extLst>
                <a:ext uri="{FF2B5EF4-FFF2-40B4-BE49-F238E27FC236}">
                  <a16:creationId xmlns:a16="http://schemas.microsoft.com/office/drawing/2014/main" id="{45E6D499-1195-4054-B8D2-4349DA098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" y="2090"/>
              <a:ext cx="75" cy="136"/>
            </a:xfrm>
            <a:custGeom>
              <a:avLst/>
              <a:gdLst>
                <a:gd name="T0" fmla="*/ 3 w 36"/>
                <a:gd name="T1" fmla="*/ 65 h 65"/>
                <a:gd name="T2" fmla="*/ 1 w 36"/>
                <a:gd name="T3" fmla="*/ 64 h 65"/>
                <a:gd name="T4" fmla="*/ 1 w 36"/>
                <a:gd name="T5" fmla="*/ 59 h 65"/>
                <a:gd name="T6" fmla="*/ 28 w 36"/>
                <a:gd name="T7" fmla="*/ 32 h 65"/>
                <a:gd name="T8" fmla="*/ 1 w 36"/>
                <a:gd name="T9" fmla="*/ 5 h 65"/>
                <a:gd name="T10" fmla="*/ 1 w 36"/>
                <a:gd name="T11" fmla="*/ 1 h 65"/>
                <a:gd name="T12" fmla="*/ 5 w 36"/>
                <a:gd name="T13" fmla="*/ 1 h 65"/>
                <a:gd name="T14" fmla="*/ 35 w 36"/>
                <a:gd name="T15" fmla="*/ 30 h 65"/>
                <a:gd name="T16" fmla="*/ 35 w 36"/>
                <a:gd name="T17" fmla="*/ 34 h 65"/>
                <a:gd name="T18" fmla="*/ 5 w 36"/>
                <a:gd name="T19" fmla="*/ 64 h 65"/>
                <a:gd name="T20" fmla="*/ 3 w 36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65">
                  <a:moveTo>
                    <a:pt x="3" y="65"/>
                  </a:moveTo>
                  <a:cubicBezTo>
                    <a:pt x="3" y="65"/>
                    <a:pt x="2" y="64"/>
                    <a:pt x="1" y="64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1"/>
                    <a:pt x="36" y="33"/>
                    <a:pt x="35" y="3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64"/>
                    <a:pt x="4" y="65"/>
                    <a:pt x="3" y="65"/>
                  </a:cubicBezTo>
                  <a:close/>
                </a:path>
              </a:pathLst>
            </a:custGeom>
            <a:grpFill/>
            <a:ln w="9525">
              <a:solidFill>
                <a:srgbClr val="72BE44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242" name="Group 241">
            <a:extLst>
              <a:ext uri="{FF2B5EF4-FFF2-40B4-BE49-F238E27FC236}">
                <a16:creationId xmlns:a16="http://schemas.microsoft.com/office/drawing/2014/main" id="{BA9BDDBB-9DE8-40D2-BB4B-31057D539A27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3627800" y="4599902"/>
            <a:ext cx="320040" cy="320040"/>
            <a:chOff x="2840" y="1976"/>
            <a:chExt cx="368" cy="368"/>
          </a:xfrm>
          <a:solidFill>
            <a:srgbClr val="72BE44"/>
          </a:solidFill>
        </p:grpSpPr>
        <p:sp>
          <p:nvSpPr>
            <p:cNvPr id="243" name="Freeform 5">
              <a:extLst>
                <a:ext uri="{FF2B5EF4-FFF2-40B4-BE49-F238E27FC236}">
                  <a16:creationId xmlns:a16="http://schemas.microsoft.com/office/drawing/2014/main" id="{15D844EF-2D54-49FA-99D1-AF6BD275AD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0" y="1976"/>
              <a:ext cx="368" cy="368"/>
            </a:xfrm>
            <a:custGeom>
              <a:avLst/>
              <a:gdLst>
                <a:gd name="T0" fmla="*/ 88 w 177"/>
                <a:gd name="T1" fmla="*/ 177 h 177"/>
                <a:gd name="T2" fmla="*/ 0 w 177"/>
                <a:gd name="T3" fmla="*/ 89 h 177"/>
                <a:gd name="T4" fmla="*/ 88 w 177"/>
                <a:gd name="T5" fmla="*/ 0 h 177"/>
                <a:gd name="T6" fmla="*/ 177 w 177"/>
                <a:gd name="T7" fmla="*/ 89 h 177"/>
                <a:gd name="T8" fmla="*/ 88 w 177"/>
                <a:gd name="T9" fmla="*/ 177 h 177"/>
                <a:gd name="T10" fmla="*/ 88 w 177"/>
                <a:gd name="T11" fmla="*/ 6 h 177"/>
                <a:gd name="T12" fmla="*/ 6 w 177"/>
                <a:gd name="T13" fmla="*/ 89 h 177"/>
                <a:gd name="T14" fmla="*/ 88 w 177"/>
                <a:gd name="T15" fmla="*/ 171 h 177"/>
                <a:gd name="T16" fmla="*/ 171 w 177"/>
                <a:gd name="T17" fmla="*/ 89 h 177"/>
                <a:gd name="T18" fmla="*/ 88 w 177"/>
                <a:gd name="T19" fmla="*/ 6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77">
                  <a:moveTo>
                    <a:pt x="88" y="177"/>
                  </a:moveTo>
                  <a:cubicBezTo>
                    <a:pt x="40" y="177"/>
                    <a:pt x="0" y="137"/>
                    <a:pt x="0" y="89"/>
                  </a:cubicBezTo>
                  <a:cubicBezTo>
                    <a:pt x="0" y="40"/>
                    <a:pt x="40" y="0"/>
                    <a:pt x="88" y="0"/>
                  </a:cubicBezTo>
                  <a:cubicBezTo>
                    <a:pt x="137" y="0"/>
                    <a:pt x="177" y="40"/>
                    <a:pt x="177" y="89"/>
                  </a:cubicBezTo>
                  <a:cubicBezTo>
                    <a:pt x="177" y="137"/>
                    <a:pt x="137" y="177"/>
                    <a:pt x="88" y="177"/>
                  </a:cubicBezTo>
                  <a:close/>
                  <a:moveTo>
                    <a:pt x="88" y="6"/>
                  </a:moveTo>
                  <a:cubicBezTo>
                    <a:pt x="43" y="6"/>
                    <a:pt x="6" y="43"/>
                    <a:pt x="6" y="89"/>
                  </a:cubicBezTo>
                  <a:cubicBezTo>
                    <a:pt x="6" y="134"/>
                    <a:pt x="43" y="171"/>
                    <a:pt x="88" y="171"/>
                  </a:cubicBezTo>
                  <a:cubicBezTo>
                    <a:pt x="134" y="171"/>
                    <a:pt x="171" y="134"/>
                    <a:pt x="171" y="89"/>
                  </a:cubicBezTo>
                  <a:cubicBezTo>
                    <a:pt x="171" y="43"/>
                    <a:pt x="134" y="6"/>
                    <a:pt x="88" y="6"/>
                  </a:cubicBezTo>
                  <a:close/>
                </a:path>
              </a:pathLst>
            </a:custGeom>
            <a:grpFill/>
            <a:ln w="9525">
              <a:solidFill>
                <a:srgbClr val="72BE44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44" name="Freeform 6">
              <a:extLst>
                <a:ext uri="{FF2B5EF4-FFF2-40B4-BE49-F238E27FC236}">
                  <a16:creationId xmlns:a16="http://schemas.microsoft.com/office/drawing/2014/main" id="{0F7FCDA1-A88E-4661-BCA8-1A3C8723DB8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94" y="2090"/>
              <a:ext cx="75" cy="136"/>
            </a:xfrm>
            <a:custGeom>
              <a:avLst/>
              <a:gdLst>
                <a:gd name="T0" fmla="*/ 3 w 36"/>
                <a:gd name="T1" fmla="*/ 65 h 65"/>
                <a:gd name="T2" fmla="*/ 1 w 36"/>
                <a:gd name="T3" fmla="*/ 64 h 65"/>
                <a:gd name="T4" fmla="*/ 1 w 36"/>
                <a:gd name="T5" fmla="*/ 59 h 65"/>
                <a:gd name="T6" fmla="*/ 28 w 36"/>
                <a:gd name="T7" fmla="*/ 32 h 65"/>
                <a:gd name="T8" fmla="*/ 1 w 36"/>
                <a:gd name="T9" fmla="*/ 5 h 65"/>
                <a:gd name="T10" fmla="*/ 1 w 36"/>
                <a:gd name="T11" fmla="*/ 1 h 65"/>
                <a:gd name="T12" fmla="*/ 5 w 36"/>
                <a:gd name="T13" fmla="*/ 1 h 65"/>
                <a:gd name="T14" fmla="*/ 35 w 36"/>
                <a:gd name="T15" fmla="*/ 30 h 65"/>
                <a:gd name="T16" fmla="*/ 35 w 36"/>
                <a:gd name="T17" fmla="*/ 34 h 65"/>
                <a:gd name="T18" fmla="*/ 5 w 36"/>
                <a:gd name="T19" fmla="*/ 64 h 65"/>
                <a:gd name="T20" fmla="*/ 3 w 36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65">
                  <a:moveTo>
                    <a:pt x="3" y="65"/>
                  </a:moveTo>
                  <a:cubicBezTo>
                    <a:pt x="3" y="65"/>
                    <a:pt x="2" y="64"/>
                    <a:pt x="1" y="64"/>
                  </a:cubicBezTo>
                  <a:cubicBezTo>
                    <a:pt x="0" y="63"/>
                    <a:pt x="0" y="61"/>
                    <a:pt x="1" y="59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4"/>
                    <a:pt x="0" y="2"/>
                    <a:pt x="1" y="1"/>
                  </a:cubicBezTo>
                  <a:cubicBezTo>
                    <a:pt x="2" y="0"/>
                    <a:pt x="4" y="0"/>
                    <a:pt x="5" y="1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6" y="31"/>
                    <a:pt x="36" y="33"/>
                    <a:pt x="35" y="34"/>
                  </a:cubicBezTo>
                  <a:cubicBezTo>
                    <a:pt x="5" y="64"/>
                    <a:pt x="5" y="64"/>
                    <a:pt x="5" y="64"/>
                  </a:cubicBezTo>
                  <a:cubicBezTo>
                    <a:pt x="5" y="64"/>
                    <a:pt x="4" y="65"/>
                    <a:pt x="3" y="65"/>
                  </a:cubicBezTo>
                  <a:close/>
                </a:path>
              </a:pathLst>
            </a:custGeom>
            <a:grpFill/>
            <a:ln w="9525">
              <a:solidFill>
                <a:srgbClr val="72BE44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E77B25B4-B90B-4E87-9413-6E28A6ECBC93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787653" y="63204"/>
            <a:ext cx="384440" cy="384440"/>
            <a:chOff x="700116" y="1398588"/>
            <a:chExt cx="1360292" cy="1360292"/>
          </a:xfrm>
        </p:grpSpPr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82B1C985-3BBC-4867-9F14-6BD778497AEC}"/>
                </a:ext>
              </a:extLst>
            </p:cNvPr>
            <p:cNvSpPr/>
            <p:nvPr/>
          </p:nvSpPr>
          <p:spPr bwMode="gray">
            <a:xfrm>
              <a:off x="700116" y="1398588"/>
              <a:ext cx="1360292" cy="1360292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247" name="Group 88">
              <a:extLst>
                <a:ext uri="{FF2B5EF4-FFF2-40B4-BE49-F238E27FC236}">
                  <a16:creationId xmlns:a16="http://schemas.microsoft.com/office/drawing/2014/main" id="{CCAC6A20-019A-4290-841A-270071BF4D9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004221" y="1527526"/>
              <a:ext cx="761825" cy="1097359"/>
              <a:chOff x="2748" y="1759"/>
              <a:chExt cx="554" cy="798"/>
            </a:xfrm>
            <a:solidFill>
              <a:schemeClr val="accent1"/>
            </a:solidFill>
          </p:grpSpPr>
          <p:sp>
            <p:nvSpPr>
              <p:cNvPr id="248" name="Freeform 89">
                <a:extLst>
                  <a:ext uri="{FF2B5EF4-FFF2-40B4-BE49-F238E27FC236}">
                    <a16:creationId xmlns:a16="http://schemas.microsoft.com/office/drawing/2014/main" id="{996DBD58-AA29-4A6E-860E-E461AA1FDBB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13" y="2045"/>
                <a:ext cx="426" cy="171"/>
              </a:xfrm>
              <a:custGeom>
                <a:avLst/>
                <a:gdLst>
                  <a:gd name="T0" fmla="*/ 194 w 203"/>
                  <a:gd name="T1" fmla="*/ 56 h 82"/>
                  <a:gd name="T2" fmla="*/ 164 w 203"/>
                  <a:gd name="T3" fmla="*/ 35 h 82"/>
                  <a:gd name="T4" fmla="*/ 153 w 203"/>
                  <a:gd name="T5" fmla="*/ 35 h 82"/>
                  <a:gd name="T6" fmla="*/ 167 w 203"/>
                  <a:gd name="T7" fmla="*/ 15 h 82"/>
                  <a:gd name="T8" fmla="*/ 159 w 203"/>
                  <a:gd name="T9" fmla="*/ 0 h 82"/>
                  <a:gd name="T10" fmla="*/ 115 w 203"/>
                  <a:gd name="T11" fmla="*/ 3 h 82"/>
                  <a:gd name="T12" fmla="*/ 88 w 203"/>
                  <a:gd name="T13" fmla="*/ 3 h 82"/>
                  <a:gd name="T14" fmla="*/ 44 w 203"/>
                  <a:gd name="T15" fmla="*/ 0 h 82"/>
                  <a:gd name="T16" fmla="*/ 36 w 203"/>
                  <a:gd name="T17" fmla="*/ 15 h 82"/>
                  <a:gd name="T18" fmla="*/ 50 w 203"/>
                  <a:gd name="T19" fmla="*/ 35 h 82"/>
                  <a:gd name="T20" fmla="*/ 39 w 203"/>
                  <a:gd name="T21" fmla="*/ 35 h 82"/>
                  <a:gd name="T22" fmla="*/ 9 w 203"/>
                  <a:gd name="T23" fmla="*/ 56 h 82"/>
                  <a:gd name="T24" fmla="*/ 0 w 203"/>
                  <a:gd name="T25" fmla="*/ 82 h 82"/>
                  <a:gd name="T26" fmla="*/ 203 w 203"/>
                  <a:gd name="T27" fmla="*/ 82 h 82"/>
                  <a:gd name="T28" fmla="*/ 194 w 203"/>
                  <a:gd name="T29" fmla="*/ 56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03" h="82">
                    <a:moveTo>
                      <a:pt x="194" y="56"/>
                    </a:moveTo>
                    <a:cubicBezTo>
                      <a:pt x="189" y="43"/>
                      <a:pt x="177" y="35"/>
                      <a:pt x="164" y="35"/>
                    </a:cubicBezTo>
                    <a:cubicBezTo>
                      <a:pt x="153" y="35"/>
                      <a:pt x="153" y="35"/>
                      <a:pt x="153" y="35"/>
                    </a:cubicBezTo>
                    <a:cubicBezTo>
                      <a:pt x="167" y="15"/>
                      <a:pt x="167" y="15"/>
                      <a:pt x="167" y="15"/>
                    </a:cubicBezTo>
                    <a:cubicBezTo>
                      <a:pt x="172" y="9"/>
                      <a:pt x="167" y="0"/>
                      <a:pt x="159" y="0"/>
                    </a:cubicBezTo>
                    <a:cubicBezTo>
                      <a:pt x="115" y="3"/>
                      <a:pt x="115" y="3"/>
                      <a:pt x="115" y="3"/>
                    </a:cubicBezTo>
                    <a:cubicBezTo>
                      <a:pt x="106" y="3"/>
                      <a:pt x="97" y="3"/>
                      <a:pt x="88" y="3"/>
                    </a:cubicBezTo>
                    <a:cubicBezTo>
                      <a:pt x="44" y="0"/>
                      <a:pt x="44" y="0"/>
                      <a:pt x="44" y="0"/>
                    </a:cubicBezTo>
                    <a:cubicBezTo>
                      <a:pt x="36" y="0"/>
                      <a:pt x="31" y="9"/>
                      <a:pt x="36" y="15"/>
                    </a:cubicBezTo>
                    <a:cubicBezTo>
                      <a:pt x="50" y="35"/>
                      <a:pt x="50" y="35"/>
                      <a:pt x="50" y="35"/>
                    </a:cubicBezTo>
                    <a:cubicBezTo>
                      <a:pt x="39" y="35"/>
                      <a:pt x="39" y="35"/>
                      <a:pt x="39" y="35"/>
                    </a:cubicBezTo>
                    <a:cubicBezTo>
                      <a:pt x="25" y="35"/>
                      <a:pt x="13" y="43"/>
                      <a:pt x="9" y="56"/>
                    </a:cubicBezTo>
                    <a:cubicBezTo>
                      <a:pt x="0" y="82"/>
                      <a:pt x="0" y="82"/>
                      <a:pt x="0" y="82"/>
                    </a:cubicBezTo>
                    <a:cubicBezTo>
                      <a:pt x="203" y="82"/>
                      <a:pt x="203" y="82"/>
                      <a:pt x="203" y="82"/>
                    </a:cubicBezTo>
                    <a:lnTo>
                      <a:pt x="194" y="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49" name="Freeform 90">
                <a:extLst>
                  <a:ext uri="{FF2B5EF4-FFF2-40B4-BE49-F238E27FC236}">
                    <a16:creationId xmlns:a16="http://schemas.microsoft.com/office/drawing/2014/main" id="{BCA43834-91A2-4A5A-99BF-8891F0D16EC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886" y="1924"/>
                <a:ext cx="275" cy="106"/>
              </a:xfrm>
              <a:custGeom>
                <a:avLst/>
                <a:gdLst>
                  <a:gd name="T0" fmla="*/ 6 w 131"/>
                  <a:gd name="T1" fmla="*/ 0 h 51"/>
                  <a:gd name="T2" fmla="*/ 1 w 131"/>
                  <a:gd name="T3" fmla="*/ 37 h 51"/>
                  <a:gd name="T4" fmla="*/ 9 w 131"/>
                  <a:gd name="T5" fmla="*/ 47 h 51"/>
                  <a:gd name="T6" fmla="*/ 46 w 131"/>
                  <a:gd name="T7" fmla="*/ 50 h 51"/>
                  <a:gd name="T8" fmla="*/ 55 w 131"/>
                  <a:gd name="T9" fmla="*/ 47 h 51"/>
                  <a:gd name="T10" fmla="*/ 59 w 131"/>
                  <a:gd name="T11" fmla="*/ 43 h 51"/>
                  <a:gd name="T12" fmla="*/ 67 w 131"/>
                  <a:gd name="T13" fmla="*/ 40 h 51"/>
                  <a:gd name="T14" fmla="*/ 75 w 131"/>
                  <a:gd name="T15" fmla="*/ 43 h 51"/>
                  <a:gd name="T16" fmla="*/ 79 w 131"/>
                  <a:gd name="T17" fmla="*/ 47 h 51"/>
                  <a:gd name="T18" fmla="*/ 87 w 131"/>
                  <a:gd name="T19" fmla="*/ 50 h 51"/>
                  <a:gd name="T20" fmla="*/ 123 w 131"/>
                  <a:gd name="T21" fmla="*/ 47 h 51"/>
                  <a:gd name="T22" fmla="*/ 131 w 131"/>
                  <a:gd name="T23" fmla="*/ 37 h 51"/>
                  <a:gd name="T24" fmla="*/ 126 w 131"/>
                  <a:gd name="T25" fmla="*/ 0 h 51"/>
                  <a:gd name="T26" fmla="*/ 66 w 131"/>
                  <a:gd name="T27" fmla="*/ 6 h 51"/>
                  <a:gd name="T28" fmla="*/ 6 w 131"/>
                  <a:gd name="T29" fmla="*/ 0 h 51"/>
                  <a:gd name="T30" fmla="*/ 51 w 131"/>
                  <a:gd name="T31" fmla="*/ 29 h 51"/>
                  <a:gd name="T32" fmla="*/ 36 w 131"/>
                  <a:gd name="T33" fmla="*/ 34 h 51"/>
                  <a:gd name="T34" fmla="*/ 22 w 131"/>
                  <a:gd name="T35" fmla="*/ 29 h 51"/>
                  <a:gd name="T36" fmla="*/ 22 w 131"/>
                  <a:gd name="T37" fmla="*/ 23 h 51"/>
                  <a:gd name="T38" fmla="*/ 36 w 131"/>
                  <a:gd name="T39" fmla="*/ 18 h 51"/>
                  <a:gd name="T40" fmla="*/ 51 w 131"/>
                  <a:gd name="T41" fmla="*/ 23 h 51"/>
                  <a:gd name="T42" fmla="*/ 51 w 131"/>
                  <a:gd name="T43" fmla="*/ 29 h 51"/>
                  <a:gd name="T44" fmla="*/ 81 w 131"/>
                  <a:gd name="T45" fmla="*/ 23 h 51"/>
                  <a:gd name="T46" fmla="*/ 96 w 131"/>
                  <a:gd name="T47" fmla="*/ 18 h 51"/>
                  <a:gd name="T48" fmla="*/ 110 w 131"/>
                  <a:gd name="T49" fmla="*/ 23 h 51"/>
                  <a:gd name="T50" fmla="*/ 110 w 131"/>
                  <a:gd name="T51" fmla="*/ 29 h 51"/>
                  <a:gd name="T52" fmla="*/ 96 w 131"/>
                  <a:gd name="T53" fmla="*/ 34 h 51"/>
                  <a:gd name="T54" fmla="*/ 81 w 131"/>
                  <a:gd name="T55" fmla="*/ 29 h 51"/>
                  <a:gd name="T56" fmla="*/ 81 w 131"/>
                  <a:gd name="T57" fmla="*/ 23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31" h="51">
                    <a:moveTo>
                      <a:pt x="6" y="0"/>
                    </a:moveTo>
                    <a:cubicBezTo>
                      <a:pt x="1" y="37"/>
                      <a:pt x="1" y="37"/>
                      <a:pt x="1" y="37"/>
                    </a:cubicBezTo>
                    <a:cubicBezTo>
                      <a:pt x="0" y="42"/>
                      <a:pt x="4" y="47"/>
                      <a:pt x="9" y="47"/>
                    </a:cubicBezTo>
                    <a:cubicBezTo>
                      <a:pt x="19" y="49"/>
                      <a:pt x="34" y="50"/>
                      <a:pt x="46" y="50"/>
                    </a:cubicBezTo>
                    <a:cubicBezTo>
                      <a:pt x="50" y="50"/>
                      <a:pt x="53" y="49"/>
                      <a:pt x="55" y="47"/>
                    </a:cubicBezTo>
                    <a:cubicBezTo>
                      <a:pt x="59" y="43"/>
                      <a:pt x="59" y="43"/>
                      <a:pt x="59" y="43"/>
                    </a:cubicBezTo>
                    <a:cubicBezTo>
                      <a:pt x="61" y="41"/>
                      <a:pt x="64" y="40"/>
                      <a:pt x="67" y="40"/>
                    </a:cubicBezTo>
                    <a:cubicBezTo>
                      <a:pt x="70" y="40"/>
                      <a:pt x="73" y="41"/>
                      <a:pt x="75" y="43"/>
                    </a:cubicBezTo>
                    <a:cubicBezTo>
                      <a:pt x="79" y="47"/>
                      <a:pt x="79" y="47"/>
                      <a:pt x="79" y="47"/>
                    </a:cubicBezTo>
                    <a:cubicBezTo>
                      <a:pt x="81" y="49"/>
                      <a:pt x="84" y="51"/>
                      <a:pt x="87" y="50"/>
                    </a:cubicBezTo>
                    <a:cubicBezTo>
                      <a:pt x="99" y="50"/>
                      <a:pt x="114" y="49"/>
                      <a:pt x="123" y="47"/>
                    </a:cubicBezTo>
                    <a:cubicBezTo>
                      <a:pt x="128" y="47"/>
                      <a:pt x="131" y="42"/>
                      <a:pt x="131" y="37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10" y="4"/>
                      <a:pt x="88" y="6"/>
                      <a:pt x="66" y="6"/>
                    </a:cubicBezTo>
                    <a:cubicBezTo>
                      <a:pt x="44" y="6"/>
                      <a:pt x="22" y="4"/>
                      <a:pt x="6" y="0"/>
                    </a:cubicBezTo>
                    <a:close/>
                    <a:moveTo>
                      <a:pt x="51" y="29"/>
                    </a:moveTo>
                    <a:cubicBezTo>
                      <a:pt x="48" y="31"/>
                      <a:pt x="42" y="34"/>
                      <a:pt x="36" y="34"/>
                    </a:cubicBezTo>
                    <a:cubicBezTo>
                      <a:pt x="30" y="34"/>
                      <a:pt x="25" y="31"/>
                      <a:pt x="22" y="29"/>
                    </a:cubicBezTo>
                    <a:cubicBezTo>
                      <a:pt x="20" y="27"/>
                      <a:pt x="20" y="25"/>
                      <a:pt x="22" y="23"/>
                    </a:cubicBezTo>
                    <a:cubicBezTo>
                      <a:pt x="25" y="21"/>
                      <a:pt x="30" y="18"/>
                      <a:pt x="36" y="18"/>
                    </a:cubicBezTo>
                    <a:cubicBezTo>
                      <a:pt x="42" y="18"/>
                      <a:pt x="48" y="21"/>
                      <a:pt x="51" y="23"/>
                    </a:cubicBezTo>
                    <a:cubicBezTo>
                      <a:pt x="53" y="25"/>
                      <a:pt x="53" y="27"/>
                      <a:pt x="51" y="29"/>
                    </a:cubicBezTo>
                    <a:close/>
                    <a:moveTo>
                      <a:pt x="81" y="23"/>
                    </a:moveTo>
                    <a:cubicBezTo>
                      <a:pt x="84" y="21"/>
                      <a:pt x="90" y="18"/>
                      <a:pt x="96" y="18"/>
                    </a:cubicBezTo>
                    <a:cubicBezTo>
                      <a:pt x="102" y="18"/>
                      <a:pt x="107" y="21"/>
                      <a:pt x="110" y="23"/>
                    </a:cubicBezTo>
                    <a:cubicBezTo>
                      <a:pt x="112" y="25"/>
                      <a:pt x="112" y="27"/>
                      <a:pt x="110" y="29"/>
                    </a:cubicBezTo>
                    <a:cubicBezTo>
                      <a:pt x="107" y="31"/>
                      <a:pt x="102" y="34"/>
                      <a:pt x="96" y="34"/>
                    </a:cubicBezTo>
                    <a:cubicBezTo>
                      <a:pt x="90" y="34"/>
                      <a:pt x="84" y="31"/>
                      <a:pt x="81" y="29"/>
                    </a:cubicBezTo>
                    <a:cubicBezTo>
                      <a:pt x="79" y="27"/>
                      <a:pt x="79" y="25"/>
                      <a:pt x="81" y="2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50" name="Freeform 91">
                <a:extLst>
                  <a:ext uri="{FF2B5EF4-FFF2-40B4-BE49-F238E27FC236}">
                    <a16:creationId xmlns:a16="http://schemas.microsoft.com/office/drawing/2014/main" id="{582F2263-E79E-4DC7-9418-60D9327FEA6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849" y="1759"/>
                <a:ext cx="352" cy="152"/>
              </a:xfrm>
              <a:custGeom>
                <a:avLst/>
                <a:gdLst>
                  <a:gd name="T0" fmla="*/ 84 w 168"/>
                  <a:gd name="T1" fmla="*/ 73 h 73"/>
                  <a:gd name="T2" fmla="*/ 168 w 168"/>
                  <a:gd name="T3" fmla="*/ 53 h 73"/>
                  <a:gd name="T4" fmla="*/ 143 w 168"/>
                  <a:gd name="T5" fmla="*/ 39 h 73"/>
                  <a:gd name="T6" fmla="*/ 144 w 168"/>
                  <a:gd name="T7" fmla="*/ 46 h 73"/>
                  <a:gd name="T8" fmla="*/ 142 w 168"/>
                  <a:gd name="T9" fmla="*/ 51 h 73"/>
                  <a:gd name="T10" fmla="*/ 137 w 168"/>
                  <a:gd name="T11" fmla="*/ 48 h 73"/>
                  <a:gd name="T12" fmla="*/ 128 w 168"/>
                  <a:gd name="T13" fmla="*/ 13 h 73"/>
                  <a:gd name="T14" fmla="*/ 112 w 168"/>
                  <a:gd name="T15" fmla="*/ 2 h 73"/>
                  <a:gd name="T16" fmla="*/ 96 w 168"/>
                  <a:gd name="T17" fmla="*/ 6 h 73"/>
                  <a:gd name="T18" fmla="*/ 71 w 168"/>
                  <a:gd name="T19" fmla="*/ 6 h 73"/>
                  <a:gd name="T20" fmla="*/ 56 w 168"/>
                  <a:gd name="T21" fmla="*/ 2 h 73"/>
                  <a:gd name="T22" fmla="*/ 39 w 168"/>
                  <a:gd name="T23" fmla="*/ 13 h 73"/>
                  <a:gd name="T24" fmla="*/ 31 w 168"/>
                  <a:gd name="T25" fmla="*/ 48 h 73"/>
                  <a:gd name="T26" fmla="*/ 26 w 168"/>
                  <a:gd name="T27" fmla="*/ 51 h 73"/>
                  <a:gd name="T28" fmla="*/ 26 w 168"/>
                  <a:gd name="T29" fmla="*/ 51 h 73"/>
                  <a:gd name="T30" fmla="*/ 23 w 168"/>
                  <a:gd name="T31" fmla="*/ 46 h 73"/>
                  <a:gd name="T32" fmla="*/ 25 w 168"/>
                  <a:gd name="T33" fmla="*/ 39 h 73"/>
                  <a:gd name="T34" fmla="*/ 0 w 168"/>
                  <a:gd name="T35" fmla="*/ 53 h 73"/>
                  <a:gd name="T36" fmla="*/ 84 w 168"/>
                  <a:gd name="T37" fmla="*/ 7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8" h="73">
                    <a:moveTo>
                      <a:pt x="84" y="73"/>
                    </a:moveTo>
                    <a:cubicBezTo>
                      <a:pt x="130" y="73"/>
                      <a:pt x="168" y="64"/>
                      <a:pt x="168" y="53"/>
                    </a:cubicBezTo>
                    <a:cubicBezTo>
                      <a:pt x="168" y="48"/>
                      <a:pt x="158" y="43"/>
                      <a:pt x="143" y="39"/>
                    </a:cubicBezTo>
                    <a:cubicBezTo>
                      <a:pt x="144" y="46"/>
                      <a:pt x="144" y="46"/>
                      <a:pt x="144" y="46"/>
                    </a:cubicBezTo>
                    <a:cubicBezTo>
                      <a:pt x="145" y="48"/>
                      <a:pt x="144" y="51"/>
                      <a:pt x="142" y="51"/>
                    </a:cubicBezTo>
                    <a:cubicBezTo>
                      <a:pt x="140" y="52"/>
                      <a:pt x="137" y="50"/>
                      <a:pt x="137" y="48"/>
                    </a:cubicBezTo>
                    <a:cubicBezTo>
                      <a:pt x="128" y="13"/>
                      <a:pt x="128" y="13"/>
                      <a:pt x="128" y="13"/>
                    </a:cubicBezTo>
                    <a:cubicBezTo>
                      <a:pt x="127" y="5"/>
                      <a:pt x="119" y="0"/>
                      <a:pt x="112" y="2"/>
                    </a:cubicBezTo>
                    <a:cubicBezTo>
                      <a:pt x="96" y="6"/>
                      <a:pt x="96" y="6"/>
                      <a:pt x="96" y="6"/>
                    </a:cubicBezTo>
                    <a:cubicBezTo>
                      <a:pt x="88" y="8"/>
                      <a:pt x="79" y="8"/>
                      <a:pt x="71" y="6"/>
                    </a:cubicBezTo>
                    <a:cubicBezTo>
                      <a:pt x="56" y="2"/>
                      <a:pt x="56" y="2"/>
                      <a:pt x="56" y="2"/>
                    </a:cubicBezTo>
                    <a:cubicBezTo>
                      <a:pt x="48" y="1"/>
                      <a:pt x="41" y="5"/>
                      <a:pt x="39" y="13"/>
                    </a:cubicBezTo>
                    <a:cubicBezTo>
                      <a:pt x="31" y="48"/>
                      <a:pt x="31" y="48"/>
                      <a:pt x="31" y="48"/>
                    </a:cubicBezTo>
                    <a:cubicBezTo>
                      <a:pt x="30" y="50"/>
                      <a:pt x="28" y="52"/>
                      <a:pt x="26" y="51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4" y="51"/>
                      <a:pt x="22" y="48"/>
                      <a:pt x="23" y="46"/>
                    </a:cubicBezTo>
                    <a:cubicBezTo>
                      <a:pt x="25" y="39"/>
                      <a:pt x="25" y="39"/>
                      <a:pt x="25" y="39"/>
                    </a:cubicBezTo>
                    <a:cubicBezTo>
                      <a:pt x="9" y="43"/>
                      <a:pt x="0" y="48"/>
                      <a:pt x="0" y="53"/>
                    </a:cubicBezTo>
                    <a:cubicBezTo>
                      <a:pt x="0" y="64"/>
                      <a:pt x="38" y="73"/>
                      <a:pt x="84" y="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51" name="Freeform 92">
                <a:extLst>
                  <a:ext uri="{FF2B5EF4-FFF2-40B4-BE49-F238E27FC236}">
                    <a16:creationId xmlns:a16="http://schemas.microsoft.com/office/drawing/2014/main" id="{B7A545A3-7B25-481F-BDFE-6A00326D781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748" y="2248"/>
                <a:ext cx="554" cy="309"/>
              </a:xfrm>
              <a:custGeom>
                <a:avLst/>
                <a:gdLst>
                  <a:gd name="T0" fmla="*/ 247 w 264"/>
                  <a:gd name="T1" fmla="*/ 0 h 148"/>
                  <a:gd name="T2" fmla="*/ 17 w 264"/>
                  <a:gd name="T3" fmla="*/ 0 h 148"/>
                  <a:gd name="T4" fmla="*/ 1 w 264"/>
                  <a:gd name="T5" fmla="*/ 18 h 148"/>
                  <a:gd name="T6" fmla="*/ 16 w 264"/>
                  <a:gd name="T7" fmla="*/ 134 h 148"/>
                  <a:gd name="T8" fmla="*/ 32 w 264"/>
                  <a:gd name="T9" fmla="*/ 148 h 148"/>
                  <a:gd name="T10" fmla="*/ 232 w 264"/>
                  <a:gd name="T11" fmla="*/ 148 h 148"/>
                  <a:gd name="T12" fmla="*/ 248 w 264"/>
                  <a:gd name="T13" fmla="*/ 134 h 148"/>
                  <a:gd name="T14" fmla="*/ 263 w 264"/>
                  <a:gd name="T15" fmla="*/ 18 h 148"/>
                  <a:gd name="T16" fmla="*/ 247 w 264"/>
                  <a:gd name="T17" fmla="*/ 0 h 148"/>
                  <a:gd name="T18" fmla="*/ 132 w 264"/>
                  <a:gd name="T19" fmla="*/ 90 h 148"/>
                  <a:gd name="T20" fmla="*/ 115 w 264"/>
                  <a:gd name="T21" fmla="*/ 74 h 148"/>
                  <a:gd name="T22" fmla="*/ 132 w 264"/>
                  <a:gd name="T23" fmla="*/ 57 h 148"/>
                  <a:gd name="T24" fmla="*/ 149 w 264"/>
                  <a:gd name="T25" fmla="*/ 74 h 148"/>
                  <a:gd name="T26" fmla="*/ 132 w 264"/>
                  <a:gd name="T27" fmla="*/ 9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64" h="148">
                    <a:moveTo>
                      <a:pt x="247" y="0"/>
                    </a:moveTo>
                    <a:cubicBezTo>
                      <a:pt x="17" y="0"/>
                      <a:pt x="17" y="0"/>
                      <a:pt x="17" y="0"/>
                    </a:cubicBezTo>
                    <a:cubicBezTo>
                      <a:pt x="7" y="0"/>
                      <a:pt x="0" y="8"/>
                      <a:pt x="1" y="18"/>
                    </a:cubicBezTo>
                    <a:cubicBezTo>
                      <a:pt x="16" y="134"/>
                      <a:pt x="16" y="134"/>
                      <a:pt x="16" y="134"/>
                    </a:cubicBezTo>
                    <a:cubicBezTo>
                      <a:pt x="18" y="142"/>
                      <a:pt x="24" y="148"/>
                      <a:pt x="32" y="148"/>
                    </a:cubicBezTo>
                    <a:cubicBezTo>
                      <a:pt x="232" y="148"/>
                      <a:pt x="232" y="148"/>
                      <a:pt x="232" y="148"/>
                    </a:cubicBezTo>
                    <a:cubicBezTo>
                      <a:pt x="240" y="148"/>
                      <a:pt x="246" y="142"/>
                      <a:pt x="248" y="134"/>
                    </a:cubicBezTo>
                    <a:cubicBezTo>
                      <a:pt x="263" y="18"/>
                      <a:pt x="263" y="18"/>
                      <a:pt x="263" y="18"/>
                    </a:cubicBezTo>
                    <a:cubicBezTo>
                      <a:pt x="264" y="8"/>
                      <a:pt x="257" y="0"/>
                      <a:pt x="247" y="0"/>
                    </a:cubicBezTo>
                    <a:close/>
                    <a:moveTo>
                      <a:pt x="132" y="90"/>
                    </a:moveTo>
                    <a:cubicBezTo>
                      <a:pt x="123" y="90"/>
                      <a:pt x="115" y="83"/>
                      <a:pt x="115" y="74"/>
                    </a:cubicBezTo>
                    <a:cubicBezTo>
                      <a:pt x="115" y="64"/>
                      <a:pt x="123" y="57"/>
                      <a:pt x="132" y="57"/>
                    </a:cubicBezTo>
                    <a:cubicBezTo>
                      <a:pt x="141" y="57"/>
                      <a:pt x="149" y="64"/>
                      <a:pt x="149" y="74"/>
                    </a:cubicBezTo>
                    <a:cubicBezTo>
                      <a:pt x="149" y="83"/>
                      <a:pt x="141" y="90"/>
                      <a:pt x="132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114899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73E3F8-23D7-4093-B403-25C7BB8EA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DC7098-ABAE-44FF-A835-8A326AB7A668}" type="slidenum">
              <a:rPr lang="en-US" smtClean="0"/>
              <a:t>7</a:t>
            </a:fld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65E566A-8E3B-4526-9DE1-B17AFF16370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405" t="8401" r="3039" b="5810"/>
          <a:stretch/>
        </p:blipFill>
        <p:spPr>
          <a:xfrm>
            <a:off x="1839974" y="1106450"/>
            <a:ext cx="5081066" cy="366081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33DC178-EE5B-470C-92F8-89C1BAD8AAFF}"/>
              </a:ext>
            </a:extLst>
          </p:cNvPr>
          <p:cNvSpPr txBox="1"/>
          <p:nvPr/>
        </p:nvSpPr>
        <p:spPr>
          <a:xfrm>
            <a:off x="639599" y="1270959"/>
            <a:ext cx="1565352" cy="40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13" dirty="0">
                <a:solidFill>
                  <a:srgbClr val="00B0F0"/>
                </a:solidFill>
              </a:rPr>
              <a:t>Cyber-risk is global in natur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B549A83-8B62-4565-BCC8-E6697541771E}"/>
              </a:ext>
            </a:extLst>
          </p:cNvPr>
          <p:cNvSpPr txBox="1"/>
          <p:nvPr/>
        </p:nvSpPr>
        <p:spPr>
          <a:xfrm>
            <a:off x="3056367" y="1028585"/>
            <a:ext cx="2230582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13" dirty="0">
                <a:solidFill>
                  <a:srgbClr val="00B0F0"/>
                </a:solidFill>
              </a:rPr>
              <a:t>Financial Sector a target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761D482-45C1-42D7-BBF6-7EA2634CF87C}"/>
              </a:ext>
            </a:extLst>
          </p:cNvPr>
          <p:cNvSpPr txBox="1"/>
          <p:nvPr/>
        </p:nvSpPr>
        <p:spPr>
          <a:xfrm>
            <a:off x="6253768" y="2025588"/>
            <a:ext cx="2992583" cy="871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13" dirty="0">
                <a:solidFill>
                  <a:srgbClr val="00B0F0"/>
                </a:solidFill>
              </a:rPr>
              <a:t>Concerns with cyber-risk: 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13" dirty="0">
                <a:solidFill>
                  <a:srgbClr val="00B0F0"/>
                </a:solidFill>
              </a:rPr>
              <a:t>Lack of confidenc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13" dirty="0">
                <a:solidFill>
                  <a:srgbClr val="00B0F0"/>
                </a:solidFill>
              </a:rPr>
              <a:t>Financial stability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13" dirty="0">
                <a:solidFill>
                  <a:srgbClr val="00B0F0"/>
                </a:solidFill>
              </a:rPr>
              <a:t>“Sand in the wheels” for innovati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13" dirty="0">
                <a:solidFill>
                  <a:srgbClr val="00B0F0"/>
                </a:solidFill>
              </a:rPr>
              <a:t>Lack of qualified resourc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909B44F-F28F-43AE-95FC-43464D2DE16D}"/>
              </a:ext>
            </a:extLst>
          </p:cNvPr>
          <p:cNvSpPr txBox="1"/>
          <p:nvPr/>
        </p:nvSpPr>
        <p:spPr>
          <a:xfrm>
            <a:off x="5607586" y="3787432"/>
            <a:ext cx="2432805" cy="7158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13" dirty="0">
                <a:solidFill>
                  <a:srgbClr val="FF0000"/>
                </a:solidFill>
              </a:rPr>
              <a:t>Jurisdictions issuing regulation: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13" dirty="0">
                <a:solidFill>
                  <a:srgbClr val="FF0000"/>
                </a:solidFill>
              </a:rPr>
              <a:t>Frameworks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13" dirty="0">
                <a:solidFill>
                  <a:srgbClr val="FF0000"/>
                </a:solidFill>
              </a:rPr>
              <a:t>Guidanc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13" dirty="0">
                <a:solidFill>
                  <a:srgbClr val="FF0000"/>
                </a:solidFill>
              </a:rPr>
              <a:t>Ru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7DAC93-B658-4362-9B0D-BD36D34494D1}"/>
              </a:ext>
            </a:extLst>
          </p:cNvPr>
          <p:cNvSpPr txBox="1"/>
          <p:nvPr/>
        </p:nvSpPr>
        <p:spPr>
          <a:xfrm>
            <a:off x="2980851" y="4461156"/>
            <a:ext cx="2230582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13" dirty="0">
                <a:solidFill>
                  <a:srgbClr val="FF0000"/>
                </a:solidFill>
              </a:rPr>
              <a:t>No international coordinat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60CCB32-477D-4B72-AB8D-B6CBE6A9D38C}"/>
              </a:ext>
            </a:extLst>
          </p:cNvPr>
          <p:cNvSpPr txBox="1"/>
          <p:nvPr/>
        </p:nvSpPr>
        <p:spPr>
          <a:xfrm>
            <a:off x="5075664" y="1028585"/>
            <a:ext cx="2230582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13" dirty="0">
                <a:solidFill>
                  <a:srgbClr val="00B0F0"/>
                </a:solidFill>
              </a:rPr>
              <a:t>Heavy investments in cybersecurit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9F346DA-7099-410D-B4A3-8EBFF536B478}"/>
              </a:ext>
            </a:extLst>
          </p:cNvPr>
          <p:cNvSpPr txBox="1"/>
          <p:nvPr/>
        </p:nvSpPr>
        <p:spPr>
          <a:xfrm>
            <a:off x="397733" y="3325749"/>
            <a:ext cx="2432805" cy="871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13" dirty="0">
                <a:solidFill>
                  <a:srgbClr val="FF0000"/>
                </a:solidFill>
              </a:rPr>
              <a:t>Consequences of fragmentation: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13" dirty="0">
                <a:solidFill>
                  <a:srgbClr val="FF0000"/>
                </a:solidFill>
              </a:rPr>
              <a:t>Over-regulation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13" dirty="0">
                <a:solidFill>
                  <a:srgbClr val="FF0000"/>
                </a:solidFill>
              </a:rPr>
              <a:t>Overlaps/ contradictions 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13" dirty="0">
                <a:solidFill>
                  <a:srgbClr val="FF0000"/>
                </a:solidFill>
              </a:rPr>
              <a:t>Cost of compliance</a:t>
            </a:r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en-US" sz="1013" dirty="0">
                <a:solidFill>
                  <a:srgbClr val="FF0000"/>
                </a:solidFill>
              </a:rPr>
              <a:t>Efficiency?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81C29A3-BD08-4973-A9E6-6A5F9CA30FEF}"/>
              </a:ext>
            </a:extLst>
          </p:cNvPr>
          <p:cNvSpPr txBox="1"/>
          <p:nvPr/>
        </p:nvSpPr>
        <p:spPr>
          <a:xfrm>
            <a:off x="274622" y="2275928"/>
            <a:ext cx="1565352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13" dirty="0">
                <a:solidFill>
                  <a:srgbClr val="00B050"/>
                </a:solidFill>
              </a:rPr>
              <a:t>What could be improved?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B246A6C-B394-410F-84B6-FB83887FC34C}"/>
              </a:ext>
            </a:extLst>
          </p:cNvPr>
          <p:cNvSpPr txBox="1"/>
          <p:nvPr/>
        </p:nvSpPr>
        <p:spPr>
          <a:xfrm>
            <a:off x="2940752" y="2317885"/>
            <a:ext cx="180855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b="1" dirty="0">
                <a:solidFill>
                  <a:schemeClr val="accent2">
                    <a:lumMod val="75000"/>
                  </a:schemeClr>
                </a:solidFill>
              </a:rPr>
              <a:t>Fragmentation</a:t>
            </a:r>
            <a:endParaRPr lang="en-US" sz="1013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4" name="CuadroTexto 6">
            <a:extLst>
              <a:ext uri="{FF2B5EF4-FFF2-40B4-BE49-F238E27FC236}">
                <a16:creationId xmlns:a16="http://schemas.microsoft.com/office/drawing/2014/main" id="{0202BA17-FD5D-4188-A0BD-9FB6162B5C8C}"/>
              </a:ext>
            </a:extLst>
          </p:cNvPr>
          <p:cNvSpPr txBox="1"/>
          <p:nvPr/>
        </p:nvSpPr>
        <p:spPr>
          <a:xfrm>
            <a:off x="619159" y="338006"/>
            <a:ext cx="86554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020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YBER AND FINANCIAL STABILITY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5A9104D-E5DA-490F-8939-AD1411BB3E25}"/>
              </a:ext>
            </a:extLst>
          </p:cNvPr>
          <p:cNvGrpSpPr/>
          <p:nvPr/>
        </p:nvGrpSpPr>
        <p:grpSpPr>
          <a:xfrm>
            <a:off x="8777032" y="52673"/>
            <a:ext cx="384048" cy="384048"/>
            <a:chOff x="1062804" y="1765211"/>
            <a:chExt cx="685083" cy="685083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352C1F70-EE4A-4029-9B87-150DF97DE475}"/>
                </a:ext>
              </a:extLst>
            </p:cNvPr>
            <p:cNvSpPr/>
            <p:nvPr/>
          </p:nvSpPr>
          <p:spPr bwMode="gray">
            <a:xfrm>
              <a:off x="1062804" y="1765211"/>
              <a:ext cx="685083" cy="68508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0271DD1D-A158-452C-9BE6-ECCDEC249192}"/>
                </a:ext>
              </a:extLst>
            </p:cNvPr>
            <p:cNvGrpSpPr/>
            <p:nvPr/>
          </p:nvGrpSpPr>
          <p:grpSpPr>
            <a:xfrm>
              <a:off x="1237683" y="1908727"/>
              <a:ext cx="344611" cy="404623"/>
              <a:chOff x="9432806" y="3717836"/>
              <a:chExt cx="155510" cy="186499"/>
            </a:xfrm>
            <a:solidFill>
              <a:schemeClr val="accent1"/>
            </a:solidFill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B2384A7E-C893-4CFD-848C-0B157C085F30}"/>
                  </a:ext>
                </a:extLst>
              </p:cNvPr>
              <p:cNvSpPr/>
              <p:nvPr/>
            </p:nvSpPr>
            <p:spPr>
              <a:xfrm>
                <a:off x="9432806" y="3717836"/>
                <a:ext cx="155510" cy="186499"/>
              </a:xfrm>
              <a:custGeom>
                <a:avLst/>
                <a:gdLst>
                  <a:gd name="connsiteX0" fmla="*/ 15539 w 155510"/>
                  <a:gd name="connsiteY0" fmla="*/ 172967 h 186499"/>
                  <a:gd name="connsiteX1" fmla="*/ 15539 w 155510"/>
                  <a:gd name="connsiteY1" fmla="*/ 14443 h 186499"/>
                  <a:gd name="connsiteX2" fmla="*/ 78245 w 155510"/>
                  <a:gd name="connsiteY2" fmla="*/ 14443 h 186499"/>
                  <a:gd name="connsiteX3" fmla="*/ 78245 w 155510"/>
                  <a:gd name="connsiteY3" fmla="*/ 63399 h 186499"/>
                  <a:gd name="connsiteX4" fmla="*/ 140951 w 155510"/>
                  <a:gd name="connsiteY4" fmla="*/ 63399 h 186499"/>
                  <a:gd name="connsiteX5" fmla="*/ 140951 w 155510"/>
                  <a:gd name="connsiteY5" fmla="*/ 172967 h 186499"/>
                  <a:gd name="connsiteX6" fmla="*/ 15539 w 155510"/>
                  <a:gd name="connsiteY6" fmla="*/ 172967 h 186499"/>
                  <a:gd name="connsiteX7" fmla="*/ 93294 w 155510"/>
                  <a:gd name="connsiteY7" fmla="*/ 20271 h 186499"/>
                  <a:gd name="connsiteX8" fmla="*/ 124647 w 155510"/>
                  <a:gd name="connsiteY8" fmla="*/ 49411 h 186499"/>
                  <a:gd name="connsiteX9" fmla="*/ 93294 w 155510"/>
                  <a:gd name="connsiteY9" fmla="*/ 49411 h 186499"/>
                  <a:gd name="connsiteX10" fmla="*/ 93294 w 155510"/>
                  <a:gd name="connsiteY10" fmla="*/ 20271 h 186499"/>
                  <a:gd name="connsiteX11" fmla="*/ 93294 w 155510"/>
                  <a:gd name="connsiteY11" fmla="*/ 455 h 186499"/>
                  <a:gd name="connsiteX12" fmla="*/ 490 w 155510"/>
                  <a:gd name="connsiteY12" fmla="*/ 455 h 186499"/>
                  <a:gd name="connsiteX13" fmla="*/ 490 w 155510"/>
                  <a:gd name="connsiteY13" fmla="*/ 186954 h 186499"/>
                  <a:gd name="connsiteX14" fmla="*/ 156000 w 155510"/>
                  <a:gd name="connsiteY14" fmla="*/ 186954 h 186499"/>
                  <a:gd name="connsiteX15" fmla="*/ 156000 w 155510"/>
                  <a:gd name="connsiteY15" fmla="*/ 51743 h 186499"/>
                  <a:gd name="connsiteX16" fmla="*/ 93294 w 155510"/>
                  <a:gd name="connsiteY16" fmla="*/ 455 h 186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55510" h="186499">
                    <a:moveTo>
                      <a:pt x="15539" y="172967"/>
                    </a:moveTo>
                    <a:lnTo>
                      <a:pt x="15539" y="14443"/>
                    </a:lnTo>
                    <a:lnTo>
                      <a:pt x="78245" y="14443"/>
                    </a:lnTo>
                    <a:lnTo>
                      <a:pt x="78245" y="63399"/>
                    </a:lnTo>
                    <a:lnTo>
                      <a:pt x="140951" y="63399"/>
                    </a:lnTo>
                    <a:lnTo>
                      <a:pt x="140951" y="172967"/>
                    </a:lnTo>
                    <a:lnTo>
                      <a:pt x="15539" y="172967"/>
                    </a:lnTo>
                    <a:close/>
                    <a:moveTo>
                      <a:pt x="93294" y="20271"/>
                    </a:moveTo>
                    <a:lnTo>
                      <a:pt x="124647" y="49411"/>
                    </a:lnTo>
                    <a:lnTo>
                      <a:pt x="93294" y="49411"/>
                    </a:lnTo>
                    <a:lnTo>
                      <a:pt x="93294" y="20271"/>
                    </a:lnTo>
                    <a:close/>
                    <a:moveTo>
                      <a:pt x="93294" y="455"/>
                    </a:moveTo>
                    <a:lnTo>
                      <a:pt x="490" y="455"/>
                    </a:lnTo>
                    <a:lnTo>
                      <a:pt x="490" y="186954"/>
                    </a:lnTo>
                    <a:lnTo>
                      <a:pt x="156000" y="186954"/>
                    </a:lnTo>
                    <a:lnTo>
                      <a:pt x="156000" y="51743"/>
                    </a:lnTo>
                    <a:lnTo>
                      <a:pt x="93294" y="455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DB72A45C-5061-4831-8CF0-19F1A6DBA787}"/>
                  </a:ext>
                </a:extLst>
              </p:cNvPr>
              <p:cNvSpPr/>
              <p:nvPr/>
            </p:nvSpPr>
            <p:spPr>
              <a:xfrm>
                <a:off x="9462905" y="3804091"/>
                <a:ext cx="95313" cy="9325"/>
              </a:xfrm>
              <a:custGeom>
                <a:avLst/>
                <a:gdLst>
                  <a:gd name="connsiteX0" fmla="*/ 490 w 95312"/>
                  <a:gd name="connsiteY0" fmla="*/ 455 h 9324"/>
                  <a:gd name="connsiteX1" fmla="*/ 95803 w 95312"/>
                  <a:gd name="connsiteY1" fmla="*/ 455 h 9324"/>
                  <a:gd name="connsiteX2" fmla="*/ 95803 w 95312"/>
                  <a:gd name="connsiteY2" fmla="*/ 9780 h 9324"/>
                  <a:gd name="connsiteX3" fmla="*/ 490 w 95312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312" h="9324">
                    <a:moveTo>
                      <a:pt x="490" y="455"/>
                    </a:moveTo>
                    <a:lnTo>
                      <a:pt x="95803" y="455"/>
                    </a:lnTo>
                    <a:lnTo>
                      <a:pt x="95803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6DCFC900-5087-4E01-B5FF-E7B178861691}"/>
                  </a:ext>
                </a:extLst>
              </p:cNvPr>
              <p:cNvSpPr/>
              <p:nvPr/>
            </p:nvSpPr>
            <p:spPr>
              <a:xfrm>
                <a:off x="9462905" y="3785442"/>
                <a:ext cx="32607" cy="9325"/>
              </a:xfrm>
              <a:custGeom>
                <a:avLst/>
                <a:gdLst>
                  <a:gd name="connsiteX0" fmla="*/ 490 w 32606"/>
                  <a:gd name="connsiteY0" fmla="*/ 455 h 9324"/>
                  <a:gd name="connsiteX1" fmla="*/ 33097 w 32606"/>
                  <a:gd name="connsiteY1" fmla="*/ 455 h 9324"/>
                  <a:gd name="connsiteX2" fmla="*/ 33097 w 32606"/>
                  <a:gd name="connsiteY2" fmla="*/ 9780 h 9324"/>
                  <a:gd name="connsiteX3" fmla="*/ 490 w 32606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606" h="9324">
                    <a:moveTo>
                      <a:pt x="490" y="455"/>
                    </a:moveTo>
                    <a:lnTo>
                      <a:pt x="33097" y="455"/>
                    </a:lnTo>
                    <a:lnTo>
                      <a:pt x="33097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91B6573-FDF6-48DE-89D6-4FFA706CD6FD}"/>
                  </a:ext>
                </a:extLst>
              </p:cNvPr>
              <p:cNvSpPr/>
              <p:nvPr/>
            </p:nvSpPr>
            <p:spPr>
              <a:xfrm>
                <a:off x="9462905" y="3822741"/>
                <a:ext cx="95313" cy="9325"/>
              </a:xfrm>
              <a:custGeom>
                <a:avLst/>
                <a:gdLst>
                  <a:gd name="connsiteX0" fmla="*/ 490 w 95312"/>
                  <a:gd name="connsiteY0" fmla="*/ 455 h 9324"/>
                  <a:gd name="connsiteX1" fmla="*/ 95803 w 95312"/>
                  <a:gd name="connsiteY1" fmla="*/ 455 h 9324"/>
                  <a:gd name="connsiteX2" fmla="*/ 95803 w 95312"/>
                  <a:gd name="connsiteY2" fmla="*/ 9780 h 9324"/>
                  <a:gd name="connsiteX3" fmla="*/ 490 w 95312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312" h="9324">
                    <a:moveTo>
                      <a:pt x="490" y="455"/>
                    </a:moveTo>
                    <a:lnTo>
                      <a:pt x="95803" y="455"/>
                    </a:lnTo>
                    <a:lnTo>
                      <a:pt x="95803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57750E5B-5CF7-4736-8E7A-9B2411C9FCCC}"/>
                  </a:ext>
                </a:extLst>
              </p:cNvPr>
              <p:cNvSpPr/>
              <p:nvPr/>
            </p:nvSpPr>
            <p:spPr>
              <a:xfrm>
                <a:off x="9462905" y="3841391"/>
                <a:ext cx="95313" cy="9325"/>
              </a:xfrm>
              <a:custGeom>
                <a:avLst/>
                <a:gdLst>
                  <a:gd name="connsiteX0" fmla="*/ 490 w 95312"/>
                  <a:gd name="connsiteY0" fmla="*/ 455 h 9324"/>
                  <a:gd name="connsiteX1" fmla="*/ 95803 w 95312"/>
                  <a:gd name="connsiteY1" fmla="*/ 455 h 9324"/>
                  <a:gd name="connsiteX2" fmla="*/ 95803 w 95312"/>
                  <a:gd name="connsiteY2" fmla="*/ 9780 h 9324"/>
                  <a:gd name="connsiteX3" fmla="*/ 490 w 95312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312" h="9324">
                    <a:moveTo>
                      <a:pt x="490" y="455"/>
                    </a:moveTo>
                    <a:lnTo>
                      <a:pt x="95803" y="455"/>
                    </a:lnTo>
                    <a:lnTo>
                      <a:pt x="95803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D8815EA5-06C5-4019-9938-AD7C58CFF54B}"/>
                  </a:ext>
                </a:extLst>
              </p:cNvPr>
              <p:cNvSpPr/>
              <p:nvPr/>
            </p:nvSpPr>
            <p:spPr>
              <a:xfrm>
                <a:off x="9462905" y="3860041"/>
                <a:ext cx="95313" cy="9325"/>
              </a:xfrm>
              <a:custGeom>
                <a:avLst/>
                <a:gdLst>
                  <a:gd name="connsiteX0" fmla="*/ 490 w 95312"/>
                  <a:gd name="connsiteY0" fmla="*/ 455 h 9324"/>
                  <a:gd name="connsiteX1" fmla="*/ 95803 w 95312"/>
                  <a:gd name="connsiteY1" fmla="*/ 455 h 9324"/>
                  <a:gd name="connsiteX2" fmla="*/ 95803 w 95312"/>
                  <a:gd name="connsiteY2" fmla="*/ 9780 h 9324"/>
                  <a:gd name="connsiteX3" fmla="*/ 490 w 95312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312" h="9324">
                    <a:moveTo>
                      <a:pt x="490" y="455"/>
                    </a:moveTo>
                    <a:lnTo>
                      <a:pt x="95803" y="455"/>
                    </a:lnTo>
                    <a:lnTo>
                      <a:pt x="95803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907798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3EEB17EF-36D4-47D6-A6B3-17A1F967086C}"/>
              </a:ext>
            </a:extLst>
          </p:cNvPr>
          <p:cNvPicPr/>
          <p:nvPr/>
        </p:nvPicPr>
        <p:blipFill rotWithShape="1">
          <a:blip r:embed="rId2"/>
          <a:srcRect l="32240" t="27827" r="33549" b="43557"/>
          <a:stretch/>
        </p:blipFill>
        <p:spPr bwMode="auto">
          <a:xfrm>
            <a:off x="5344786" y="1617453"/>
            <a:ext cx="3390896" cy="249087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5446DCA-E583-4688-9421-245DCFAB00CF}"/>
              </a:ext>
            </a:extLst>
          </p:cNvPr>
          <p:cNvSpPr txBox="1"/>
          <p:nvPr/>
        </p:nvSpPr>
        <p:spPr>
          <a:xfrm>
            <a:off x="355840" y="1099869"/>
            <a:ext cx="8119613" cy="248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13" i="1" dirty="0">
                <a:solidFill>
                  <a:srgbClr val="00B0F0"/>
                </a:solidFill>
              </a:rPr>
              <a:t>“All FSB member jurisdictions report drawing upon a small body of previously developed national or international guidance or standards…”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C34784-10D0-412F-8E9C-046238C150CD}"/>
              </a:ext>
            </a:extLst>
          </p:cNvPr>
          <p:cNvSpPr txBox="1"/>
          <p:nvPr/>
        </p:nvSpPr>
        <p:spPr>
          <a:xfrm rot="20494445">
            <a:off x="590343" y="2636765"/>
            <a:ext cx="4832949" cy="40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13" i="1" dirty="0">
                <a:solidFill>
                  <a:srgbClr val="C00000"/>
                </a:solidFill>
              </a:rPr>
              <a:t>“There were 56 schemes of regulations and guidance reported as targeted to cybersecurity and/or IT risk, ..and “..35 schemes of reported supervisory practices…”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1DCA7-20AF-43E4-803F-DB7B5BC19588}"/>
              </a:ext>
            </a:extLst>
          </p:cNvPr>
          <p:cNvSpPr txBox="1"/>
          <p:nvPr/>
        </p:nvSpPr>
        <p:spPr>
          <a:xfrm rot="556603">
            <a:off x="1752173" y="4194197"/>
            <a:ext cx="4644604" cy="40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13" i="1" dirty="0">
                <a:solidFill>
                  <a:srgbClr val="0070C0"/>
                </a:solidFill>
              </a:rPr>
              <a:t>72% of Jurisdictions Reporting Near-Term Plans to Issue New Regulations, Guidance or Supervisory Practices 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D6B70F3A-E359-4C27-9BF5-A2EC6F2090CE}"/>
              </a:ext>
            </a:extLst>
          </p:cNvPr>
          <p:cNvSpPr txBox="1"/>
          <p:nvPr/>
        </p:nvSpPr>
        <p:spPr>
          <a:xfrm>
            <a:off x="619159" y="338006"/>
            <a:ext cx="86554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020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FSB STOCKTAK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989F814-7D1F-46C0-8248-0C0738E007D1}"/>
              </a:ext>
            </a:extLst>
          </p:cNvPr>
          <p:cNvGrpSpPr/>
          <p:nvPr/>
        </p:nvGrpSpPr>
        <p:grpSpPr>
          <a:xfrm>
            <a:off x="8777032" y="52673"/>
            <a:ext cx="384048" cy="384048"/>
            <a:chOff x="1062804" y="1765211"/>
            <a:chExt cx="685083" cy="68508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141903CE-9497-45D3-B04C-45EBCA1C2808}"/>
                </a:ext>
              </a:extLst>
            </p:cNvPr>
            <p:cNvSpPr/>
            <p:nvPr/>
          </p:nvSpPr>
          <p:spPr bwMode="gray">
            <a:xfrm>
              <a:off x="1062804" y="1765211"/>
              <a:ext cx="685083" cy="68508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813AB91-CB6C-4756-9C63-68F6C302AF68}"/>
                </a:ext>
              </a:extLst>
            </p:cNvPr>
            <p:cNvGrpSpPr/>
            <p:nvPr/>
          </p:nvGrpSpPr>
          <p:grpSpPr>
            <a:xfrm>
              <a:off x="1237683" y="1908727"/>
              <a:ext cx="344611" cy="404623"/>
              <a:chOff x="9432806" y="3717836"/>
              <a:chExt cx="155510" cy="186499"/>
            </a:xfrm>
            <a:solidFill>
              <a:schemeClr val="accent1"/>
            </a:solidFill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07445449-3420-4694-86AE-D743DA2FD0BF}"/>
                  </a:ext>
                </a:extLst>
              </p:cNvPr>
              <p:cNvSpPr/>
              <p:nvPr/>
            </p:nvSpPr>
            <p:spPr>
              <a:xfrm>
                <a:off x="9432806" y="3717836"/>
                <a:ext cx="155510" cy="186499"/>
              </a:xfrm>
              <a:custGeom>
                <a:avLst/>
                <a:gdLst>
                  <a:gd name="connsiteX0" fmla="*/ 15539 w 155510"/>
                  <a:gd name="connsiteY0" fmla="*/ 172967 h 186499"/>
                  <a:gd name="connsiteX1" fmla="*/ 15539 w 155510"/>
                  <a:gd name="connsiteY1" fmla="*/ 14443 h 186499"/>
                  <a:gd name="connsiteX2" fmla="*/ 78245 w 155510"/>
                  <a:gd name="connsiteY2" fmla="*/ 14443 h 186499"/>
                  <a:gd name="connsiteX3" fmla="*/ 78245 w 155510"/>
                  <a:gd name="connsiteY3" fmla="*/ 63399 h 186499"/>
                  <a:gd name="connsiteX4" fmla="*/ 140951 w 155510"/>
                  <a:gd name="connsiteY4" fmla="*/ 63399 h 186499"/>
                  <a:gd name="connsiteX5" fmla="*/ 140951 w 155510"/>
                  <a:gd name="connsiteY5" fmla="*/ 172967 h 186499"/>
                  <a:gd name="connsiteX6" fmla="*/ 15539 w 155510"/>
                  <a:gd name="connsiteY6" fmla="*/ 172967 h 186499"/>
                  <a:gd name="connsiteX7" fmla="*/ 93294 w 155510"/>
                  <a:gd name="connsiteY7" fmla="*/ 20271 h 186499"/>
                  <a:gd name="connsiteX8" fmla="*/ 124647 w 155510"/>
                  <a:gd name="connsiteY8" fmla="*/ 49411 h 186499"/>
                  <a:gd name="connsiteX9" fmla="*/ 93294 w 155510"/>
                  <a:gd name="connsiteY9" fmla="*/ 49411 h 186499"/>
                  <a:gd name="connsiteX10" fmla="*/ 93294 w 155510"/>
                  <a:gd name="connsiteY10" fmla="*/ 20271 h 186499"/>
                  <a:gd name="connsiteX11" fmla="*/ 93294 w 155510"/>
                  <a:gd name="connsiteY11" fmla="*/ 455 h 186499"/>
                  <a:gd name="connsiteX12" fmla="*/ 490 w 155510"/>
                  <a:gd name="connsiteY12" fmla="*/ 455 h 186499"/>
                  <a:gd name="connsiteX13" fmla="*/ 490 w 155510"/>
                  <a:gd name="connsiteY13" fmla="*/ 186954 h 186499"/>
                  <a:gd name="connsiteX14" fmla="*/ 156000 w 155510"/>
                  <a:gd name="connsiteY14" fmla="*/ 186954 h 186499"/>
                  <a:gd name="connsiteX15" fmla="*/ 156000 w 155510"/>
                  <a:gd name="connsiteY15" fmla="*/ 51743 h 186499"/>
                  <a:gd name="connsiteX16" fmla="*/ 93294 w 155510"/>
                  <a:gd name="connsiteY16" fmla="*/ 455 h 186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55510" h="186499">
                    <a:moveTo>
                      <a:pt x="15539" y="172967"/>
                    </a:moveTo>
                    <a:lnTo>
                      <a:pt x="15539" y="14443"/>
                    </a:lnTo>
                    <a:lnTo>
                      <a:pt x="78245" y="14443"/>
                    </a:lnTo>
                    <a:lnTo>
                      <a:pt x="78245" y="63399"/>
                    </a:lnTo>
                    <a:lnTo>
                      <a:pt x="140951" y="63399"/>
                    </a:lnTo>
                    <a:lnTo>
                      <a:pt x="140951" y="172967"/>
                    </a:lnTo>
                    <a:lnTo>
                      <a:pt x="15539" y="172967"/>
                    </a:lnTo>
                    <a:close/>
                    <a:moveTo>
                      <a:pt x="93294" y="20271"/>
                    </a:moveTo>
                    <a:lnTo>
                      <a:pt x="124647" y="49411"/>
                    </a:lnTo>
                    <a:lnTo>
                      <a:pt x="93294" y="49411"/>
                    </a:lnTo>
                    <a:lnTo>
                      <a:pt x="93294" y="20271"/>
                    </a:lnTo>
                    <a:close/>
                    <a:moveTo>
                      <a:pt x="93294" y="455"/>
                    </a:moveTo>
                    <a:lnTo>
                      <a:pt x="490" y="455"/>
                    </a:lnTo>
                    <a:lnTo>
                      <a:pt x="490" y="186954"/>
                    </a:lnTo>
                    <a:lnTo>
                      <a:pt x="156000" y="186954"/>
                    </a:lnTo>
                    <a:lnTo>
                      <a:pt x="156000" y="51743"/>
                    </a:lnTo>
                    <a:lnTo>
                      <a:pt x="93294" y="455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AC4670A8-DC38-49A0-9507-E559E47C7F5D}"/>
                  </a:ext>
                </a:extLst>
              </p:cNvPr>
              <p:cNvSpPr/>
              <p:nvPr/>
            </p:nvSpPr>
            <p:spPr>
              <a:xfrm>
                <a:off x="9462905" y="3804091"/>
                <a:ext cx="95313" cy="9325"/>
              </a:xfrm>
              <a:custGeom>
                <a:avLst/>
                <a:gdLst>
                  <a:gd name="connsiteX0" fmla="*/ 490 w 95312"/>
                  <a:gd name="connsiteY0" fmla="*/ 455 h 9324"/>
                  <a:gd name="connsiteX1" fmla="*/ 95803 w 95312"/>
                  <a:gd name="connsiteY1" fmla="*/ 455 h 9324"/>
                  <a:gd name="connsiteX2" fmla="*/ 95803 w 95312"/>
                  <a:gd name="connsiteY2" fmla="*/ 9780 h 9324"/>
                  <a:gd name="connsiteX3" fmla="*/ 490 w 95312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312" h="9324">
                    <a:moveTo>
                      <a:pt x="490" y="455"/>
                    </a:moveTo>
                    <a:lnTo>
                      <a:pt x="95803" y="455"/>
                    </a:lnTo>
                    <a:lnTo>
                      <a:pt x="95803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A00EE18B-74F6-432C-80EC-9C4864FD70DF}"/>
                  </a:ext>
                </a:extLst>
              </p:cNvPr>
              <p:cNvSpPr/>
              <p:nvPr/>
            </p:nvSpPr>
            <p:spPr>
              <a:xfrm>
                <a:off x="9462905" y="3785442"/>
                <a:ext cx="32607" cy="9325"/>
              </a:xfrm>
              <a:custGeom>
                <a:avLst/>
                <a:gdLst>
                  <a:gd name="connsiteX0" fmla="*/ 490 w 32606"/>
                  <a:gd name="connsiteY0" fmla="*/ 455 h 9324"/>
                  <a:gd name="connsiteX1" fmla="*/ 33097 w 32606"/>
                  <a:gd name="connsiteY1" fmla="*/ 455 h 9324"/>
                  <a:gd name="connsiteX2" fmla="*/ 33097 w 32606"/>
                  <a:gd name="connsiteY2" fmla="*/ 9780 h 9324"/>
                  <a:gd name="connsiteX3" fmla="*/ 490 w 32606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606" h="9324">
                    <a:moveTo>
                      <a:pt x="490" y="455"/>
                    </a:moveTo>
                    <a:lnTo>
                      <a:pt x="33097" y="455"/>
                    </a:lnTo>
                    <a:lnTo>
                      <a:pt x="33097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4CB43FA8-293A-4A68-9B72-28CD32EB29D9}"/>
                  </a:ext>
                </a:extLst>
              </p:cNvPr>
              <p:cNvSpPr/>
              <p:nvPr/>
            </p:nvSpPr>
            <p:spPr>
              <a:xfrm>
                <a:off x="9462905" y="3822741"/>
                <a:ext cx="95313" cy="9325"/>
              </a:xfrm>
              <a:custGeom>
                <a:avLst/>
                <a:gdLst>
                  <a:gd name="connsiteX0" fmla="*/ 490 w 95312"/>
                  <a:gd name="connsiteY0" fmla="*/ 455 h 9324"/>
                  <a:gd name="connsiteX1" fmla="*/ 95803 w 95312"/>
                  <a:gd name="connsiteY1" fmla="*/ 455 h 9324"/>
                  <a:gd name="connsiteX2" fmla="*/ 95803 w 95312"/>
                  <a:gd name="connsiteY2" fmla="*/ 9780 h 9324"/>
                  <a:gd name="connsiteX3" fmla="*/ 490 w 95312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312" h="9324">
                    <a:moveTo>
                      <a:pt x="490" y="455"/>
                    </a:moveTo>
                    <a:lnTo>
                      <a:pt x="95803" y="455"/>
                    </a:lnTo>
                    <a:lnTo>
                      <a:pt x="95803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A2614E36-D091-4944-A3B2-4685085CB509}"/>
                  </a:ext>
                </a:extLst>
              </p:cNvPr>
              <p:cNvSpPr/>
              <p:nvPr/>
            </p:nvSpPr>
            <p:spPr>
              <a:xfrm>
                <a:off x="9462905" y="3841391"/>
                <a:ext cx="95313" cy="9325"/>
              </a:xfrm>
              <a:custGeom>
                <a:avLst/>
                <a:gdLst>
                  <a:gd name="connsiteX0" fmla="*/ 490 w 95312"/>
                  <a:gd name="connsiteY0" fmla="*/ 455 h 9324"/>
                  <a:gd name="connsiteX1" fmla="*/ 95803 w 95312"/>
                  <a:gd name="connsiteY1" fmla="*/ 455 h 9324"/>
                  <a:gd name="connsiteX2" fmla="*/ 95803 w 95312"/>
                  <a:gd name="connsiteY2" fmla="*/ 9780 h 9324"/>
                  <a:gd name="connsiteX3" fmla="*/ 490 w 95312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312" h="9324">
                    <a:moveTo>
                      <a:pt x="490" y="455"/>
                    </a:moveTo>
                    <a:lnTo>
                      <a:pt x="95803" y="455"/>
                    </a:lnTo>
                    <a:lnTo>
                      <a:pt x="95803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F2ADC0A7-5ED2-456D-8553-C7E76C5FAFE9}"/>
                  </a:ext>
                </a:extLst>
              </p:cNvPr>
              <p:cNvSpPr/>
              <p:nvPr/>
            </p:nvSpPr>
            <p:spPr>
              <a:xfrm>
                <a:off x="9462905" y="3860041"/>
                <a:ext cx="95313" cy="9325"/>
              </a:xfrm>
              <a:custGeom>
                <a:avLst/>
                <a:gdLst>
                  <a:gd name="connsiteX0" fmla="*/ 490 w 95312"/>
                  <a:gd name="connsiteY0" fmla="*/ 455 h 9324"/>
                  <a:gd name="connsiteX1" fmla="*/ 95803 w 95312"/>
                  <a:gd name="connsiteY1" fmla="*/ 455 h 9324"/>
                  <a:gd name="connsiteX2" fmla="*/ 95803 w 95312"/>
                  <a:gd name="connsiteY2" fmla="*/ 9780 h 9324"/>
                  <a:gd name="connsiteX3" fmla="*/ 490 w 95312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312" h="9324">
                    <a:moveTo>
                      <a:pt x="490" y="455"/>
                    </a:moveTo>
                    <a:lnTo>
                      <a:pt x="95803" y="455"/>
                    </a:lnTo>
                    <a:lnTo>
                      <a:pt x="95803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988721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object 4">
            <a:extLst>
              <a:ext uri="{FF2B5EF4-FFF2-40B4-BE49-F238E27FC236}">
                <a16:creationId xmlns:a16="http://schemas.microsoft.com/office/drawing/2014/main" id="{49ABC08E-346F-466D-AD5F-50961C0C5AE7}"/>
              </a:ext>
            </a:extLst>
          </p:cNvPr>
          <p:cNvSpPr txBox="1"/>
          <p:nvPr/>
        </p:nvSpPr>
        <p:spPr>
          <a:xfrm>
            <a:off x="2732168" y="1003382"/>
            <a:ext cx="2480078" cy="1347965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 marR="3810" algn="ctr">
              <a:spcBef>
                <a:spcPts val="71"/>
              </a:spcBef>
            </a:pPr>
            <a:r>
              <a:rPr lang="en-US" sz="1600" b="1" spc="-4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Incident Reporting</a:t>
            </a: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endParaRPr lang="en-US" sz="1100" spc="-1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ultiple authorities to report to</a:t>
            </a: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endParaRPr lang="en-US" sz="1100" spc="-1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ifferent definitions &amp; taxonomies</a:t>
            </a: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endParaRPr lang="en-US" sz="1100" spc="-1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Efficiency?</a:t>
            </a:r>
          </a:p>
        </p:txBody>
      </p:sp>
      <p:sp>
        <p:nvSpPr>
          <p:cNvPr id="35" name="Left Bracket 34">
            <a:extLst>
              <a:ext uri="{FF2B5EF4-FFF2-40B4-BE49-F238E27FC236}">
                <a16:creationId xmlns:a16="http://schemas.microsoft.com/office/drawing/2014/main" id="{FE39F801-9B05-4269-B574-146BBC286205}"/>
              </a:ext>
            </a:extLst>
          </p:cNvPr>
          <p:cNvSpPr/>
          <p:nvPr/>
        </p:nvSpPr>
        <p:spPr>
          <a:xfrm>
            <a:off x="2669983" y="1167592"/>
            <a:ext cx="197549" cy="1225235"/>
          </a:xfrm>
          <a:prstGeom prst="leftBracket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13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6" name="Left Bracket 35">
            <a:extLst>
              <a:ext uri="{FF2B5EF4-FFF2-40B4-BE49-F238E27FC236}">
                <a16:creationId xmlns:a16="http://schemas.microsoft.com/office/drawing/2014/main" id="{6F183057-8F0E-4791-8684-6C4173B4EF8C}"/>
              </a:ext>
            </a:extLst>
          </p:cNvPr>
          <p:cNvSpPr/>
          <p:nvPr/>
        </p:nvSpPr>
        <p:spPr>
          <a:xfrm rot="10800000">
            <a:off x="5140834" y="1156528"/>
            <a:ext cx="168314" cy="1236298"/>
          </a:xfrm>
          <a:prstGeom prst="leftBracket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13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7" name="Title 3">
            <a:extLst>
              <a:ext uri="{FF2B5EF4-FFF2-40B4-BE49-F238E27FC236}">
                <a16:creationId xmlns:a16="http://schemas.microsoft.com/office/drawing/2014/main" id="{32091FC4-D13F-4CD8-8888-B78E74B5EEFF}"/>
              </a:ext>
            </a:extLst>
          </p:cNvPr>
          <p:cNvSpPr txBox="1">
            <a:spLocks/>
          </p:cNvSpPr>
          <p:nvPr/>
        </p:nvSpPr>
        <p:spPr>
          <a:xfrm>
            <a:off x="230366" y="1537709"/>
            <a:ext cx="2254918" cy="3088075"/>
          </a:xfrm>
          <a:prstGeom prst="rect">
            <a:avLst/>
          </a:prstGeom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1500" b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egulatory Fragmentation: </a:t>
            </a:r>
            <a:r>
              <a:rPr lang="en-US" sz="1500" i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“.</a:t>
            </a:r>
            <a:r>
              <a:rPr lang="en-US" sz="1500" b="1" i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.</a:t>
            </a:r>
            <a:r>
              <a:rPr lang="en-US" sz="1500" i="1" dirty="0">
                <a:solidFill>
                  <a:schemeClr val="accent2">
                    <a:lumMod val="75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occurs when financial institutions must comply with different regulations in the same or in different jurisdictions that are duplicative, similar (but not identical), conflicting and in some cases well-intentioned, but do not actually enhance cyber-resilience.” </a:t>
            </a:r>
            <a:endParaRPr lang="en-US" sz="525" i="1" dirty="0">
              <a:solidFill>
                <a:schemeClr val="accent2">
                  <a:lumMod val="75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8" name="object 4">
            <a:extLst>
              <a:ext uri="{FF2B5EF4-FFF2-40B4-BE49-F238E27FC236}">
                <a16:creationId xmlns:a16="http://schemas.microsoft.com/office/drawing/2014/main" id="{B32917EC-CDDA-4813-A313-98A8246EB3C8}"/>
              </a:ext>
            </a:extLst>
          </p:cNvPr>
          <p:cNvSpPr txBox="1"/>
          <p:nvPr/>
        </p:nvSpPr>
        <p:spPr>
          <a:xfrm>
            <a:off x="5660707" y="985836"/>
            <a:ext cx="3173363" cy="1868621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 marR="3810" algn="ctr">
              <a:spcBef>
                <a:spcPts val="71"/>
              </a:spcBef>
            </a:pPr>
            <a:r>
              <a:rPr lang="en-US" sz="1600" b="1" spc="-4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Sharing Information</a:t>
            </a: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endParaRPr lang="en-US" sz="1100" spc="-1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fidentiality / Legal constrains / International agreements</a:t>
            </a: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cerns:</a:t>
            </a:r>
          </a:p>
          <a:p>
            <a:pPr marL="609600" marR="3810" lvl="1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ublic-private vs private only platforms</a:t>
            </a:r>
          </a:p>
          <a:p>
            <a:pPr marL="609600" marR="3810" lvl="1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Two-way info sharing</a:t>
            </a:r>
          </a:p>
          <a:p>
            <a:pPr marL="609600" marR="3810" lvl="1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sequences of sharing: reputation, market confidence, liabilities</a:t>
            </a:r>
          </a:p>
          <a:p>
            <a:pPr marL="609600" marR="3810" lvl="1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sefulness of the info that can be shared</a:t>
            </a:r>
          </a:p>
        </p:txBody>
      </p:sp>
      <p:sp>
        <p:nvSpPr>
          <p:cNvPr id="39" name="Left Bracket 38">
            <a:extLst>
              <a:ext uri="{FF2B5EF4-FFF2-40B4-BE49-F238E27FC236}">
                <a16:creationId xmlns:a16="http://schemas.microsoft.com/office/drawing/2014/main" id="{55488BF5-4449-471F-898B-C27F2447519C}"/>
              </a:ext>
            </a:extLst>
          </p:cNvPr>
          <p:cNvSpPr/>
          <p:nvPr/>
        </p:nvSpPr>
        <p:spPr>
          <a:xfrm>
            <a:off x="5550070" y="1150045"/>
            <a:ext cx="207540" cy="1780187"/>
          </a:xfrm>
          <a:prstGeom prst="leftBracket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13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0" name="Left Bracket 39">
            <a:extLst>
              <a:ext uri="{FF2B5EF4-FFF2-40B4-BE49-F238E27FC236}">
                <a16:creationId xmlns:a16="http://schemas.microsoft.com/office/drawing/2014/main" id="{D4261F06-1E59-49EF-8747-3590B50876A9}"/>
              </a:ext>
            </a:extLst>
          </p:cNvPr>
          <p:cNvSpPr/>
          <p:nvPr/>
        </p:nvSpPr>
        <p:spPr>
          <a:xfrm rot="10800000">
            <a:off x="8750266" y="1142665"/>
            <a:ext cx="145478" cy="1787567"/>
          </a:xfrm>
          <a:prstGeom prst="leftBracket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13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1" name="object 4">
            <a:extLst>
              <a:ext uri="{FF2B5EF4-FFF2-40B4-BE49-F238E27FC236}">
                <a16:creationId xmlns:a16="http://schemas.microsoft.com/office/drawing/2014/main" id="{A48CB0AE-B1FE-4D13-89E8-E98C3B59477D}"/>
              </a:ext>
            </a:extLst>
          </p:cNvPr>
          <p:cNvSpPr txBox="1"/>
          <p:nvPr/>
        </p:nvSpPr>
        <p:spPr>
          <a:xfrm>
            <a:off x="2742562" y="2572414"/>
            <a:ext cx="2480078" cy="1165864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 marR="3810" algn="ctr">
              <a:spcBef>
                <a:spcPts val="71"/>
              </a:spcBef>
            </a:pPr>
            <a:r>
              <a:rPr lang="en-US" sz="1600" b="1" spc="-4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se of Cloud</a:t>
            </a: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endParaRPr lang="en-US" sz="1100" spc="-1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Level playing field.</a:t>
            </a: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endParaRPr lang="en-US" sz="1100" spc="-1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eolocalization of data</a:t>
            </a: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endParaRPr lang="en-US" sz="1100" spc="-11" dirty="0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2" name="Left Bracket 41">
            <a:extLst>
              <a:ext uri="{FF2B5EF4-FFF2-40B4-BE49-F238E27FC236}">
                <a16:creationId xmlns:a16="http://schemas.microsoft.com/office/drawing/2014/main" id="{1E4F70E7-1A5D-4551-82C4-C06515DA1EEA}"/>
              </a:ext>
            </a:extLst>
          </p:cNvPr>
          <p:cNvSpPr/>
          <p:nvPr/>
        </p:nvSpPr>
        <p:spPr>
          <a:xfrm>
            <a:off x="2684814" y="2736623"/>
            <a:ext cx="193112" cy="848189"/>
          </a:xfrm>
          <a:prstGeom prst="leftBracket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13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3" name="Left Bracket 42">
            <a:extLst>
              <a:ext uri="{FF2B5EF4-FFF2-40B4-BE49-F238E27FC236}">
                <a16:creationId xmlns:a16="http://schemas.microsoft.com/office/drawing/2014/main" id="{F7021523-62DE-4B2E-B7A0-72F26A545428}"/>
              </a:ext>
            </a:extLst>
          </p:cNvPr>
          <p:cNvSpPr/>
          <p:nvPr/>
        </p:nvSpPr>
        <p:spPr>
          <a:xfrm rot="10800000">
            <a:off x="5155007" y="2725559"/>
            <a:ext cx="164534" cy="855847"/>
          </a:xfrm>
          <a:prstGeom prst="leftBracket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13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4" name="object 4">
            <a:extLst>
              <a:ext uri="{FF2B5EF4-FFF2-40B4-BE49-F238E27FC236}">
                <a16:creationId xmlns:a16="http://schemas.microsoft.com/office/drawing/2014/main" id="{2803C91D-1E9D-480A-90A3-3F5FEC821936}"/>
              </a:ext>
            </a:extLst>
          </p:cNvPr>
          <p:cNvSpPr txBox="1"/>
          <p:nvPr/>
        </p:nvSpPr>
        <p:spPr>
          <a:xfrm>
            <a:off x="5643394" y="3067486"/>
            <a:ext cx="3173363" cy="1589057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 marR="3810" algn="ctr">
              <a:spcBef>
                <a:spcPts val="71"/>
              </a:spcBef>
            </a:pPr>
            <a:r>
              <a:rPr lang="en-US" sz="1600" b="1" spc="-4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Data Protection</a:t>
            </a:r>
          </a:p>
          <a:p>
            <a:pPr marL="266700" marR="3810" indent="-257175">
              <a:lnSpc>
                <a:spcPct val="150000"/>
              </a:lnSpc>
              <a:spcBef>
                <a:spcPts val="71"/>
              </a:spcBef>
              <a:buFont typeface="Arial" panose="020B0604020202020204" pitchFamily="34" charset="0"/>
              <a:buChar char="•"/>
            </a:pPr>
            <a:endParaRPr lang="en-US" sz="1100" spc="-1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66700" marR="3810" indent="-257175">
              <a:lnSpc>
                <a:spcPct val="150000"/>
              </a:lnSpc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Conflicting objectives. E.g. GDPR vs PSD II</a:t>
            </a:r>
          </a:p>
          <a:p>
            <a:pPr marL="266700" marR="3810" indent="-257175">
              <a:lnSpc>
                <a:spcPct val="150000"/>
              </a:lnSpc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What data can be shared: effectivity.</a:t>
            </a:r>
          </a:p>
          <a:p>
            <a:pPr marL="266700" marR="3810" indent="-257175">
              <a:lnSpc>
                <a:spcPct val="150000"/>
              </a:lnSpc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Geolocalization of data</a:t>
            </a:r>
          </a:p>
          <a:p>
            <a:pPr marL="266700" marR="3810" indent="-257175">
              <a:lnSpc>
                <a:spcPct val="150000"/>
              </a:lnSpc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Unclear responsibilities in a data breach</a:t>
            </a:r>
          </a:p>
        </p:txBody>
      </p:sp>
      <p:sp>
        <p:nvSpPr>
          <p:cNvPr id="45" name="Left Bracket 44">
            <a:extLst>
              <a:ext uri="{FF2B5EF4-FFF2-40B4-BE49-F238E27FC236}">
                <a16:creationId xmlns:a16="http://schemas.microsoft.com/office/drawing/2014/main" id="{E3107334-E765-4381-AE5F-E8063DE4D0D1}"/>
              </a:ext>
            </a:extLst>
          </p:cNvPr>
          <p:cNvSpPr/>
          <p:nvPr/>
        </p:nvSpPr>
        <p:spPr>
          <a:xfrm>
            <a:off x="5537784" y="3231694"/>
            <a:ext cx="202513" cy="1407197"/>
          </a:xfrm>
          <a:prstGeom prst="leftBracket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13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6" name="Left Bracket 45">
            <a:extLst>
              <a:ext uri="{FF2B5EF4-FFF2-40B4-BE49-F238E27FC236}">
                <a16:creationId xmlns:a16="http://schemas.microsoft.com/office/drawing/2014/main" id="{BE0C135A-8324-412A-A5AD-50AD42BB36F7}"/>
              </a:ext>
            </a:extLst>
          </p:cNvPr>
          <p:cNvSpPr/>
          <p:nvPr/>
        </p:nvSpPr>
        <p:spPr>
          <a:xfrm rot="10800000">
            <a:off x="8736478" y="3224314"/>
            <a:ext cx="141953" cy="1413029"/>
          </a:xfrm>
          <a:prstGeom prst="leftBracket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13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object 4">
            <a:extLst>
              <a:ext uri="{FF2B5EF4-FFF2-40B4-BE49-F238E27FC236}">
                <a16:creationId xmlns:a16="http://schemas.microsoft.com/office/drawing/2014/main" id="{07E256B4-0084-4CE8-AEB9-05DBD6DA4F1F}"/>
              </a:ext>
            </a:extLst>
          </p:cNvPr>
          <p:cNvSpPr txBox="1"/>
          <p:nvPr/>
        </p:nvSpPr>
        <p:spPr>
          <a:xfrm>
            <a:off x="2726206" y="3671069"/>
            <a:ext cx="2480078" cy="1335141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9525" marR="3810" algn="ctr">
              <a:spcBef>
                <a:spcPts val="71"/>
              </a:spcBef>
            </a:pPr>
            <a:r>
              <a:rPr lang="en-US" sz="1600" b="1" spc="-4" dirty="0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en Testing</a:t>
            </a: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endParaRPr lang="en-US" sz="1100" spc="-1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Multiple frameworks: inefficient.</a:t>
            </a: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endParaRPr lang="en-US" sz="1100" spc="-11" dirty="0">
              <a:solidFill>
                <a:schemeClr val="accent3">
                  <a:lumMod val="50000"/>
                </a:schemeClr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r>
              <a:rPr lang="en-US" sz="1100" spc="-11" dirty="0">
                <a:solidFill>
                  <a:schemeClr val="accent3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Public and private sectors to work together</a:t>
            </a:r>
          </a:p>
          <a:p>
            <a:pPr marL="266700" marR="3810" indent="-257175">
              <a:spcBef>
                <a:spcPts val="71"/>
              </a:spcBef>
              <a:buFont typeface="Arial" panose="020B0604020202020204" pitchFamily="34" charset="0"/>
              <a:buChar char="•"/>
            </a:pPr>
            <a:endParaRPr lang="en-US" sz="1100" spc="-11" dirty="0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8" name="Left Bracket 47">
            <a:extLst>
              <a:ext uri="{FF2B5EF4-FFF2-40B4-BE49-F238E27FC236}">
                <a16:creationId xmlns:a16="http://schemas.microsoft.com/office/drawing/2014/main" id="{2DB8C557-35C9-45B3-B660-0ABD7946D4F0}"/>
              </a:ext>
            </a:extLst>
          </p:cNvPr>
          <p:cNvSpPr/>
          <p:nvPr/>
        </p:nvSpPr>
        <p:spPr>
          <a:xfrm>
            <a:off x="2641261" y="3835279"/>
            <a:ext cx="220310" cy="1003657"/>
          </a:xfrm>
          <a:prstGeom prst="leftBracket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13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9" name="Left Bracket 48">
            <a:extLst>
              <a:ext uri="{FF2B5EF4-FFF2-40B4-BE49-F238E27FC236}">
                <a16:creationId xmlns:a16="http://schemas.microsoft.com/office/drawing/2014/main" id="{B347F36E-A515-4382-B49B-7F993F8B24BC}"/>
              </a:ext>
            </a:extLst>
          </p:cNvPr>
          <p:cNvSpPr/>
          <p:nvPr/>
        </p:nvSpPr>
        <p:spPr>
          <a:xfrm rot="10800000">
            <a:off x="5115478" y="3824213"/>
            <a:ext cx="187708" cy="1012719"/>
          </a:xfrm>
          <a:prstGeom prst="leftBracket">
            <a:avLst/>
          </a:prstGeom>
          <a:ln w="2222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013">
              <a:solidFill>
                <a:schemeClr val="accent1"/>
              </a:solidFill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19" name="CuadroTexto 6">
            <a:extLst>
              <a:ext uri="{FF2B5EF4-FFF2-40B4-BE49-F238E27FC236}">
                <a16:creationId xmlns:a16="http://schemas.microsoft.com/office/drawing/2014/main" id="{5C951811-744F-4EFB-82A7-588046BA0B06}"/>
              </a:ext>
            </a:extLst>
          </p:cNvPr>
          <p:cNvSpPr txBox="1"/>
          <p:nvPr/>
        </p:nvSpPr>
        <p:spPr>
          <a:xfrm>
            <a:off x="619159" y="338006"/>
            <a:ext cx="86554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02060"/>
                </a:solidFill>
                <a:latin typeface="Helvetica" panose="020B0604020202020204" pitchFamily="34" charset="0"/>
                <a:cs typeface="Helvetica" panose="020B0604020202020204" pitchFamily="34" charset="0"/>
              </a:rPr>
              <a:t>REGULATORY FRAGMENTATION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6062C13-1BF6-4BFC-9472-6DD15FB09789}"/>
              </a:ext>
            </a:extLst>
          </p:cNvPr>
          <p:cNvGrpSpPr/>
          <p:nvPr/>
        </p:nvGrpSpPr>
        <p:grpSpPr>
          <a:xfrm>
            <a:off x="8777032" y="52673"/>
            <a:ext cx="384048" cy="384048"/>
            <a:chOff x="1062804" y="1765211"/>
            <a:chExt cx="685083" cy="68508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DB3A8B76-C0CF-43B1-B980-5B65E65A5478}"/>
                </a:ext>
              </a:extLst>
            </p:cNvPr>
            <p:cNvSpPr/>
            <p:nvPr/>
          </p:nvSpPr>
          <p:spPr bwMode="gray">
            <a:xfrm>
              <a:off x="1062804" y="1765211"/>
              <a:ext cx="685083" cy="685083"/>
            </a:xfrm>
            <a:prstGeom prst="ellipse">
              <a:avLst/>
            </a:prstGeom>
            <a:solidFill>
              <a:schemeClr val="bg1"/>
            </a:solidFill>
            <a:ln w="2857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US" sz="1000" kern="0" dirty="0">
                <a:solidFill>
                  <a:schemeClr val="accent1"/>
                </a:solidFill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049ED27E-19C9-4E33-A1E5-1391E5ABADCC}"/>
                </a:ext>
              </a:extLst>
            </p:cNvPr>
            <p:cNvGrpSpPr/>
            <p:nvPr/>
          </p:nvGrpSpPr>
          <p:grpSpPr>
            <a:xfrm>
              <a:off x="1237683" y="1908727"/>
              <a:ext cx="344611" cy="404623"/>
              <a:chOff x="9432806" y="3717836"/>
              <a:chExt cx="155510" cy="186499"/>
            </a:xfrm>
            <a:solidFill>
              <a:schemeClr val="accent1"/>
            </a:solidFill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02F938C5-F422-4334-B82B-F2184F0F18C9}"/>
                  </a:ext>
                </a:extLst>
              </p:cNvPr>
              <p:cNvSpPr/>
              <p:nvPr/>
            </p:nvSpPr>
            <p:spPr>
              <a:xfrm>
                <a:off x="9432806" y="3717836"/>
                <a:ext cx="155510" cy="186499"/>
              </a:xfrm>
              <a:custGeom>
                <a:avLst/>
                <a:gdLst>
                  <a:gd name="connsiteX0" fmla="*/ 15539 w 155510"/>
                  <a:gd name="connsiteY0" fmla="*/ 172967 h 186499"/>
                  <a:gd name="connsiteX1" fmla="*/ 15539 w 155510"/>
                  <a:gd name="connsiteY1" fmla="*/ 14443 h 186499"/>
                  <a:gd name="connsiteX2" fmla="*/ 78245 w 155510"/>
                  <a:gd name="connsiteY2" fmla="*/ 14443 h 186499"/>
                  <a:gd name="connsiteX3" fmla="*/ 78245 w 155510"/>
                  <a:gd name="connsiteY3" fmla="*/ 63399 h 186499"/>
                  <a:gd name="connsiteX4" fmla="*/ 140951 w 155510"/>
                  <a:gd name="connsiteY4" fmla="*/ 63399 h 186499"/>
                  <a:gd name="connsiteX5" fmla="*/ 140951 w 155510"/>
                  <a:gd name="connsiteY5" fmla="*/ 172967 h 186499"/>
                  <a:gd name="connsiteX6" fmla="*/ 15539 w 155510"/>
                  <a:gd name="connsiteY6" fmla="*/ 172967 h 186499"/>
                  <a:gd name="connsiteX7" fmla="*/ 93294 w 155510"/>
                  <a:gd name="connsiteY7" fmla="*/ 20271 h 186499"/>
                  <a:gd name="connsiteX8" fmla="*/ 124647 w 155510"/>
                  <a:gd name="connsiteY8" fmla="*/ 49411 h 186499"/>
                  <a:gd name="connsiteX9" fmla="*/ 93294 w 155510"/>
                  <a:gd name="connsiteY9" fmla="*/ 49411 h 186499"/>
                  <a:gd name="connsiteX10" fmla="*/ 93294 w 155510"/>
                  <a:gd name="connsiteY10" fmla="*/ 20271 h 186499"/>
                  <a:gd name="connsiteX11" fmla="*/ 93294 w 155510"/>
                  <a:gd name="connsiteY11" fmla="*/ 455 h 186499"/>
                  <a:gd name="connsiteX12" fmla="*/ 490 w 155510"/>
                  <a:gd name="connsiteY12" fmla="*/ 455 h 186499"/>
                  <a:gd name="connsiteX13" fmla="*/ 490 w 155510"/>
                  <a:gd name="connsiteY13" fmla="*/ 186954 h 186499"/>
                  <a:gd name="connsiteX14" fmla="*/ 156000 w 155510"/>
                  <a:gd name="connsiteY14" fmla="*/ 186954 h 186499"/>
                  <a:gd name="connsiteX15" fmla="*/ 156000 w 155510"/>
                  <a:gd name="connsiteY15" fmla="*/ 51743 h 186499"/>
                  <a:gd name="connsiteX16" fmla="*/ 93294 w 155510"/>
                  <a:gd name="connsiteY16" fmla="*/ 455 h 1864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55510" h="186499">
                    <a:moveTo>
                      <a:pt x="15539" y="172967"/>
                    </a:moveTo>
                    <a:lnTo>
                      <a:pt x="15539" y="14443"/>
                    </a:lnTo>
                    <a:lnTo>
                      <a:pt x="78245" y="14443"/>
                    </a:lnTo>
                    <a:lnTo>
                      <a:pt x="78245" y="63399"/>
                    </a:lnTo>
                    <a:lnTo>
                      <a:pt x="140951" y="63399"/>
                    </a:lnTo>
                    <a:lnTo>
                      <a:pt x="140951" y="172967"/>
                    </a:lnTo>
                    <a:lnTo>
                      <a:pt x="15539" y="172967"/>
                    </a:lnTo>
                    <a:close/>
                    <a:moveTo>
                      <a:pt x="93294" y="20271"/>
                    </a:moveTo>
                    <a:lnTo>
                      <a:pt x="124647" y="49411"/>
                    </a:lnTo>
                    <a:lnTo>
                      <a:pt x="93294" y="49411"/>
                    </a:lnTo>
                    <a:lnTo>
                      <a:pt x="93294" y="20271"/>
                    </a:lnTo>
                    <a:close/>
                    <a:moveTo>
                      <a:pt x="93294" y="455"/>
                    </a:moveTo>
                    <a:lnTo>
                      <a:pt x="490" y="455"/>
                    </a:lnTo>
                    <a:lnTo>
                      <a:pt x="490" y="186954"/>
                    </a:lnTo>
                    <a:lnTo>
                      <a:pt x="156000" y="186954"/>
                    </a:lnTo>
                    <a:lnTo>
                      <a:pt x="156000" y="51743"/>
                    </a:lnTo>
                    <a:lnTo>
                      <a:pt x="93294" y="455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B23E2BBE-946C-4168-8F7A-E1EEEBFC6FCC}"/>
                  </a:ext>
                </a:extLst>
              </p:cNvPr>
              <p:cNvSpPr/>
              <p:nvPr/>
            </p:nvSpPr>
            <p:spPr>
              <a:xfrm>
                <a:off x="9462905" y="3804091"/>
                <a:ext cx="95313" cy="9325"/>
              </a:xfrm>
              <a:custGeom>
                <a:avLst/>
                <a:gdLst>
                  <a:gd name="connsiteX0" fmla="*/ 490 w 95312"/>
                  <a:gd name="connsiteY0" fmla="*/ 455 h 9324"/>
                  <a:gd name="connsiteX1" fmla="*/ 95803 w 95312"/>
                  <a:gd name="connsiteY1" fmla="*/ 455 h 9324"/>
                  <a:gd name="connsiteX2" fmla="*/ 95803 w 95312"/>
                  <a:gd name="connsiteY2" fmla="*/ 9780 h 9324"/>
                  <a:gd name="connsiteX3" fmla="*/ 490 w 95312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312" h="9324">
                    <a:moveTo>
                      <a:pt x="490" y="455"/>
                    </a:moveTo>
                    <a:lnTo>
                      <a:pt x="95803" y="455"/>
                    </a:lnTo>
                    <a:lnTo>
                      <a:pt x="95803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83EDC8BF-108E-43FA-8AC1-1733EDB5726A}"/>
                  </a:ext>
                </a:extLst>
              </p:cNvPr>
              <p:cNvSpPr/>
              <p:nvPr/>
            </p:nvSpPr>
            <p:spPr>
              <a:xfrm>
                <a:off x="9462905" y="3785442"/>
                <a:ext cx="32607" cy="9325"/>
              </a:xfrm>
              <a:custGeom>
                <a:avLst/>
                <a:gdLst>
                  <a:gd name="connsiteX0" fmla="*/ 490 w 32606"/>
                  <a:gd name="connsiteY0" fmla="*/ 455 h 9324"/>
                  <a:gd name="connsiteX1" fmla="*/ 33097 w 32606"/>
                  <a:gd name="connsiteY1" fmla="*/ 455 h 9324"/>
                  <a:gd name="connsiteX2" fmla="*/ 33097 w 32606"/>
                  <a:gd name="connsiteY2" fmla="*/ 9780 h 9324"/>
                  <a:gd name="connsiteX3" fmla="*/ 490 w 32606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606" h="9324">
                    <a:moveTo>
                      <a:pt x="490" y="455"/>
                    </a:moveTo>
                    <a:lnTo>
                      <a:pt x="33097" y="455"/>
                    </a:lnTo>
                    <a:lnTo>
                      <a:pt x="33097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79630FB7-2C4A-481E-8D52-EDFC7A26BD58}"/>
                  </a:ext>
                </a:extLst>
              </p:cNvPr>
              <p:cNvSpPr/>
              <p:nvPr/>
            </p:nvSpPr>
            <p:spPr>
              <a:xfrm>
                <a:off x="9462905" y="3822741"/>
                <a:ext cx="95313" cy="9325"/>
              </a:xfrm>
              <a:custGeom>
                <a:avLst/>
                <a:gdLst>
                  <a:gd name="connsiteX0" fmla="*/ 490 w 95312"/>
                  <a:gd name="connsiteY0" fmla="*/ 455 h 9324"/>
                  <a:gd name="connsiteX1" fmla="*/ 95803 w 95312"/>
                  <a:gd name="connsiteY1" fmla="*/ 455 h 9324"/>
                  <a:gd name="connsiteX2" fmla="*/ 95803 w 95312"/>
                  <a:gd name="connsiteY2" fmla="*/ 9780 h 9324"/>
                  <a:gd name="connsiteX3" fmla="*/ 490 w 95312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312" h="9324">
                    <a:moveTo>
                      <a:pt x="490" y="455"/>
                    </a:moveTo>
                    <a:lnTo>
                      <a:pt x="95803" y="455"/>
                    </a:lnTo>
                    <a:lnTo>
                      <a:pt x="95803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BDDCC755-1377-4F6E-800E-1FE21C1A312E}"/>
                  </a:ext>
                </a:extLst>
              </p:cNvPr>
              <p:cNvSpPr/>
              <p:nvPr/>
            </p:nvSpPr>
            <p:spPr>
              <a:xfrm>
                <a:off x="9462905" y="3841391"/>
                <a:ext cx="95313" cy="9325"/>
              </a:xfrm>
              <a:custGeom>
                <a:avLst/>
                <a:gdLst>
                  <a:gd name="connsiteX0" fmla="*/ 490 w 95312"/>
                  <a:gd name="connsiteY0" fmla="*/ 455 h 9324"/>
                  <a:gd name="connsiteX1" fmla="*/ 95803 w 95312"/>
                  <a:gd name="connsiteY1" fmla="*/ 455 h 9324"/>
                  <a:gd name="connsiteX2" fmla="*/ 95803 w 95312"/>
                  <a:gd name="connsiteY2" fmla="*/ 9780 h 9324"/>
                  <a:gd name="connsiteX3" fmla="*/ 490 w 95312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312" h="9324">
                    <a:moveTo>
                      <a:pt x="490" y="455"/>
                    </a:moveTo>
                    <a:lnTo>
                      <a:pt x="95803" y="455"/>
                    </a:lnTo>
                    <a:lnTo>
                      <a:pt x="95803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651815F4-E571-424B-9F91-65BC091CF16E}"/>
                  </a:ext>
                </a:extLst>
              </p:cNvPr>
              <p:cNvSpPr/>
              <p:nvPr/>
            </p:nvSpPr>
            <p:spPr>
              <a:xfrm>
                <a:off x="9462905" y="3860041"/>
                <a:ext cx="95313" cy="9325"/>
              </a:xfrm>
              <a:custGeom>
                <a:avLst/>
                <a:gdLst>
                  <a:gd name="connsiteX0" fmla="*/ 490 w 95312"/>
                  <a:gd name="connsiteY0" fmla="*/ 455 h 9324"/>
                  <a:gd name="connsiteX1" fmla="*/ 95803 w 95312"/>
                  <a:gd name="connsiteY1" fmla="*/ 455 h 9324"/>
                  <a:gd name="connsiteX2" fmla="*/ 95803 w 95312"/>
                  <a:gd name="connsiteY2" fmla="*/ 9780 h 9324"/>
                  <a:gd name="connsiteX3" fmla="*/ 490 w 95312"/>
                  <a:gd name="connsiteY3" fmla="*/ 9780 h 93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5312" h="9324">
                    <a:moveTo>
                      <a:pt x="490" y="455"/>
                    </a:moveTo>
                    <a:lnTo>
                      <a:pt x="95803" y="455"/>
                    </a:lnTo>
                    <a:lnTo>
                      <a:pt x="95803" y="9780"/>
                    </a:lnTo>
                    <a:lnTo>
                      <a:pt x="490" y="9780"/>
                    </a:lnTo>
                    <a:close/>
                  </a:path>
                </a:pathLst>
              </a:custGeom>
              <a:grpFill/>
              <a:ln w="248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781074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DKRdX5SxiHl2NyQMtP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KYYuq3TVyX_t5xZ0IK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3wK5QpSSerEJikEuT7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4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3.xml"/></Relationships>
</file>

<file path=customXml/_rels/item4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4.xml"/></Relationships>
</file>

<file path=customXml/_rels/item4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5.xml"/></Relationships>
</file>

<file path=customXml/_rels/item4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6.xml"/></Relationships>
</file>

<file path=customXml/_rels/item4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7.xml"/></Relationships>
</file>

<file path=customXml/_rels/item4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8.xml"/></Relationships>
</file>

<file path=customXml/_rels/item4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9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5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0.xml"/></Relationships>
</file>

<file path=customXml/_rels/item5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1.xml"/></Relationships>
</file>

<file path=customXml/_rels/item5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2.xml"/></Relationships>
</file>

<file path=customXml/_rels/item5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3.xml"/></Relationships>
</file>

<file path=customXml/_rels/item5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4.xml"/></Relationships>
</file>

<file path=customXml/_rels/item5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Control xmlns="http://schemas.microsoft.com/VisualStudio/2011/storyboarding/control">
  <Id Name="47ee6805-1ef1-4e3a-a285-73fd8cf34b37" Revision="1" Stencil="Icons_1" StencilVersion="1.0"/>
</Control>
</file>

<file path=customXml/item10.xml><?xml version="1.0" encoding="utf-8"?>
<Control xmlns="http://schemas.microsoft.com/VisualStudio/2011/storyboarding/control">
  <Id Name="47ee6805-1ef1-4e3a-a285-73fd8cf34b37" Revision="1" Stencil="Icons_1" StencilVersion="1.0"/>
</Control>
</file>

<file path=customXml/item11.xml><?xml version="1.0" encoding="utf-8"?>
<Control xmlns="http://schemas.microsoft.com/VisualStudio/2011/storyboarding/control">
  <Id Name="f17e8fa5-9383-4ec6-aa08-43b771e8471f" Revision="1" Stencil="Icons_1" StencilVersion="1.0"/>
</Control>
</file>

<file path=customXml/item12.xml><?xml version="1.0" encoding="utf-8"?>
<Control xmlns="http://schemas.microsoft.com/VisualStudio/2011/storyboarding/control">
  <Id Name="47ee6805-1ef1-4e3a-a285-73fd8cf34b37" Revision="1" Stencil="Icons_1" StencilVersion="1.0"/>
</Control>
</file>

<file path=customXml/item13.xml><?xml version="1.0" encoding="utf-8"?>
<Control xmlns="http://schemas.microsoft.com/VisualStudio/2011/storyboarding/control">
  <Id Name="955c7fc4-06ee-482e-8132-170c3eeb21c3" Revision="1" Stencil="Icons_1" StencilVersion="1.0"/>
</Control>
</file>

<file path=customXml/item14.xml><?xml version="1.0" encoding="utf-8"?>
<Control xmlns="http://schemas.microsoft.com/VisualStudio/2011/storyboarding/control">
  <Id Name="fc85885f-6e03-4144-a912-19957a03ea6c" Revision="1" Stencil="Icons_1" StencilVersion="1.0"/>
</Control>
</file>

<file path=customXml/item15.xml><?xml version="1.0" encoding="utf-8"?>
<Control xmlns="http://schemas.microsoft.com/VisualStudio/2011/storyboarding/control">
  <Id Name="fc85885f-6e03-4144-a912-19957a03ea6c" Revision="1" Stencil="Icons_1" StencilVersion="1.0"/>
</Control>
</file>

<file path=customXml/item16.xml><?xml version="1.0" encoding="utf-8"?>
<Control xmlns="http://schemas.microsoft.com/VisualStudio/2011/storyboarding/control">
  <Id Name="67a425df-1d7c-4e0a-be2a-e23e104311cb" Revision="1" Stencil="Icons_1" StencilVersion="1.0"/>
</Control>
</file>

<file path=customXml/item17.xml><?xml version="1.0" encoding="utf-8"?>
<Control xmlns="http://schemas.microsoft.com/VisualStudio/2011/storyboarding/control">
  <Id Name="67a425df-1d7c-4e0a-be2a-e23e104311cb" Revision="1" Stencil="Icons_1" StencilVersion="1.0"/>
</Control>
</file>

<file path=customXml/item18.xml><?xml version="1.0" encoding="utf-8"?>
<Control xmlns="http://schemas.microsoft.com/VisualStudio/2011/storyboarding/control">
  <Id Name="fc85885f-6e03-4144-a912-19957a03ea6c" Revision="1" Stencil="Icons_1" StencilVersion="1.0"/>
</Control>
</file>

<file path=customXml/item19.xml><?xml version="1.0" encoding="utf-8"?>
<Control xmlns="http://schemas.microsoft.com/VisualStudio/2011/storyboarding/control">
  <Id Name="67a425df-1d7c-4e0a-be2a-e23e104311cb" Revision="1" Stencil="Icons_1" StencilVersion="1.0"/>
</Control>
</file>

<file path=customXml/item2.xml><?xml version="1.0" encoding="utf-8"?>
<Control xmlns="http://schemas.microsoft.com/VisualStudio/2011/storyboarding/control">
  <Id Name="67a425df-1d7c-4e0a-be2a-e23e104311cb" Revision="1" Stencil="Icons_1" StencilVersion="1.0"/>
</Control>
</file>

<file path=customXml/item20.xml><?xml version="1.0" encoding="utf-8"?>
<Control xmlns="http://schemas.microsoft.com/VisualStudio/2011/storyboarding/control">
  <Id Name="fc85885f-6e03-4144-a912-19957a03ea6c" Revision="1" Stencil="Icons_1" StencilVersion="1.0"/>
</Control>
</file>

<file path=customXml/item21.xml><?xml version="1.0" encoding="utf-8"?>
<Control xmlns="http://schemas.microsoft.com/VisualStudio/2011/storyboarding/control">
  <Id Name="fc85885f-6e03-4144-a912-19957a03ea6c" Revision="1" Stencil="Icons_1" StencilVersion="1.0"/>
</Control>
</file>

<file path=customXml/item22.xml><?xml version="1.0" encoding="utf-8"?>
<Control xmlns="http://schemas.microsoft.com/VisualStudio/2011/storyboarding/control">
  <Id Name="f17e8fa5-9383-4ec6-aa08-43b771e8471f" Revision="1" Stencil="Icons_1" StencilVersion="1.0"/>
</Control>
</file>

<file path=customXml/item23.xml><?xml version="1.0" encoding="utf-8"?>
<Control xmlns="http://schemas.microsoft.com/VisualStudio/2011/storyboarding/control">
  <Id Name="cc871e45-8527-4f8c-8fbe-982511df8e51" Revision="1" Stencil="Icons_2" StencilVersion="1.0"/>
</Control>
</file>

<file path=customXml/item24.xml><?xml version="1.0" encoding="utf-8"?>
<Control xmlns="http://schemas.microsoft.com/VisualStudio/2011/storyboarding/control">
  <Id Name="24764c6a-a689-4893-897d-1a7951161cdd" Revision="1" Stencil="Icons_1" StencilVersion="1.0"/>
</Control>
</file>

<file path=customXml/item25.xml><?xml version="1.0" encoding="utf-8"?>
<Control xmlns="http://schemas.microsoft.com/VisualStudio/2011/storyboarding/control">
  <Id Name="c8498a71-cf0f-463a-b8c1-9275e8ecea3c" Revision="1" Stencil="Icons_3" StencilVersion="1.0"/>
</Control>
</file>

<file path=customXml/item26.xml><?xml version="1.0" encoding="utf-8"?>
<Control xmlns="http://schemas.microsoft.com/VisualStudio/2011/storyboarding/control">
  <Id Name="f17e8fa5-9383-4ec6-aa08-43b771e8471f" Revision="1" Stencil="Icons_1" StencilVersion="1.0"/>
</Control>
</file>

<file path=customXml/item27.xml><?xml version="1.0" encoding="utf-8"?>
<Control xmlns="http://schemas.microsoft.com/VisualStudio/2011/storyboarding/control">
  <Id Name="47ee6805-1ef1-4e3a-a285-73fd8cf34b37" Revision="1" Stencil="Icons_1" StencilVersion="1.0"/>
</Control>
</file>

<file path=customXml/item28.xml><?xml version="1.0" encoding="utf-8"?>
<Control xmlns="http://schemas.microsoft.com/VisualStudio/2011/storyboarding/control">
  <Id Name="47ee6805-1ef1-4e3a-a285-73fd8cf34b37" Revision="1" Stencil="Icons_1" StencilVersion="1.0"/>
</Control>
</file>

<file path=customXml/item29.xml><?xml version="1.0" encoding="utf-8"?>
<Control xmlns="http://schemas.microsoft.com/VisualStudio/2011/storyboarding/control">
  <Id Name="47ee6805-1ef1-4e3a-a285-73fd8cf34b37" Revision="1" Stencil="Icons_1" StencilVersion="1.0"/>
</Control>
</file>

<file path=customXml/item3.xml><?xml version="1.0" encoding="utf-8"?>
<Control xmlns="http://schemas.microsoft.com/VisualStudio/2011/storyboarding/control">
  <Id Name="fc85885f-6e03-4144-a912-19957a03ea6c" Revision="1" Stencil="Icons_1" StencilVersion="1.0"/>
</Control>
</file>

<file path=customXml/item30.xml><?xml version="1.0" encoding="utf-8"?>
<Control xmlns="http://schemas.microsoft.com/VisualStudio/2011/storyboarding/control">
  <Id Name="67a425df-1d7c-4e0a-be2a-e23e104311cb" Revision="1" Stencil="Icons_1" StencilVersion="1.0"/>
</Control>
</file>

<file path=customXml/item31.xml><?xml version="1.0" encoding="utf-8"?>
<Control xmlns="http://schemas.microsoft.com/VisualStudio/2011/storyboarding/control">
  <Id Name="67a425df-1d7c-4e0a-be2a-e23e104311cb" Revision="1" Stencil="Icons_1" StencilVersion="1.0"/>
</Control>
</file>

<file path=customXml/item32.xml><?xml version="1.0" encoding="utf-8"?>
<Control xmlns="http://schemas.microsoft.com/VisualStudio/2011/storyboarding/control">
  <Id Name="f17e8fa5-9383-4ec6-aa08-43b771e8471f" Revision="1" Stencil="Icons_1" StencilVersion="1.0"/>
</Control>
</file>

<file path=customXml/item33.xml><?xml version="1.0" encoding="utf-8"?>
<Control xmlns="http://schemas.microsoft.com/VisualStudio/2011/storyboarding/control">
  <Id Name="47ee6805-1ef1-4e3a-a285-73fd8cf34b37" Revision="1" Stencil="Icons_1" StencilVersion="1.0"/>
</Control>
</file>

<file path=customXml/item34.xml><?xml version="1.0" encoding="utf-8"?>
<Control xmlns="http://schemas.microsoft.com/VisualStudio/2011/storyboarding/control">
  <Id Name="24764c6a-a689-4893-897d-1a7951161cdd" Revision="1" Stencil="Icons_1" StencilVersion="1.0"/>
</Control>
</file>

<file path=customXml/item35.xml><?xml version="1.0" encoding="utf-8"?>
<Control xmlns="http://schemas.microsoft.com/VisualStudio/2011/storyboarding/control">
  <Id Name="47ee6805-1ef1-4e3a-a285-73fd8cf34b37" Revision="1" Stencil="Icons_1" StencilVersion="1.0"/>
</Control>
</file>

<file path=customXml/item36.xml><?xml version="1.0" encoding="utf-8"?>
<Control xmlns="http://schemas.microsoft.com/VisualStudio/2011/storyboarding/control">
  <Id Name="67a425df-1d7c-4e0a-be2a-e23e104311cb" Revision="1" Stencil="Icons_1" StencilVersion="1.0"/>
</Control>
</file>

<file path=customXml/item37.xml><?xml version="1.0" encoding="utf-8"?>
<Control xmlns="http://schemas.microsoft.com/VisualStudio/2011/storyboarding/control">
  <Id Name="fc85885f-6e03-4144-a912-19957a03ea6c" Revision="1" Stencil="Icons_1" StencilVersion="1.0"/>
</Control>
</file>

<file path=customXml/item38.xml><?xml version="1.0" encoding="utf-8"?>
<Control xmlns="http://schemas.microsoft.com/VisualStudio/2011/storyboarding/control">
  <Id Name="fc85885f-6e03-4144-a912-19957a03ea6c" Revision="1" Stencil="Icons_1" StencilVersion="1.0"/>
</Control>
</file>

<file path=customXml/item39.xml><?xml version="1.0" encoding="utf-8"?>
<Control xmlns="http://schemas.microsoft.com/VisualStudio/2011/storyboarding/control">
  <Id Name="f17e8fa5-9383-4ec6-aa08-43b771e8471f" Revision="1" Stencil="Icons_1" StencilVersion="1.0"/>
</Control>
</file>

<file path=customXml/item4.xml><?xml version="1.0" encoding="utf-8"?>
<Control xmlns="http://schemas.microsoft.com/VisualStudio/2011/storyboarding/control">
  <Id Name="c8498a71-cf0f-463a-b8c1-9275e8ecea3c" Revision="1" Stencil="Icons_3" StencilVersion="1.0"/>
</Control>
</file>

<file path=customXml/item40.xml><?xml version="1.0" encoding="utf-8"?>
<Control xmlns="http://schemas.microsoft.com/VisualStudio/2011/storyboarding/control">
  <Id Name="f17e8fa5-9383-4ec6-aa08-43b771e8471f" Revision="1" Stencil="Icons_1" StencilVersion="1.0"/>
</Control>
</file>

<file path=customXml/item41.xml><?xml version="1.0" encoding="utf-8"?>
<Control xmlns="http://schemas.microsoft.com/VisualStudio/2011/storyboarding/control">
  <Id Name="1c44a3a2-dc3f-4c84-a47d-e75696078716" Revision="1" Stencil="Icons_2" StencilVersion="1.0"/>
</Control>
</file>

<file path=customXml/item42.xml><?xml version="1.0" encoding="utf-8"?>
<Control xmlns="http://schemas.microsoft.com/VisualStudio/2011/storyboarding/control">
  <Id Name="67a425df-1d7c-4e0a-be2a-e23e104311cb" Revision="1" Stencil="Icons_1" StencilVersion="1.0"/>
</Control>
</file>

<file path=customXml/item43.xml><?xml version="1.0" encoding="utf-8"?>
<Control xmlns="http://schemas.microsoft.com/VisualStudio/2011/storyboarding/control">
  <Id Name="fc85885f-6e03-4144-a912-19957a03ea6c" Revision="1" Stencil="Icons_1" StencilVersion="1.0"/>
</Control>
</file>

<file path=customXml/item44.xml><?xml version="1.0" encoding="utf-8"?>
<Control xmlns="http://schemas.microsoft.com/VisualStudio/2011/storyboarding/control">
  <Id Name="f17e8fa5-9383-4ec6-aa08-43b771e8471f" Revision="1" Stencil="Icons_1" StencilVersion="1.0"/>
</Control>
</file>

<file path=customXml/item45.xml><?xml version="1.0" encoding="utf-8"?>
<Control xmlns="http://schemas.microsoft.com/VisualStudio/2011/storyboarding/control">
  <Id Name="1c44a3a2-dc3f-4c84-a47d-e75696078716" Revision="1" Stencil="Icons_2" StencilVersion="1.0"/>
</Control>
</file>

<file path=customXml/item46.xml><?xml version="1.0" encoding="utf-8"?>
<Control xmlns="http://schemas.microsoft.com/VisualStudio/2011/storyboarding/control">
  <Id Name="f17e8fa5-9383-4ec6-aa08-43b771e8471f" Revision="1" Stencil="Icons_1" StencilVersion="1.0"/>
</Control>
</file>

<file path=customXml/item47.xml><?xml version="1.0" encoding="utf-8"?>
<Control xmlns="http://schemas.microsoft.com/VisualStudio/2011/storyboarding/control">
  <Id Name="47ee6805-1ef1-4e3a-a285-73fd8cf34b37" Revision="1" Stencil="Icons_1" StencilVersion="1.0"/>
</Control>
</file>

<file path=customXml/item48.xml><?xml version="1.0" encoding="utf-8"?>
<Control xmlns="http://schemas.microsoft.com/VisualStudio/2011/storyboarding/control">
  <Id Name="47ee6805-1ef1-4e3a-a285-73fd8cf34b37" Revision="1" Stencil="Icons_1" StencilVersion="1.0"/>
</Control>
</file>

<file path=customXml/item49.xml><?xml version="1.0" encoding="utf-8"?>
<Control xmlns="http://schemas.microsoft.com/VisualStudio/2011/storyboarding/control">
  <Id Name="67a425df-1d7c-4e0a-be2a-e23e104311cb" Revision="1" Stencil="Icons_1" StencilVersion="1.0"/>
</Control>
</file>

<file path=customXml/item5.xml><?xml version="1.0" encoding="utf-8"?>
<Control xmlns="http://schemas.microsoft.com/VisualStudio/2011/storyboarding/control">
  <Id Name="f17e8fa5-9383-4ec6-aa08-43b771e8471f" Revision="1" Stencil="Icons_1" StencilVersion="1.0"/>
</Control>
</file>

<file path=customXml/item50.xml><?xml version="1.0" encoding="utf-8"?>
<Control xmlns="http://schemas.microsoft.com/VisualStudio/2011/storyboarding/control">
  <Id Name="fc85885f-6e03-4144-a912-19957a03ea6c" Revision="1" Stencil="Icons_1" StencilVersion="1.0"/>
</Control>
</file>

<file path=customXml/item51.xml><?xml version="1.0" encoding="utf-8"?>
<Control xmlns="http://schemas.microsoft.com/VisualStudio/2011/storyboarding/control">
  <Id Name="67a425df-1d7c-4e0a-be2a-e23e104311cb" Revision="1" Stencil="Icons_1" StencilVersion="1.0"/>
</Control>
</file>

<file path=customXml/item52.xml><?xml version="1.0" encoding="utf-8"?>
<Control xmlns="http://schemas.microsoft.com/VisualStudio/2011/storyboarding/control">
  <Id Name="955c7fc4-06ee-482e-8132-170c3eeb21c3" Revision="1" Stencil="Icons_1" StencilVersion="1.0"/>
</Control>
</file>

<file path=customXml/item53.xml><?xml version="1.0" encoding="utf-8"?>
<Control xmlns="http://schemas.microsoft.com/VisualStudio/2011/storyboarding/control">
  <Id Name="c8498a71-cf0f-463a-b8c1-9275e8ecea3c" Revision="1" Stencil="Icons_3" StencilVersion="1.0"/>
</Control>
</file>

<file path=customXml/item54.xml><?xml version="1.0" encoding="utf-8"?>
<Control xmlns="http://schemas.microsoft.com/VisualStudio/2011/storyboarding/control">
  <Id Name="c8498a71-cf0f-463a-b8c1-9275e8ecea3c" Revision="1" Stencil="Icons_3" StencilVersion="1.0"/>
</Control>
</file>

<file path=customXml/item55.xml><?xml version="1.0" encoding="utf-8"?>
<Control xmlns="http://schemas.microsoft.com/VisualStudio/2011/storyboarding/control">
  <Id Name="67a425df-1d7c-4e0a-be2a-e23e104311cb" Revision="1" Stencil="Icons_1" StencilVersion="1.0"/>
</Control>
</file>

<file path=customXml/item6.xml><?xml version="1.0" encoding="utf-8"?>
<Control xmlns="http://schemas.microsoft.com/VisualStudio/2011/storyboarding/control">
  <Id Name="47ee6805-1ef1-4e3a-a285-73fd8cf34b37" Revision="1" Stencil="Icons_1" StencilVersion="1.0"/>
</Control>
</file>

<file path=customXml/item7.xml><?xml version="1.0" encoding="utf-8"?>
<Control xmlns="http://schemas.microsoft.com/VisualStudio/2011/storyboarding/control">
  <Id Name="fc85885f-6e03-4144-a912-19957a03ea6c" Revision="1" Stencil="Icons_1" StencilVersion="1.0"/>
</Control>
</file>

<file path=customXml/item8.xml><?xml version="1.0" encoding="utf-8"?>
<Control xmlns="http://schemas.microsoft.com/VisualStudio/2011/storyboarding/control">
  <Id Name="f17e8fa5-9383-4ec6-aa08-43b771e8471f" Revision="1" Stencil="Icons_1" StencilVersion="1.0"/>
</Control>
</file>

<file path=customXml/item9.xml><?xml version="1.0" encoding="utf-8"?>
<Control xmlns="http://schemas.microsoft.com/VisualStudio/2011/storyboarding/control">
  <Id Name="f17e8fa5-9383-4ec6-aa08-43b771e8471f" Revision="1" Stencil="Icons_1" StencilVersion="1.0"/>
</Control>
</file>

<file path=customXml/itemProps1.xml><?xml version="1.0" encoding="utf-8"?>
<ds:datastoreItem xmlns:ds="http://schemas.openxmlformats.org/officeDocument/2006/customXml" ds:itemID="{C66C4502-FAD6-444A-B3EE-4DB7EE76F63C}">
  <ds:schemaRefs>
    <ds:schemaRef ds:uri="http://schemas.microsoft.com/VisualStudio/2011/storyboarding/control"/>
  </ds:schemaRefs>
</ds:datastoreItem>
</file>

<file path=customXml/itemProps10.xml><?xml version="1.0" encoding="utf-8"?>
<ds:datastoreItem xmlns:ds="http://schemas.openxmlformats.org/officeDocument/2006/customXml" ds:itemID="{EDE00D02-3C54-4235-9D6F-7693C5583755}">
  <ds:schemaRefs>
    <ds:schemaRef ds:uri="http://schemas.microsoft.com/VisualStudio/2011/storyboarding/control"/>
  </ds:schemaRefs>
</ds:datastoreItem>
</file>

<file path=customXml/itemProps11.xml><?xml version="1.0" encoding="utf-8"?>
<ds:datastoreItem xmlns:ds="http://schemas.openxmlformats.org/officeDocument/2006/customXml" ds:itemID="{6B5EEDB6-C1B7-49BD-8B7C-D5F4CAC48A2B}">
  <ds:schemaRefs>
    <ds:schemaRef ds:uri="http://schemas.microsoft.com/VisualStudio/2011/storyboarding/control"/>
  </ds:schemaRefs>
</ds:datastoreItem>
</file>

<file path=customXml/itemProps12.xml><?xml version="1.0" encoding="utf-8"?>
<ds:datastoreItem xmlns:ds="http://schemas.openxmlformats.org/officeDocument/2006/customXml" ds:itemID="{D3ED2EA1-2DFA-4F9A-A176-35D8DF705868}">
  <ds:schemaRefs>
    <ds:schemaRef ds:uri="http://schemas.microsoft.com/VisualStudio/2011/storyboarding/control"/>
  </ds:schemaRefs>
</ds:datastoreItem>
</file>

<file path=customXml/itemProps13.xml><?xml version="1.0" encoding="utf-8"?>
<ds:datastoreItem xmlns:ds="http://schemas.openxmlformats.org/officeDocument/2006/customXml" ds:itemID="{71FB910F-8E3C-4A5D-BD3C-FC0456B0250E}">
  <ds:schemaRefs>
    <ds:schemaRef ds:uri="http://schemas.microsoft.com/VisualStudio/2011/storyboarding/control"/>
  </ds:schemaRefs>
</ds:datastoreItem>
</file>

<file path=customXml/itemProps14.xml><?xml version="1.0" encoding="utf-8"?>
<ds:datastoreItem xmlns:ds="http://schemas.openxmlformats.org/officeDocument/2006/customXml" ds:itemID="{93962CAA-9667-44B0-AD23-435C97DD185C}">
  <ds:schemaRefs>
    <ds:schemaRef ds:uri="http://schemas.microsoft.com/VisualStudio/2011/storyboarding/control"/>
  </ds:schemaRefs>
</ds:datastoreItem>
</file>

<file path=customXml/itemProps15.xml><?xml version="1.0" encoding="utf-8"?>
<ds:datastoreItem xmlns:ds="http://schemas.openxmlformats.org/officeDocument/2006/customXml" ds:itemID="{10B09255-17C4-400E-B2EA-732C02F9D800}">
  <ds:schemaRefs>
    <ds:schemaRef ds:uri="http://schemas.microsoft.com/VisualStudio/2011/storyboarding/control"/>
  </ds:schemaRefs>
</ds:datastoreItem>
</file>

<file path=customXml/itemProps16.xml><?xml version="1.0" encoding="utf-8"?>
<ds:datastoreItem xmlns:ds="http://schemas.openxmlformats.org/officeDocument/2006/customXml" ds:itemID="{29251D2A-DA2E-4078-95CC-EA8CA90B0813}">
  <ds:schemaRefs>
    <ds:schemaRef ds:uri="http://schemas.microsoft.com/VisualStudio/2011/storyboarding/control"/>
  </ds:schemaRefs>
</ds:datastoreItem>
</file>

<file path=customXml/itemProps17.xml><?xml version="1.0" encoding="utf-8"?>
<ds:datastoreItem xmlns:ds="http://schemas.openxmlformats.org/officeDocument/2006/customXml" ds:itemID="{987BF76D-3749-43C4-AC19-77E5FE5936A0}">
  <ds:schemaRefs>
    <ds:schemaRef ds:uri="http://schemas.microsoft.com/VisualStudio/2011/storyboarding/control"/>
  </ds:schemaRefs>
</ds:datastoreItem>
</file>

<file path=customXml/itemProps18.xml><?xml version="1.0" encoding="utf-8"?>
<ds:datastoreItem xmlns:ds="http://schemas.openxmlformats.org/officeDocument/2006/customXml" ds:itemID="{4918822D-252F-4B04-828A-C0AB64F95BF7}">
  <ds:schemaRefs>
    <ds:schemaRef ds:uri="http://schemas.microsoft.com/VisualStudio/2011/storyboarding/control"/>
  </ds:schemaRefs>
</ds:datastoreItem>
</file>

<file path=customXml/itemProps19.xml><?xml version="1.0" encoding="utf-8"?>
<ds:datastoreItem xmlns:ds="http://schemas.openxmlformats.org/officeDocument/2006/customXml" ds:itemID="{AB7AA859-7A10-4CA2-BC41-8862F27E7061}">
  <ds:schemaRefs>
    <ds:schemaRef ds:uri="http://schemas.microsoft.com/VisualStudio/2011/storyboarding/control"/>
  </ds:schemaRefs>
</ds:datastoreItem>
</file>

<file path=customXml/itemProps2.xml><?xml version="1.0" encoding="utf-8"?>
<ds:datastoreItem xmlns:ds="http://schemas.openxmlformats.org/officeDocument/2006/customXml" ds:itemID="{13190901-5AC9-4375-9A00-7E6518137047}">
  <ds:schemaRefs>
    <ds:schemaRef ds:uri="http://schemas.microsoft.com/VisualStudio/2011/storyboarding/control"/>
  </ds:schemaRefs>
</ds:datastoreItem>
</file>

<file path=customXml/itemProps20.xml><?xml version="1.0" encoding="utf-8"?>
<ds:datastoreItem xmlns:ds="http://schemas.openxmlformats.org/officeDocument/2006/customXml" ds:itemID="{9BC2DB6D-CEA7-4B82-B9E4-007B46239409}">
  <ds:schemaRefs>
    <ds:schemaRef ds:uri="http://schemas.microsoft.com/VisualStudio/2011/storyboarding/control"/>
  </ds:schemaRefs>
</ds:datastoreItem>
</file>

<file path=customXml/itemProps21.xml><?xml version="1.0" encoding="utf-8"?>
<ds:datastoreItem xmlns:ds="http://schemas.openxmlformats.org/officeDocument/2006/customXml" ds:itemID="{035F153B-A57E-4E26-AA33-74B54CC611C2}">
  <ds:schemaRefs>
    <ds:schemaRef ds:uri="http://schemas.microsoft.com/VisualStudio/2011/storyboarding/control"/>
  </ds:schemaRefs>
</ds:datastoreItem>
</file>

<file path=customXml/itemProps22.xml><?xml version="1.0" encoding="utf-8"?>
<ds:datastoreItem xmlns:ds="http://schemas.openxmlformats.org/officeDocument/2006/customXml" ds:itemID="{9AB53147-519F-4B22-864C-09FEAACFF9DD}">
  <ds:schemaRefs>
    <ds:schemaRef ds:uri="http://schemas.microsoft.com/VisualStudio/2011/storyboarding/control"/>
  </ds:schemaRefs>
</ds:datastoreItem>
</file>

<file path=customXml/itemProps23.xml><?xml version="1.0" encoding="utf-8"?>
<ds:datastoreItem xmlns:ds="http://schemas.openxmlformats.org/officeDocument/2006/customXml" ds:itemID="{54A4E4E8-59ED-4467-BD22-88C793DB0E0C}">
  <ds:schemaRefs>
    <ds:schemaRef ds:uri="http://schemas.microsoft.com/VisualStudio/2011/storyboarding/control"/>
  </ds:schemaRefs>
</ds:datastoreItem>
</file>

<file path=customXml/itemProps24.xml><?xml version="1.0" encoding="utf-8"?>
<ds:datastoreItem xmlns:ds="http://schemas.openxmlformats.org/officeDocument/2006/customXml" ds:itemID="{2328E34F-74B7-448F-8372-F5F232F502C9}">
  <ds:schemaRefs>
    <ds:schemaRef ds:uri="http://schemas.microsoft.com/VisualStudio/2011/storyboarding/control"/>
  </ds:schemaRefs>
</ds:datastoreItem>
</file>

<file path=customXml/itemProps25.xml><?xml version="1.0" encoding="utf-8"?>
<ds:datastoreItem xmlns:ds="http://schemas.openxmlformats.org/officeDocument/2006/customXml" ds:itemID="{904540CA-3ABF-413A-BC89-0B747FB06646}">
  <ds:schemaRefs>
    <ds:schemaRef ds:uri="http://schemas.microsoft.com/VisualStudio/2011/storyboarding/control"/>
  </ds:schemaRefs>
</ds:datastoreItem>
</file>

<file path=customXml/itemProps26.xml><?xml version="1.0" encoding="utf-8"?>
<ds:datastoreItem xmlns:ds="http://schemas.openxmlformats.org/officeDocument/2006/customXml" ds:itemID="{A4D0E46B-0923-45A0-8C86-7E75E92BFFAF}">
  <ds:schemaRefs>
    <ds:schemaRef ds:uri="http://schemas.microsoft.com/VisualStudio/2011/storyboarding/control"/>
  </ds:schemaRefs>
</ds:datastoreItem>
</file>

<file path=customXml/itemProps27.xml><?xml version="1.0" encoding="utf-8"?>
<ds:datastoreItem xmlns:ds="http://schemas.openxmlformats.org/officeDocument/2006/customXml" ds:itemID="{9369A72A-61E2-4C47-BCF6-6C6A6EF6CA62}">
  <ds:schemaRefs>
    <ds:schemaRef ds:uri="http://schemas.microsoft.com/VisualStudio/2011/storyboarding/control"/>
  </ds:schemaRefs>
</ds:datastoreItem>
</file>

<file path=customXml/itemProps28.xml><?xml version="1.0" encoding="utf-8"?>
<ds:datastoreItem xmlns:ds="http://schemas.openxmlformats.org/officeDocument/2006/customXml" ds:itemID="{A870E2EB-3D70-45ED-9973-427AA61ED19F}">
  <ds:schemaRefs>
    <ds:schemaRef ds:uri="http://schemas.microsoft.com/VisualStudio/2011/storyboarding/control"/>
  </ds:schemaRefs>
</ds:datastoreItem>
</file>

<file path=customXml/itemProps29.xml><?xml version="1.0" encoding="utf-8"?>
<ds:datastoreItem xmlns:ds="http://schemas.openxmlformats.org/officeDocument/2006/customXml" ds:itemID="{49F53D7F-C6D0-42BA-A678-D9D123BBB186}">
  <ds:schemaRefs>
    <ds:schemaRef ds:uri="http://schemas.microsoft.com/VisualStudio/2011/storyboarding/control"/>
  </ds:schemaRefs>
</ds:datastoreItem>
</file>

<file path=customXml/itemProps3.xml><?xml version="1.0" encoding="utf-8"?>
<ds:datastoreItem xmlns:ds="http://schemas.openxmlformats.org/officeDocument/2006/customXml" ds:itemID="{0661D97E-1747-4A49-B684-047816F55C4D}">
  <ds:schemaRefs>
    <ds:schemaRef ds:uri="http://schemas.microsoft.com/VisualStudio/2011/storyboarding/control"/>
  </ds:schemaRefs>
</ds:datastoreItem>
</file>

<file path=customXml/itemProps30.xml><?xml version="1.0" encoding="utf-8"?>
<ds:datastoreItem xmlns:ds="http://schemas.openxmlformats.org/officeDocument/2006/customXml" ds:itemID="{90E1FD9C-C86B-423A-ACDD-5324889366BB}">
  <ds:schemaRefs>
    <ds:schemaRef ds:uri="http://schemas.microsoft.com/VisualStudio/2011/storyboarding/control"/>
  </ds:schemaRefs>
</ds:datastoreItem>
</file>

<file path=customXml/itemProps31.xml><?xml version="1.0" encoding="utf-8"?>
<ds:datastoreItem xmlns:ds="http://schemas.openxmlformats.org/officeDocument/2006/customXml" ds:itemID="{81793F29-C54A-4B47-A4AF-AF0DF657B65F}">
  <ds:schemaRefs>
    <ds:schemaRef ds:uri="http://schemas.microsoft.com/VisualStudio/2011/storyboarding/control"/>
  </ds:schemaRefs>
</ds:datastoreItem>
</file>

<file path=customXml/itemProps32.xml><?xml version="1.0" encoding="utf-8"?>
<ds:datastoreItem xmlns:ds="http://schemas.openxmlformats.org/officeDocument/2006/customXml" ds:itemID="{43D2D212-463C-40DD-A795-01E186C459FA}">
  <ds:schemaRefs>
    <ds:schemaRef ds:uri="http://schemas.microsoft.com/VisualStudio/2011/storyboarding/control"/>
  </ds:schemaRefs>
</ds:datastoreItem>
</file>

<file path=customXml/itemProps33.xml><?xml version="1.0" encoding="utf-8"?>
<ds:datastoreItem xmlns:ds="http://schemas.openxmlformats.org/officeDocument/2006/customXml" ds:itemID="{0510B696-BE8E-4344-B7EF-A6BBBECDAB4F}">
  <ds:schemaRefs>
    <ds:schemaRef ds:uri="http://schemas.microsoft.com/VisualStudio/2011/storyboarding/control"/>
  </ds:schemaRefs>
</ds:datastoreItem>
</file>

<file path=customXml/itemProps34.xml><?xml version="1.0" encoding="utf-8"?>
<ds:datastoreItem xmlns:ds="http://schemas.openxmlformats.org/officeDocument/2006/customXml" ds:itemID="{6A582E8D-8137-46E4-8B6A-1028D1760AE3}">
  <ds:schemaRefs>
    <ds:schemaRef ds:uri="http://schemas.microsoft.com/VisualStudio/2011/storyboarding/control"/>
  </ds:schemaRefs>
</ds:datastoreItem>
</file>

<file path=customXml/itemProps35.xml><?xml version="1.0" encoding="utf-8"?>
<ds:datastoreItem xmlns:ds="http://schemas.openxmlformats.org/officeDocument/2006/customXml" ds:itemID="{033E68CD-CC08-4DFC-BDD3-5294795FA85F}">
  <ds:schemaRefs>
    <ds:schemaRef ds:uri="http://schemas.microsoft.com/VisualStudio/2011/storyboarding/control"/>
  </ds:schemaRefs>
</ds:datastoreItem>
</file>

<file path=customXml/itemProps36.xml><?xml version="1.0" encoding="utf-8"?>
<ds:datastoreItem xmlns:ds="http://schemas.openxmlformats.org/officeDocument/2006/customXml" ds:itemID="{F2026115-0D7B-4E2C-A364-15B26395E458}">
  <ds:schemaRefs>
    <ds:schemaRef ds:uri="http://schemas.microsoft.com/VisualStudio/2011/storyboarding/control"/>
  </ds:schemaRefs>
</ds:datastoreItem>
</file>

<file path=customXml/itemProps37.xml><?xml version="1.0" encoding="utf-8"?>
<ds:datastoreItem xmlns:ds="http://schemas.openxmlformats.org/officeDocument/2006/customXml" ds:itemID="{61FA67B2-BDF8-49DD-800E-5FF356B15F33}">
  <ds:schemaRefs>
    <ds:schemaRef ds:uri="http://schemas.microsoft.com/VisualStudio/2011/storyboarding/control"/>
  </ds:schemaRefs>
</ds:datastoreItem>
</file>

<file path=customXml/itemProps38.xml><?xml version="1.0" encoding="utf-8"?>
<ds:datastoreItem xmlns:ds="http://schemas.openxmlformats.org/officeDocument/2006/customXml" ds:itemID="{F116F0B6-CE95-486B-B778-E0709A7F7467}">
  <ds:schemaRefs>
    <ds:schemaRef ds:uri="http://schemas.microsoft.com/VisualStudio/2011/storyboarding/control"/>
  </ds:schemaRefs>
</ds:datastoreItem>
</file>

<file path=customXml/itemProps39.xml><?xml version="1.0" encoding="utf-8"?>
<ds:datastoreItem xmlns:ds="http://schemas.openxmlformats.org/officeDocument/2006/customXml" ds:itemID="{4E2D1D23-51B3-4154-90FE-CFB998FDD5DE}">
  <ds:schemaRefs>
    <ds:schemaRef ds:uri="http://schemas.microsoft.com/VisualStudio/2011/storyboarding/control"/>
  </ds:schemaRefs>
</ds:datastoreItem>
</file>

<file path=customXml/itemProps4.xml><?xml version="1.0" encoding="utf-8"?>
<ds:datastoreItem xmlns:ds="http://schemas.openxmlformats.org/officeDocument/2006/customXml" ds:itemID="{D9BC7808-76BD-4AF2-9941-CECB8F6E1CED}">
  <ds:schemaRefs>
    <ds:schemaRef ds:uri="http://schemas.microsoft.com/VisualStudio/2011/storyboarding/control"/>
  </ds:schemaRefs>
</ds:datastoreItem>
</file>

<file path=customXml/itemProps40.xml><?xml version="1.0" encoding="utf-8"?>
<ds:datastoreItem xmlns:ds="http://schemas.openxmlformats.org/officeDocument/2006/customXml" ds:itemID="{B69F8E35-A324-48B7-AD05-6B981C05BB64}">
  <ds:schemaRefs>
    <ds:schemaRef ds:uri="http://schemas.microsoft.com/VisualStudio/2011/storyboarding/control"/>
  </ds:schemaRefs>
</ds:datastoreItem>
</file>

<file path=customXml/itemProps41.xml><?xml version="1.0" encoding="utf-8"?>
<ds:datastoreItem xmlns:ds="http://schemas.openxmlformats.org/officeDocument/2006/customXml" ds:itemID="{C709D251-F8FF-493F-A615-FDF434AD1E27}">
  <ds:schemaRefs>
    <ds:schemaRef ds:uri="http://schemas.microsoft.com/VisualStudio/2011/storyboarding/control"/>
  </ds:schemaRefs>
</ds:datastoreItem>
</file>

<file path=customXml/itemProps42.xml><?xml version="1.0" encoding="utf-8"?>
<ds:datastoreItem xmlns:ds="http://schemas.openxmlformats.org/officeDocument/2006/customXml" ds:itemID="{2B1F410F-A1DB-4EB6-8F9C-BB4C89F7CD56}">
  <ds:schemaRefs>
    <ds:schemaRef ds:uri="http://schemas.microsoft.com/VisualStudio/2011/storyboarding/control"/>
  </ds:schemaRefs>
</ds:datastoreItem>
</file>

<file path=customXml/itemProps43.xml><?xml version="1.0" encoding="utf-8"?>
<ds:datastoreItem xmlns:ds="http://schemas.openxmlformats.org/officeDocument/2006/customXml" ds:itemID="{1C4F39CF-65CE-4120-BBBD-3466B2662AB6}">
  <ds:schemaRefs>
    <ds:schemaRef ds:uri="http://schemas.microsoft.com/VisualStudio/2011/storyboarding/control"/>
  </ds:schemaRefs>
</ds:datastoreItem>
</file>

<file path=customXml/itemProps44.xml><?xml version="1.0" encoding="utf-8"?>
<ds:datastoreItem xmlns:ds="http://schemas.openxmlformats.org/officeDocument/2006/customXml" ds:itemID="{02C7D2E9-F0BA-4562-87C3-23761E4E193A}">
  <ds:schemaRefs>
    <ds:schemaRef ds:uri="http://schemas.microsoft.com/VisualStudio/2011/storyboarding/control"/>
  </ds:schemaRefs>
</ds:datastoreItem>
</file>

<file path=customXml/itemProps45.xml><?xml version="1.0" encoding="utf-8"?>
<ds:datastoreItem xmlns:ds="http://schemas.openxmlformats.org/officeDocument/2006/customXml" ds:itemID="{8D9214F9-8F6A-4D8B-8E44-BC354AED1F12}">
  <ds:schemaRefs>
    <ds:schemaRef ds:uri="http://schemas.microsoft.com/VisualStudio/2011/storyboarding/control"/>
  </ds:schemaRefs>
</ds:datastoreItem>
</file>

<file path=customXml/itemProps46.xml><?xml version="1.0" encoding="utf-8"?>
<ds:datastoreItem xmlns:ds="http://schemas.openxmlformats.org/officeDocument/2006/customXml" ds:itemID="{EB937D42-E7CE-4FE1-AD17-065DED976FD7}">
  <ds:schemaRefs>
    <ds:schemaRef ds:uri="http://schemas.microsoft.com/VisualStudio/2011/storyboarding/control"/>
  </ds:schemaRefs>
</ds:datastoreItem>
</file>

<file path=customXml/itemProps47.xml><?xml version="1.0" encoding="utf-8"?>
<ds:datastoreItem xmlns:ds="http://schemas.openxmlformats.org/officeDocument/2006/customXml" ds:itemID="{3B2BE792-34A2-467F-A384-BF286B9DC3C9}">
  <ds:schemaRefs>
    <ds:schemaRef ds:uri="http://schemas.microsoft.com/VisualStudio/2011/storyboarding/control"/>
  </ds:schemaRefs>
</ds:datastoreItem>
</file>

<file path=customXml/itemProps48.xml><?xml version="1.0" encoding="utf-8"?>
<ds:datastoreItem xmlns:ds="http://schemas.openxmlformats.org/officeDocument/2006/customXml" ds:itemID="{7814E832-3CCE-4AC1-9C3D-0EC0B78EC324}">
  <ds:schemaRefs>
    <ds:schemaRef ds:uri="http://schemas.microsoft.com/VisualStudio/2011/storyboarding/control"/>
  </ds:schemaRefs>
</ds:datastoreItem>
</file>

<file path=customXml/itemProps49.xml><?xml version="1.0" encoding="utf-8"?>
<ds:datastoreItem xmlns:ds="http://schemas.openxmlformats.org/officeDocument/2006/customXml" ds:itemID="{9DB5999A-56FB-492F-BBF3-F7AF0A15B0BC}">
  <ds:schemaRefs>
    <ds:schemaRef ds:uri="http://schemas.microsoft.com/VisualStudio/2011/storyboarding/control"/>
  </ds:schemaRefs>
</ds:datastoreItem>
</file>

<file path=customXml/itemProps5.xml><?xml version="1.0" encoding="utf-8"?>
<ds:datastoreItem xmlns:ds="http://schemas.openxmlformats.org/officeDocument/2006/customXml" ds:itemID="{BC53A8BA-86F7-4F5E-850D-99BE575A4D5A}">
  <ds:schemaRefs>
    <ds:schemaRef ds:uri="http://schemas.microsoft.com/VisualStudio/2011/storyboarding/control"/>
  </ds:schemaRefs>
</ds:datastoreItem>
</file>

<file path=customXml/itemProps50.xml><?xml version="1.0" encoding="utf-8"?>
<ds:datastoreItem xmlns:ds="http://schemas.openxmlformats.org/officeDocument/2006/customXml" ds:itemID="{4A142545-9483-4D81-AD41-A58BBC6F3E66}">
  <ds:schemaRefs>
    <ds:schemaRef ds:uri="http://schemas.microsoft.com/VisualStudio/2011/storyboarding/control"/>
  </ds:schemaRefs>
</ds:datastoreItem>
</file>

<file path=customXml/itemProps51.xml><?xml version="1.0" encoding="utf-8"?>
<ds:datastoreItem xmlns:ds="http://schemas.openxmlformats.org/officeDocument/2006/customXml" ds:itemID="{F3A4EE98-EC57-440A-8B83-40502B0F9DFC}">
  <ds:schemaRefs>
    <ds:schemaRef ds:uri="http://schemas.microsoft.com/VisualStudio/2011/storyboarding/control"/>
  </ds:schemaRefs>
</ds:datastoreItem>
</file>

<file path=customXml/itemProps52.xml><?xml version="1.0" encoding="utf-8"?>
<ds:datastoreItem xmlns:ds="http://schemas.openxmlformats.org/officeDocument/2006/customXml" ds:itemID="{1D121CE4-0784-4A3B-8093-551B5BAD5153}">
  <ds:schemaRefs>
    <ds:schemaRef ds:uri="http://schemas.microsoft.com/VisualStudio/2011/storyboarding/control"/>
  </ds:schemaRefs>
</ds:datastoreItem>
</file>

<file path=customXml/itemProps53.xml><?xml version="1.0" encoding="utf-8"?>
<ds:datastoreItem xmlns:ds="http://schemas.openxmlformats.org/officeDocument/2006/customXml" ds:itemID="{632E969B-6CA3-42BE-BD72-5753DCBE6870}">
  <ds:schemaRefs>
    <ds:schemaRef ds:uri="http://schemas.microsoft.com/VisualStudio/2011/storyboarding/control"/>
  </ds:schemaRefs>
</ds:datastoreItem>
</file>

<file path=customXml/itemProps54.xml><?xml version="1.0" encoding="utf-8"?>
<ds:datastoreItem xmlns:ds="http://schemas.openxmlformats.org/officeDocument/2006/customXml" ds:itemID="{97074318-9F7B-4E65-9E7F-38C21212CC77}">
  <ds:schemaRefs>
    <ds:schemaRef ds:uri="http://schemas.microsoft.com/VisualStudio/2011/storyboarding/control"/>
  </ds:schemaRefs>
</ds:datastoreItem>
</file>

<file path=customXml/itemProps55.xml><?xml version="1.0" encoding="utf-8"?>
<ds:datastoreItem xmlns:ds="http://schemas.openxmlformats.org/officeDocument/2006/customXml" ds:itemID="{3D12421D-54A5-4398-9644-A76B1240139B}">
  <ds:schemaRefs>
    <ds:schemaRef ds:uri="http://schemas.microsoft.com/VisualStudio/2011/storyboarding/control"/>
  </ds:schemaRefs>
</ds:datastoreItem>
</file>

<file path=customXml/itemProps6.xml><?xml version="1.0" encoding="utf-8"?>
<ds:datastoreItem xmlns:ds="http://schemas.openxmlformats.org/officeDocument/2006/customXml" ds:itemID="{A4809907-F785-4086-801F-4A42A041F2EC}">
  <ds:schemaRefs>
    <ds:schemaRef ds:uri="http://schemas.microsoft.com/VisualStudio/2011/storyboarding/control"/>
  </ds:schemaRefs>
</ds:datastoreItem>
</file>

<file path=customXml/itemProps7.xml><?xml version="1.0" encoding="utf-8"?>
<ds:datastoreItem xmlns:ds="http://schemas.openxmlformats.org/officeDocument/2006/customXml" ds:itemID="{B34ABBE1-8276-49F8-8B63-F8F48602CD47}">
  <ds:schemaRefs>
    <ds:schemaRef ds:uri="http://schemas.microsoft.com/VisualStudio/2011/storyboarding/control"/>
  </ds:schemaRefs>
</ds:datastoreItem>
</file>

<file path=customXml/itemProps8.xml><?xml version="1.0" encoding="utf-8"?>
<ds:datastoreItem xmlns:ds="http://schemas.openxmlformats.org/officeDocument/2006/customXml" ds:itemID="{02213965-4656-436C-812F-B5766D0D0683}">
  <ds:schemaRefs>
    <ds:schemaRef ds:uri="http://schemas.microsoft.com/VisualStudio/2011/storyboarding/control"/>
  </ds:schemaRefs>
</ds:datastoreItem>
</file>

<file path=customXml/itemProps9.xml><?xml version="1.0" encoding="utf-8"?>
<ds:datastoreItem xmlns:ds="http://schemas.openxmlformats.org/officeDocument/2006/customXml" ds:itemID="{3808ED64-6D18-4454-B1B0-345C697D721B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419</TotalTime>
  <Words>1696</Words>
  <Application>Microsoft Office PowerPoint</Application>
  <PresentationFormat>On-screen Show (16:9)</PresentationFormat>
  <Paragraphs>372</Paragraphs>
  <Slides>21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Arial</vt:lpstr>
      <vt:lpstr>Calibri</vt:lpstr>
      <vt:lpstr>Calibri Light</vt:lpstr>
      <vt:lpstr>Helvetica</vt:lpstr>
      <vt:lpstr>Microsoft Sans Serif</vt:lpstr>
      <vt:lpstr>Open Sans</vt:lpstr>
      <vt:lpstr>Roboto</vt:lpstr>
      <vt:lpstr>Tema de Office</vt:lpstr>
      <vt:lpstr>think-cell Slide</vt:lpstr>
      <vt:lpstr>-</vt:lpstr>
      <vt:lpstr>Introduction</vt:lpstr>
      <vt:lpstr>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icrosoft Office User</dc:creator>
  <cp:lastModifiedBy>Brandenburg, Rico</cp:lastModifiedBy>
  <cp:revision>203</cp:revision>
  <dcterms:created xsi:type="dcterms:W3CDTF">2018-10-01T14:31:53Z</dcterms:created>
  <dcterms:modified xsi:type="dcterms:W3CDTF">2018-10-16T22:57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MSOLanguageID">
    <vt:lpwstr>msoLanguageIDEnglishUK</vt:lpwstr>
  </property>
</Properties>
</file>